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heme/themeOverride5.xml" ContentType="application/vnd.openxmlformats-officedocument.themeOverr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67" r:id="rId3"/>
    <p:sldId id="274" r:id="rId4"/>
    <p:sldId id="275" r:id="rId5"/>
    <p:sldId id="276" r:id="rId6"/>
    <p:sldId id="291" r:id="rId7"/>
    <p:sldId id="277" r:id="rId8"/>
    <p:sldId id="278" r:id="rId9"/>
    <p:sldId id="279" r:id="rId10"/>
    <p:sldId id="292" r:id="rId11"/>
    <p:sldId id="281" r:id="rId12"/>
    <p:sldId id="282" r:id="rId13"/>
    <p:sldId id="283" r:id="rId14"/>
    <p:sldId id="293" r:id="rId15"/>
    <p:sldId id="285" r:id="rId16"/>
    <p:sldId id="286" r:id="rId17"/>
    <p:sldId id="287" r:id="rId18"/>
    <p:sldId id="294" r:id="rId19"/>
    <p:sldId id="289" r:id="rId20"/>
    <p:sldId id="290" r:id="rId21"/>
    <p:sldId id="261" r:id="rId22"/>
    <p:sldId id="271" r:id="rId23"/>
    <p:sldId id="272" r:id="rId24"/>
    <p:sldId id="273" r:id="rId25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B0"/>
    <a:srgbClr val="588EB6"/>
    <a:srgbClr val="A3C5DD"/>
    <a:srgbClr val="FFB50B"/>
    <a:srgbClr val="CE6900"/>
    <a:srgbClr val="EA9600"/>
    <a:srgbClr val="F49F00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2F7B1A-3AC1-465E-A1A7-AA04DC1A4A98}" v="53" dt="2019-03-13T06:49:59.3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78" d="100"/>
          <a:sy n="78" d="100"/>
        </p:scale>
        <p:origin x="878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238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bbie Lee" userId="1a5ed0aa0077d090" providerId="LiveId" clId="{852F7B1A-3AC1-465E-A1A7-AA04DC1A4A98}"/>
    <pc:docChg chg="custSel addSld delSld modSld sldOrd modMainMaster">
      <pc:chgData name="Bobbie Lee" userId="1a5ed0aa0077d090" providerId="LiveId" clId="{852F7B1A-3AC1-465E-A1A7-AA04DC1A4A98}" dt="2019-03-13T06:50:40.624" v="113" actId="478"/>
      <pc:docMkLst>
        <pc:docMk/>
      </pc:docMkLst>
      <pc:sldChg chg="addSp delSp modSp">
        <pc:chgData name="Bobbie Lee" userId="1a5ed0aa0077d090" providerId="LiveId" clId="{852F7B1A-3AC1-465E-A1A7-AA04DC1A4A98}" dt="2019-03-13T06:50:40.624" v="113" actId="478"/>
        <pc:sldMkLst>
          <pc:docMk/>
          <pc:sldMk cId="2271741893" sldId="256"/>
        </pc:sldMkLst>
        <pc:spChg chg="add del mod">
          <ac:chgData name="Bobbie Lee" userId="1a5ed0aa0077d090" providerId="LiveId" clId="{852F7B1A-3AC1-465E-A1A7-AA04DC1A4A98}" dt="2019-03-13T06:50:40.624" v="113" actId="478"/>
          <ac:spMkLst>
            <pc:docMk/>
            <pc:sldMk cId="2271741893" sldId="256"/>
            <ac:spMk id="15" creationId="{413C902D-1730-4BD6-BEBD-6DE4A09A8EC6}"/>
          </ac:spMkLst>
        </pc:spChg>
      </pc:sldChg>
      <pc:sldChg chg="del">
        <pc:chgData name="Bobbie Lee" userId="1a5ed0aa0077d090" providerId="LiveId" clId="{852F7B1A-3AC1-465E-A1A7-AA04DC1A4A98}" dt="2019-03-13T06:47:39.504" v="98" actId="2696"/>
        <pc:sldMkLst>
          <pc:docMk/>
          <pc:sldMk cId="2371597387" sldId="258"/>
        </pc:sldMkLst>
      </pc:sldChg>
      <pc:sldChg chg="addSp delSp modSp">
        <pc:chgData name="Bobbie Lee" userId="1a5ed0aa0077d090" providerId="LiveId" clId="{852F7B1A-3AC1-465E-A1A7-AA04DC1A4A98}" dt="2019-03-13T06:43:14.959" v="9"/>
        <pc:sldMkLst>
          <pc:docMk/>
          <pc:sldMk cId="2999451218" sldId="267"/>
        </pc:sldMkLst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2" creationId="{4FFBFCF6-E756-448F-93F0-5039A3A768DA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3" creationId="{17369F86-7744-4DC5-A799-F820B8EA5292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4" creationId="{4C800BD0-F806-44D3-AEC9-D6FAAFAD6527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6" creationId="{4AEAE6A8-4A09-4A6A-9090-E754E13FC272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7" creationId="{379D2030-A5D9-40F8-A194-E5BBA31C2EBD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23" creationId="{67A9C1DB-8CF5-4274-A0D7-35838A582874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25" creationId="{562B96C3-332F-4B1D-A242-2935565E0919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26" creationId="{71CA67D5-1AF8-40D5-9DDD-C842B2CC1DD6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49" creationId="{BA4E9BD3-1CFB-4DEA-846F-15C56314F4D4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50" creationId="{D53BCC1A-F483-4AC4-9718-69B24E64997F}"/>
          </ac:spMkLst>
        </pc:spChg>
        <pc:spChg chg="mod">
          <ac:chgData name="Bobbie Lee" userId="1a5ed0aa0077d090" providerId="LiveId" clId="{852F7B1A-3AC1-465E-A1A7-AA04DC1A4A98}" dt="2019-03-13T06:43:14.959" v="9"/>
          <ac:spMkLst>
            <pc:docMk/>
            <pc:sldMk cId="2999451218" sldId="267"/>
            <ac:spMk id="51" creationId="{42C6042F-F693-4F51-82A1-64E76ED6BEF7}"/>
          </ac:spMkLst>
        </pc:spChg>
        <pc:grpChg chg="mod">
          <ac:chgData name="Bobbie Lee" userId="1a5ed0aa0077d090" providerId="LiveId" clId="{852F7B1A-3AC1-465E-A1A7-AA04DC1A4A98}" dt="2019-03-13T06:43:14.959" v="9"/>
          <ac:grpSpMkLst>
            <pc:docMk/>
            <pc:sldMk cId="2999451218" sldId="267"/>
            <ac:grpSpMk id="1" creationId="{00000000-0000-0000-0000-000000000000}"/>
          </ac:grpSpMkLst>
        </pc:grpChg>
        <pc:grpChg chg="del">
          <ac:chgData name="Bobbie Lee" userId="1a5ed0aa0077d090" providerId="LiveId" clId="{852F7B1A-3AC1-465E-A1A7-AA04DC1A4A98}" dt="2019-03-13T06:42:12.541" v="5" actId="478"/>
          <ac:grpSpMkLst>
            <pc:docMk/>
            <pc:sldMk cId="2999451218" sldId="267"/>
            <ac:grpSpMk id="28" creationId="{A4149F8D-34BF-48AA-B18D-1110B8107224}"/>
          </ac:grpSpMkLst>
        </pc:grpChg>
        <pc:grpChg chg="add mod">
          <ac:chgData name="Bobbie Lee" userId="1a5ed0aa0077d090" providerId="LiveId" clId="{852F7B1A-3AC1-465E-A1A7-AA04DC1A4A98}" dt="2019-03-13T06:43:14.959" v="9"/>
          <ac:grpSpMkLst>
            <pc:docMk/>
            <pc:sldMk cId="2999451218" sldId="267"/>
            <ac:grpSpMk id="48" creationId="{FE8464D7-9623-4854-870E-4C19BEB17FBD}"/>
          </ac:grpSpMkLst>
        </pc:grpChg>
        <pc:cxnChg chg="mod">
          <ac:chgData name="Bobbie Lee" userId="1a5ed0aa0077d090" providerId="LiveId" clId="{852F7B1A-3AC1-465E-A1A7-AA04DC1A4A98}" dt="2019-03-13T06:43:14.959" v="9"/>
          <ac:cxnSpMkLst>
            <pc:docMk/>
            <pc:sldMk cId="2999451218" sldId="267"/>
            <ac:cxnSpMk id="24" creationId="{2401F436-FF85-43CC-9590-5B4A09B68598}"/>
          </ac:cxnSpMkLst>
        </pc:cxnChg>
      </pc:sldChg>
      <pc:sldChg chg="del">
        <pc:chgData name="Bobbie Lee" userId="1a5ed0aa0077d090" providerId="LiveId" clId="{852F7B1A-3AC1-465E-A1A7-AA04DC1A4A98}" dt="2019-03-13T06:46:27.050" v="62" actId="2696"/>
        <pc:sldMkLst>
          <pc:docMk/>
          <pc:sldMk cId="2077372055" sldId="268"/>
        </pc:sldMkLst>
      </pc:sldChg>
      <pc:sldChg chg="del">
        <pc:chgData name="Bobbie Lee" userId="1a5ed0aa0077d090" providerId="LiveId" clId="{852F7B1A-3AC1-465E-A1A7-AA04DC1A4A98}" dt="2019-03-13T06:41:51.757" v="0" actId="2696"/>
        <pc:sldMkLst>
          <pc:docMk/>
          <pc:sldMk cId="911933172" sldId="269"/>
        </pc:sldMkLst>
      </pc:sldChg>
      <pc:sldChg chg="del">
        <pc:chgData name="Bobbie Lee" userId="1a5ed0aa0077d090" providerId="LiveId" clId="{852F7B1A-3AC1-465E-A1A7-AA04DC1A4A98}" dt="2019-03-13T06:47:39.529" v="99" actId="2696"/>
        <pc:sldMkLst>
          <pc:docMk/>
          <pc:sldMk cId="2776191749" sldId="270"/>
        </pc:sldMkLst>
      </pc:sldChg>
      <pc:sldChg chg="addSp modSp">
        <pc:chgData name="Bobbie Lee" userId="1a5ed0aa0077d090" providerId="LiveId" clId="{852F7B1A-3AC1-465E-A1A7-AA04DC1A4A98}" dt="2019-03-13T06:45:55.258" v="44" actId="207"/>
        <pc:sldMkLst>
          <pc:docMk/>
          <pc:sldMk cId="4166810454" sldId="274"/>
        </pc:sldMkLst>
        <pc:spChg chg="mod">
          <ac:chgData name="Bobbie Lee" userId="1a5ed0aa0077d090" providerId="LiveId" clId="{852F7B1A-3AC1-465E-A1A7-AA04DC1A4A98}" dt="2019-03-13T06:45:55.258" v="44" actId="207"/>
          <ac:spMkLst>
            <pc:docMk/>
            <pc:sldMk cId="4166810454" sldId="274"/>
            <ac:spMk id="2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5:22.588" v="29" actId="14100"/>
          <ac:spMkLst>
            <pc:docMk/>
            <pc:sldMk cId="4166810454" sldId="274"/>
            <ac:spMk id="3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5:49.847" v="43" actId="113"/>
          <ac:spMkLst>
            <pc:docMk/>
            <pc:sldMk cId="4166810454" sldId="274"/>
            <ac:spMk id="6" creationId="{00000000-0000-0000-0000-000000000000}"/>
          </ac:spMkLst>
        </pc:spChg>
        <pc:spChg chg="add mod modCrop">
          <ac:chgData name="Bobbie Lee" userId="1a5ed0aa0077d090" providerId="LiveId" clId="{852F7B1A-3AC1-465E-A1A7-AA04DC1A4A98}" dt="2019-03-13T06:45:43.305" v="42"/>
          <ac:spMkLst>
            <pc:docMk/>
            <pc:sldMk cId="4166810454" sldId="274"/>
            <ac:spMk id="7" creationId="{A576D917-B5FE-4697-8A81-22B09D3F4165}"/>
          </ac:spMkLst>
        </pc:spChg>
        <pc:spChg chg="add mod">
          <ac:chgData name="Bobbie Lee" userId="1a5ed0aa0077d090" providerId="LiveId" clId="{852F7B1A-3AC1-465E-A1A7-AA04DC1A4A98}" dt="2019-03-13T06:45:43.302" v="37"/>
          <ac:spMkLst>
            <pc:docMk/>
            <pc:sldMk cId="4166810454" sldId="274"/>
            <ac:spMk id="9" creationId="{742A6018-840A-47FD-80B0-2D92C6808D4E}"/>
          </ac:spMkLst>
        </pc:spChg>
        <pc:cxnChg chg="mod">
          <ac:chgData name="Bobbie Lee" userId="1a5ed0aa0077d090" providerId="LiveId" clId="{852F7B1A-3AC1-465E-A1A7-AA04DC1A4A98}" dt="2019-03-13T06:45:27.269" v="30" actId="1076"/>
          <ac:cxnSpMkLst>
            <pc:docMk/>
            <pc:sldMk cId="4166810454" sldId="274"/>
            <ac:cxnSpMk id="5" creationId="{FD359F57-F914-445A-B752-CBD4C3D34405}"/>
          </ac:cxnSpMkLst>
        </pc:cxnChg>
      </pc:sldChg>
      <pc:sldChg chg="modSp">
        <pc:chgData name="Bobbie Lee" userId="1a5ed0aa0077d090" providerId="LiveId" clId="{852F7B1A-3AC1-465E-A1A7-AA04DC1A4A98}" dt="2019-03-13T06:48:05.677" v="102" actId="18654"/>
        <pc:sldMkLst>
          <pc:docMk/>
          <pc:sldMk cId="2424716163" sldId="277"/>
        </pc:sldMkLst>
        <pc:spChg chg="mod">
          <ac:chgData name="Bobbie Lee" userId="1a5ed0aa0077d090" providerId="LiveId" clId="{852F7B1A-3AC1-465E-A1A7-AA04DC1A4A98}" dt="2019-03-13T06:48:05.677" v="102" actId="18654"/>
          <ac:spMkLst>
            <pc:docMk/>
            <pc:sldMk cId="2424716163" sldId="277"/>
            <ac:spMk id="6" creationId="{312DE305-90AF-43DF-979A-F79A80A7B596}"/>
          </ac:spMkLst>
        </pc:spChg>
      </pc:sldChg>
      <pc:sldChg chg="del">
        <pc:chgData name="Bobbie Lee" userId="1a5ed0aa0077d090" providerId="LiveId" clId="{852F7B1A-3AC1-465E-A1A7-AA04DC1A4A98}" dt="2019-03-13T06:46:49.742" v="75" actId="2696"/>
        <pc:sldMkLst>
          <pc:docMk/>
          <pc:sldMk cId="2019003014" sldId="280"/>
        </pc:sldMkLst>
      </pc:sldChg>
      <pc:sldChg chg="del">
        <pc:chgData name="Bobbie Lee" userId="1a5ed0aa0077d090" providerId="LiveId" clId="{852F7B1A-3AC1-465E-A1A7-AA04DC1A4A98}" dt="2019-03-13T06:47:13.886" v="87" actId="2696"/>
        <pc:sldMkLst>
          <pc:docMk/>
          <pc:sldMk cId="2572707644" sldId="284"/>
        </pc:sldMkLst>
      </pc:sldChg>
      <pc:sldChg chg="del">
        <pc:chgData name="Bobbie Lee" userId="1a5ed0aa0077d090" providerId="LiveId" clId="{852F7B1A-3AC1-465E-A1A7-AA04DC1A4A98}" dt="2019-03-13T06:47:30.639" v="97" actId="2696"/>
        <pc:sldMkLst>
          <pc:docMk/>
          <pc:sldMk cId="3055037493" sldId="288"/>
        </pc:sldMkLst>
      </pc:sldChg>
      <pc:sldChg chg="modSp">
        <pc:chgData name="Bobbie Lee" userId="1a5ed0aa0077d090" providerId="LiveId" clId="{852F7B1A-3AC1-465E-A1A7-AA04DC1A4A98}" dt="2019-03-13T06:48:30.130" v="103" actId="207"/>
        <pc:sldMkLst>
          <pc:docMk/>
          <pc:sldMk cId="87287383" sldId="289"/>
        </pc:sldMkLst>
        <pc:spChg chg="mod">
          <ac:chgData name="Bobbie Lee" userId="1a5ed0aa0077d090" providerId="LiveId" clId="{852F7B1A-3AC1-465E-A1A7-AA04DC1A4A98}" dt="2019-03-13T06:48:30.130" v="103" actId="207"/>
          <ac:spMkLst>
            <pc:docMk/>
            <pc:sldMk cId="87287383" sldId="289"/>
            <ac:spMk id="26" creationId="{765FAB06-06F7-42BE-9D5D-93DA6147D770}"/>
          </ac:spMkLst>
        </pc:spChg>
      </pc:sldChg>
      <pc:sldChg chg="modSp">
        <pc:chgData name="Bobbie Lee" userId="1a5ed0aa0077d090" providerId="LiveId" clId="{852F7B1A-3AC1-465E-A1A7-AA04DC1A4A98}" dt="2019-03-13T06:49:08.925" v="109" actId="18654"/>
        <pc:sldMkLst>
          <pc:docMk/>
          <pc:sldMk cId="1974129013" sldId="290"/>
        </pc:sldMkLst>
        <pc:spChg chg="mod">
          <ac:chgData name="Bobbie Lee" userId="1a5ed0aa0077d090" providerId="LiveId" clId="{852F7B1A-3AC1-465E-A1A7-AA04DC1A4A98}" dt="2019-03-13T06:48:45.177" v="105" actId="18654"/>
          <ac:spMkLst>
            <pc:docMk/>
            <pc:sldMk cId="1974129013" sldId="290"/>
            <ac:spMk id="11" creationId="{BF5338BA-BE7D-4792-A5B2-C323207B69E2}"/>
          </ac:spMkLst>
        </pc:spChg>
        <pc:spChg chg="mod">
          <ac:chgData name="Bobbie Lee" userId="1a5ed0aa0077d090" providerId="LiveId" clId="{852F7B1A-3AC1-465E-A1A7-AA04DC1A4A98}" dt="2019-03-13T06:48:57.257" v="107" actId="18654"/>
          <ac:spMkLst>
            <pc:docMk/>
            <pc:sldMk cId="1974129013" sldId="290"/>
            <ac:spMk id="13" creationId="{4559C990-8FB1-4360-8564-EBF63E75CBD6}"/>
          </ac:spMkLst>
        </pc:spChg>
        <pc:spChg chg="mod">
          <ac:chgData name="Bobbie Lee" userId="1a5ed0aa0077d090" providerId="LiveId" clId="{852F7B1A-3AC1-465E-A1A7-AA04DC1A4A98}" dt="2019-03-13T06:49:08.925" v="109" actId="18654"/>
          <ac:spMkLst>
            <pc:docMk/>
            <pc:sldMk cId="1974129013" sldId="290"/>
            <ac:spMk id="15" creationId="{3CBEABB0-E84A-4AE2-A1C3-A78F2F7DAD56}"/>
          </ac:spMkLst>
        </pc:spChg>
      </pc:sldChg>
      <pc:sldChg chg="modSp add ord">
        <pc:chgData name="Bobbie Lee" userId="1a5ed0aa0077d090" providerId="LiveId" clId="{852F7B1A-3AC1-465E-A1A7-AA04DC1A4A98}" dt="2019-03-13T06:46:23.656" v="61"/>
        <pc:sldMkLst>
          <pc:docMk/>
          <pc:sldMk cId="2338603206" sldId="291"/>
        </pc:sldMkLst>
        <pc:spChg chg="mod">
          <ac:chgData name="Bobbie Lee" userId="1a5ed0aa0077d090" providerId="LiveId" clId="{852F7B1A-3AC1-465E-A1A7-AA04DC1A4A98}" dt="2019-03-13T06:46:18.827" v="47"/>
          <ac:spMkLst>
            <pc:docMk/>
            <pc:sldMk cId="2338603206" sldId="291"/>
            <ac:spMk id="2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6:23.656" v="61"/>
          <ac:spMkLst>
            <pc:docMk/>
            <pc:sldMk cId="2338603206" sldId="291"/>
            <ac:spMk id="6" creationId="{00000000-0000-0000-0000-000000000000}"/>
          </ac:spMkLst>
        </pc:spChg>
      </pc:sldChg>
      <pc:sldChg chg="modSp add ord">
        <pc:chgData name="Bobbie Lee" userId="1a5ed0aa0077d090" providerId="LiveId" clId="{852F7B1A-3AC1-465E-A1A7-AA04DC1A4A98}" dt="2019-03-13T06:46:47.077" v="74"/>
        <pc:sldMkLst>
          <pc:docMk/>
          <pc:sldMk cId="202851813" sldId="292"/>
        </pc:sldMkLst>
        <pc:spChg chg="mod">
          <ac:chgData name="Bobbie Lee" userId="1a5ed0aa0077d090" providerId="LiveId" clId="{852F7B1A-3AC1-465E-A1A7-AA04DC1A4A98}" dt="2019-03-13T06:46:43.831" v="65"/>
          <ac:spMkLst>
            <pc:docMk/>
            <pc:sldMk cId="202851813" sldId="292"/>
            <ac:spMk id="2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6:47.077" v="74"/>
          <ac:spMkLst>
            <pc:docMk/>
            <pc:sldMk cId="202851813" sldId="292"/>
            <ac:spMk id="6" creationId="{00000000-0000-0000-0000-000000000000}"/>
          </ac:spMkLst>
        </pc:spChg>
      </pc:sldChg>
      <pc:sldChg chg="modSp add ord">
        <pc:chgData name="Bobbie Lee" userId="1a5ed0aa0077d090" providerId="LiveId" clId="{852F7B1A-3AC1-465E-A1A7-AA04DC1A4A98}" dt="2019-03-13T06:47:09.618" v="86"/>
        <pc:sldMkLst>
          <pc:docMk/>
          <pc:sldMk cId="505513918" sldId="293"/>
        </pc:sldMkLst>
        <pc:spChg chg="mod">
          <ac:chgData name="Bobbie Lee" userId="1a5ed0aa0077d090" providerId="LiveId" clId="{852F7B1A-3AC1-465E-A1A7-AA04DC1A4A98}" dt="2019-03-13T06:47:06.253" v="79"/>
          <ac:spMkLst>
            <pc:docMk/>
            <pc:sldMk cId="505513918" sldId="293"/>
            <ac:spMk id="2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7:09.618" v="86"/>
          <ac:spMkLst>
            <pc:docMk/>
            <pc:sldMk cId="505513918" sldId="293"/>
            <ac:spMk id="6" creationId="{00000000-0000-0000-0000-000000000000}"/>
          </ac:spMkLst>
        </pc:spChg>
      </pc:sldChg>
      <pc:sldChg chg="modSp add ord">
        <pc:chgData name="Bobbie Lee" userId="1a5ed0aa0077d090" providerId="LiveId" clId="{852F7B1A-3AC1-465E-A1A7-AA04DC1A4A98}" dt="2019-03-13T06:47:27.640" v="96"/>
        <pc:sldMkLst>
          <pc:docMk/>
          <pc:sldMk cId="3924785941" sldId="294"/>
        </pc:sldMkLst>
        <pc:spChg chg="mod">
          <ac:chgData name="Bobbie Lee" userId="1a5ed0aa0077d090" providerId="LiveId" clId="{852F7B1A-3AC1-465E-A1A7-AA04DC1A4A98}" dt="2019-03-13T06:47:24.741" v="89"/>
          <ac:spMkLst>
            <pc:docMk/>
            <pc:sldMk cId="3924785941" sldId="294"/>
            <ac:spMk id="2" creationId="{00000000-0000-0000-0000-000000000000}"/>
          </ac:spMkLst>
        </pc:spChg>
        <pc:spChg chg="mod">
          <ac:chgData name="Bobbie Lee" userId="1a5ed0aa0077d090" providerId="LiveId" clId="{852F7B1A-3AC1-465E-A1A7-AA04DC1A4A98}" dt="2019-03-13T06:47:27.640" v="96"/>
          <ac:spMkLst>
            <pc:docMk/>
            <pc:sldMk cId="3924785941" sldId="294"/>
            <ac:spMk id="6" creationId="{00000000-0000-0000-0000-000000000000}"/>
          </ac:spMkLst>
        </pc:spChg>
      </pc:sldChg>
      <pc:sldMasterChg chg="modSldLayout">
        <pc:chgData name="Bobbie Lee" userId="1a5ed0aa0077d090" providerId="LiveId" clId="{852F7B1A-3AC1-465E-A1A7-AA04DC1A4A98}" dt="2019-03-13T06:49:36.692" v="111" actId="1076"/>
        <pc:sldMasterMkLst>
          <pc:docMk/>
          <pc:sldMasterMk cId="3784027784" sldId="2147483648"/>
        </pc:sldMasterMkLst>
        <pc:sldLayoutChg chg="delSp modSp">
          <pc:chgData name="Bobbie Lee" userId="1a5ed0aa0077d090" providerId="LiveId" clId="{852F7B1A-3AC1-465E-A1A7-AA04DC1A4A98}" dt="2019-03-13T06:43:54.503" v="11" actId="1076"/>
          <pc:sldLayoutMkLst>
            <pc:docMk/>
            <pc:sldMasterMk cId="3784027784" sldId="2147483648"/>
            <pc:sldLayoutMk cId="2853334272" sldId="2147483651"/>
          </pc:sldLayoutMkLst>
          <pc:spChg chg="mod">
            <ac:chgData name="Bobbie Lee" userId="1a5ed0aa0077d090" providerId="LiveId" clId="{852F7B1A-3AC1-465E-A1A7-AA04DC1A4A98}" dt="2019-03-13T06:43:54.503" v="11" actId="1076"/>
            <ac:spMkLst>
              <pc:docMk/>
              <pc:sldMasterMk cId="3784027784" sldId="2147483648"/>
              <pc:sldLayoutMk cId="2853334272" sldId="2147483651"/>
              <ac:spMk id="20" creationId="{00000000-0000-0000-0000-000000000000}"/>
            </ac:spMkLst>
          </pc:spChg>
          <pc:spChg chg="mod">
            <ac:chgData name="Bobbie Lee" userId="1a5ed0aa0077d090" providerId="LiveId" clId="{852F7B1A-3AC1-465E-A1A7-AA04DC1A4A98}" dt="2019-03-13T06:43:54.503" v="11" actId="1076"/>
            <ac:spMkLst>
              <pc:docMk/>
              <pc:sldMasterMk cId="3784027784" sldId="2147483648"/>
              <pc:sldLayoutMk cId="2853334272" sldId="2147483651"/>
              <ac:spMk id="21" creationId="{00000000-0000-0000-0000-000000000000}"/>
            </ac:spMkLst>
          </pc:spChg>
          <pc:picChg chg="del">
            <ac:chgData name="Bobbie Lee" userId="1a5ed0aa0077d090" providerId="LiveId" clId="{852F7B1A-3AC1-465E-A1A7-AA04DC1A4A98}" dt="2019-03-13T06:43:46.583" v="10" actId="478"/>
            <ac:picMkLst>
              <pc:docMk/>
              <pc:sldMasterMk cId="3784027784" sldId="2147483648"/>
              <pc:sldLayoutMk cId="2853334272" sldId="2147483651"/>
              <ac:picMk id="6" creationId="{3C9EBE42-40A9-40B3-9C7A-C9AB28A14B67}"/>
            </ac:picMkLst>
          </pc:picChg>
        </pc:sldLayoutChg>
        <pc:sldLayoutChg chg="delSp modSp">
          <pc:chgData name="Bobbie Lee" userId="1a5ed0aa0077d090" providerId="LiveId" clId="{852F7B1A-3AC1-465E-A1A7-AA04DC1A4A98}" dt="2019-03-13T06:49:36.692" v="111" actId="1076"/>
          <pc:sldLayoutMkLst>
            <pc:docMk/>
            <pc:sldMasterMk cId="3784027784" sldId="2147483648"/>
            <pc:sldLayoutMk cId="2378658405" sldId="2147483661"/>
          </pc:sldLayoutMkLst>
          <pc:spChg chg="mod">
            <ac:chgData name="Bobbie Lee" userId="1a5ed0aa0077d090" providerId="LiveId" clId="{852F7B1A-3AC1-465E-A1A7-AA04DC1A4A98}" dt="2019-03-13T06:49:36.692" v="111" actId="1076"/>
            <ac:spMkLst>
              <pc:docMk/>
              <pc:sldMasterMk cId="3784027784" sldId="2147483648"/>
              <pc:sldLayoutMk cId="2378658405" sldId="2147483661"/>
              <ac:spMk id="6" creationId="{05EBDA4F-7210-4CAE-8333-80DB24212E78}"/>
            </ac:spMkLst>
          </pc:spChg>
          <pc:spChg chg="mod">
            <ac:chgData name="Bobbie Lee" userId="1a5ed0aa0077d090" providerId="LiveId" clId="{852F7B1A-3AC1-465E-A1A7-AA04DC1A4A98}" dt="2019-03-13T06:49:36.692" v="111" actId="1076"/>
            <ac:spMkLst>
              <pc:docMk/>
              <pc:sldMasterMk cId="3784027784" sldId="2147483648"/>
              <pc:sldLayoutMk cId="2378658405" sldId="2147483661"/>
              <ac:spMk id="13" creationId="{00000000-0000-0000-0000-000000000000}"/>
            </ac:spMkLst>
          </pc:spChg>
          <pc:spChg chg="mod">
            <ac:chgData name="Bobbie Lee" userId="1a5ed0aa0077d090" providerId="LiveId" clId="{852F7B1A-3AC1-465E-A1A7-AA04DC1A4A98}" dt="2019-03-13T06:49:36.692" v="111" actId="1076"/>
            <ac:spMkLst>
              <pc:docMk/>
              <pc:sldMasterMk cId="3784027784" sldId="2147483648"/>
              <pc:sldLayoutMk cId="2378658405" sldId="2147483661"/>
              <ac:spMk id="15" creationId="{00000000-0000-0000-0000-000000000000}"/>
            </ac:spMkLst>
          </pc:spChg>
          <pc:grpChg chg="del">
            <ac:chgData name="Bobbie Lee" userId="1a5ed0aa0077d090" providerId="LiveId" clId="{852F7B1A-3AC1-465E-A1A7-AA04DC1A4A98}" dt="2019-03-13T06:47:46.985" v="100" actId="478"/>
            <ac:grpSpMkLst>
              <pc:docMk/>
              <pc:sldMasterMk cId="3784027784" sldId="2147483648"/>
              <pc:sldLayoutMk cId="2378658405" sldId="2147483661"/>
              <ac:grpSpMk id="5" creationId="{F2D66C8D-52A7-4698-9B09-5F2D25DA1DFE}"/>
            </ac:grpSpMkLst>
          </pc:gr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A9AFF775-1503-4CED-BD88-4E2B1286B6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8C478D2-381F-4FAE-97D5-7F5563B412C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6DEB6-F8C1-4C7B-BFF2-2D5B875F2279}" type="datetimeFigureOut">
              <a:rPr lang="zh-CN" altLang="en-US" smtClean="0"/>
              <a:t>2019/3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9660CD6-EBC7-4C6C-B635-2D1A559B5A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A9B8F7F-34F6-4CF7-90CF-8F77B9FE6C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872E8-D064-4641-A592-6C7A770E24A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41802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841501c5-aa37-4ccb-9323-58c400f1fbe4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2473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3487e90a-2813-44b4-a498-460f04575317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27731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ed3a6bb2-af14-41ce-b9df-168a15c70c98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64075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5c53589e-7823-4dbf-bcd8-5b8b6d8f5cfc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48557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5fa9c997-03f2-4945-b263-6d85a59ea2d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90803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c59cf48-a303-48f0-9fde-18f20f2565e6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272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8ee6d911-414f-4b29-8df8-ecf7aa51ff3c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0544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54eb018a-5b32-4943-9c3b-6c3a6c02144f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1345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3beaeb8-5606-4523-9b4b-d903e1a9e206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2067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d9bcff8-f42f-4c57-befa-e8b7390277bd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6973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865a0689-0d8a-43bf-b5a9-7eff8a84685e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3878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02c2db3-bbef-415b-9812-42f9f6a923fc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6297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e7eaba7-eec4-47b9-8b9c-75a102cc14e2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9754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F893EB82-8DF0-46D8-B1DB-EDFDCC594D3D}"/>
              </a:ext>
            </a:extLst>
          </p:cNvPr>
          <p:cNvSpPr/>
          <p:nvPr userDrawn="1"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Freeform 13">
            <a:extLst>
              <a:ext uri="{FF2B5EF4-FFF2-40B4-BE49-F238E27FC236}">
                <a16:creationId xmlns:a16="http://schemas.microsoft.com/office/drawing/2014/main" id="{2C0F153E-DFAB-4DED-991B-4589E43C398C}"/>
              </a:ext>
            </a:extLst>
          </p:cNvPr>
          <p:cNvSpPr>
            <a:spLocks/>
          </p:cNvSpPr>
          <p:nvPr userDrawn="1"/>
        </p:nvSpPr>
        <p:spPr bwMode="auto">
          <a:xfrm>
            <a:off x="4963886" y="558775"/>
            <a:ext cx="7228115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  <a:alpha val="3000"/>
                </a:schemeClr>
              </a:gs>
              <a:gs pos="48000">
                <a:schemeClr val="accent1">
                  <a:alpha val="16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" name="Freeform 13">
            <a:extLst>
              <a:ext uri="{FF2B5EF4-FFF2-40B4-BE49-F238E27FC236}">
                <a16:creationId xmlns:a16="http://schemas.microsoft.com/office/drawing/2014/main" id="{DB201F0D-ECC1-4C13-8F30-D7975D736B6B}"/>
              </a:ext>
            </a:extLst>
          </p:cNvPr>
          <p:cNvSpPr>
            <a:spLocks/>
          </p:cNvSpPr>
          <p:nvPr userDrawn="1"/>
        </p:nvSpPr>
        <p:spPr bwMode="auto">
          <a:xfrm>
            <a:off x="5127257" y="311416"/>
            <a:ext cx="7064723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blipFill>
            <a:blip r:embed="rId2"/>
            <a:srcRect/>
            <a:stretch>
              <a:fillRect l="-25587" r="-2558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85006" y="2423059"/>
            <a:ext cx="10821988" cy="558799"/>
          </a:xfr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3D76735F-88A5-42AC-8583-5A6E0C8D41B2}"/>
              </a:ext>
            </a:extLst>
          </p:cNvPr>
          <p:cNvSpPr txBox="1"/>
          <p:nvPr userDrawn="1"/>
        </p:nvSpPr>
        <p:spPr>
          <a:xfrm>
            <a:off x="267700" y="839069"/>
            <a:ext cx="8739687" cy="3771877"/>
          </a:xfrm>
          <a:custGeom>
            <a:avLst/>
            <a:gdLst/>
            <a:ahLst/>
            <a:cxnLst/>
            <a:rect l="l" t="t" r="r" b="b"/>
            <a:pathLst>
              <a:path w="1939472" h="837038">
                <a:moveTo>
                  <a:pt x="1698613" y="123914"/>
                </a:moveTo>
                <a:cubicBezTo>
                  <a:pt x="1689987" y="123914"/>
                  <a:pt x="1681029" y="128144"/>
                  <a:pt x="1671740" y="136604"/>
                </a:cubicBezTo>
                <a:cubicBezTo>
                  <a:pt x="1662451" y="145064"/>
                  <a:pt x="1657806" y="167872"/>
                  <a:pt x="1657806" y="205030"/>
                </a:cubicBezTo>
                <a:lnTo>
                  <a:pt x="1657806" y="355816"/>
                </a:lnTo>
                <a:cubicBezTo>
                  <a:pt x="1657806" y="389656"/>
                  <a:pt x="1662202" y="410557"/>
                  <a:pt x="1670993" y="418519"/>
                </a:cubicBezTo>
                <a:cubicBezTo>
                  <a:pt x="1679785" y="426481"/>
                  <a:pt x="1688826" y="430462"/>
                  <a:pt x="1698115" y="430462"/>
                </a:cubicBezTo>
                <a:cubicBezTo>
                  <a:pt x="1712049" y="430462"/>
                  <a:pt x="1722251" y="425403"/>
                  <a:pt x="1728720" y="415284"/>
                </a:cubicBezTo>
                <a:cubicBezTo>
                  <a:pt x="1735189" y="405166"/>
                  <a:pt x="1738424" y="385343"/>
                  <a:pt x="1738424" y="355816"/>
                </a:cubicBezTo>
                <a:lnTo>
                  <a:pt x="1738424" y="210006"/>
                </a:lnTo>
                <a:cubicBezTo>
                  <a:pt x="1738424" y="174508"/>
                  <a:pt x="1735355" y="151284"/>
                  <a:pt x="1729218" y="140336"/>
                </a:cubicBezTo>
                <a:cubicBezTo>
                  <a:pt x="1723080" y="129388"/>
                  <a:pt x="1712878" y="123914"/>
                  <a:pt x="1698613" y="123914"/>
                </a:cubicBezTo>
                <a:close/>
                <a:moveTo>
                  <a:pt x="761181" y="123914"/>
                </a:moveTo>
                <a:cubicBezTo>
                  <a:pt x="746252" y="123914"/>
                  <a:pt x="736382" y="129637"/>
                  <a:pt x="731572" y="141082"/>
                </a:cubicBezTo>
                <a:cubicBezTo>
                  <a:pt x="726761" y="152528"/>
                  <a:pt x="724356" y="178986"/>
                  <a:pt x="724356" y="220457"/>
                </a:cubicBezTo>
                <a:lnTo>
                  <a:pt x="724356" y="613596"/>
                </a:lnTo>
                <a:cubicBezTo>
                  <a:pt x="724356" y="660374"/>
                  <a:pt x="726595" y="688574"/>
                  <a:pt x="731074" y="698195"/>
                </a:cubicBezTo>
                <a:cubicBezTo>
                  <a:pt x="735553" y="707816"/>
                  <a:pt x="745257" y="712627"/>
                  <a:pt x="760186" y="712627"/>
                </a:cubicBezTo>
                <a:cubicBezTo>
                  <a:pt x="775115" y="712627"/>
                  <a:pt x="784902" y="706987"/>
                  <a:pt x="789547" y="695707"/>
                </a:cubicBezTo>
                <a:cubicBezTo>
                  <a:pt x="794192" y="684427"/>
                  <a:pt x="796514" y="659047"/>
                  <a:pt x="796514" y="619567"/>
                </a:cubicBezTo>
                <a:lnTo>
                  <a:pt x="796514" y="220457"/>
                </a:lnTo>
                <a:cubicBezTo>
                  <a:pt x="796514" y="177659"/>
                  <a:pt x="794441" y="150869"/>
                  <a:pt x="790294" y="140087"/>
                </a:cubicBezTo>
                <a:cubicBezTo>
                  <a:pt x="786147" y="129305"/>
                  <a:pt x="776442" y="123914"/>
                  <a:pt x="761181" y="123914"/>
                </a:cubicBezTo>
                <a:close/>
                <a:moveTo>
                  <a:pt x="1257826" y="15427"/>
                </a:moveTo>
                <a:lnTo>
                  <a:pt x="1376265" y="15427"/>
                </a:lnTo>
                <a:lnTo>
                  <a:pt x="1376265" y="821113"/>
                </a:lnTo>
                <a:lnTo>
                  <a:pt x="1175217" y="821113"/>
                </a:lnTo>
                <a:lnTo>
                  <a:pt x="1175217" y="389158"/>
                </a:lnTo>
                <a:cubicBezTo>
                  <a:pt x="1175217" y="326787"/>
                  <a:pt x="1173724" y="289297"/>
                  <a:pt x="1170738" y="276690"/>
                </a:cubicBezTo>
                <a:cubicBezTo>
                  <a:pt x="1167752" y="264083"/>
                  <a:pt x="1159541" y="254545"/>
                  <a:pt x="1146104" y="248076"/>
                </a:cubicBezTo>
                <a:cubicBezTo>
                  <a:pt x="1132668" y="241607"/>
                  <a:pt x="1102726" y="238372"/>
                  <a:pt x="1056280" y="238372"/>
                </a:cubicBezTo>
                <a:lnTo>
                  <a:pt x="1036374" y="238372"/>
                </a:lnTo>
                <a:lnTo>
                  <a:pt x="1036374" y="144442"/>
                </a:lnTo>
                <a:cubicBezTo>
                  <a:pt x="1133580" y="123520"/>
                  <a:pt x="1207398" y="80515"/>
                  <a:pt x="1257826" y="15427"/>
                </a:cubicBezTo>
                <a:close/>
                <a:moveTo>
                  <a:pt x="1689655" y="0"/>
                </a:moveTo>
                <a:cubicBezTo>
                  <a:pt x="1743401" y="0"/>
                  <a:pt x="1787525" y="7465"/>
                  <a:pt x="1822028" y="22394"/>
                </a:cubicBezTo>
                <a:cubicBezTo>
                  <a:pt x="1856532" y="37324"/>
                  <a:pt x="1883239" y="58805"/>
                  <a:pt x="1902149" y="86839"/>
                </a:cubicBezTo>
                <a:cubicBezTo>
                  <a:pt x="1921060" y="114873"/>
                  <a:pt x="1932008" y="144317"/>
                  <a:pt x="1934994" y="175171"/>
                </a:cubicBezTo>
                <a:cubicBezTo>
                  <a:pt x="1937979" y="206025"/>
                  <a:pt x="1939472" y="265742"/>
                  <a:pt x="1939472" y="354323"/>
                </a:cubicBezTo>
                <a:lnTo>
                  <a:pt x="1939472" y="466293"/>
                </a:lnTo>
                <a:cubicBezTo>
                  <a:pt x="1939472" y="562172"/>
                  <a:pt x="1938145" y="626285"/>
                  <a:pt x="1935491" y="658632"/>
                </a:cubicBezTo>
                <a:cubicBezTo>
                  <a:pt x="1932837" y="690979"/>
                  <a:pt x="1921308" y="721584"/>
                  <a:pt x="1900905" y="750448"/>
                </a:cubicBezTo>
                <a:cubicBezTo>
                  <a:pt x="1880502" y="779311"/>
                  <a:pt x="1852882" y="800959"/>
                  <a:pt x="1818047" y="815390"/>
                </a:cubicBezTo>
                <a:cubicBezTo>
                  <a:pt x="1783212" y="829822"/>
                  <a:pt x="1742903" y="837038"/>
                  <a:pt x="1697120" y="837038"/>
                </a:cubicBezTo>
                <a:cubicBezTo>
                  <a:pt x="1640388" y="837038"/>
                  <a:pt x="1594025" y="827914"/>
                  <a:pt x="1558028" y="809667"/>
                </a:cubicBezTo>
                <a:cubicBezTo>
                  <a:pt x="1522032" y="791420"/>
                  <a:pt x="1496154" y="765709"/>
                  <a:pt x="1480396" y="732532"/>
                </a:cubicBezTo>
                <a:cubicBezTo>
                  <a:pt x="1464637" y="699356"/>
                  <a:pt x="1456758" y="657554"/>
                  <a:pt x="1456758" y="607126"/>
                </a:cubicBezTo>
                <a:lnTo>
                  <a:pt x="1657806" y="607126"/>
                </a:lnTo>
                <a:cubicBezTo>
                  <a:pt x="1657806" y="644615"/>
                  <a:pt x="1658303" y="668253"/>
                  <a:pt x="1659299" y="678040"/>
                </a:cubicBezTo>
                <a:cubicBezTo>
                  <a:pt x="1660294" y="687827"/>
                  <a:pt x="1664358" y="696039"/>
                  <a:pt x="1671491" y="702674"/>
                </a:cubicBezTo>
                <a:cubicBezTo>
                  <a:pt x="1678624" y="709309"/>
                  <a:pt x="1688328" y="712627"/>
                  <a:pt x="1700603" y="712627"/>
                </a:cubicBezTo>
                <a:cubicBezTo>
                  <a:pt x="1710888" y="712627"/>
                  <a:pt x="1719348" y="709475"/>
                  <a:pt x="1725983" y="703171"/>
                </a:cubicBezTo>
                <a:cubicBezTo>
                  <a:pt x="1732618" y="696868"/>
                  <a:pt x="1736351" y="688740"/>
                  <a:pt x="1737180" y="678787"/>
                </a:cubicBezTo>
                <a:cubicBezTo>
                  <a:pt x="1738009" y="668834"/>
                  <a:pt x="1738424" y="648762"/>
                  <a:pt x="1738424" y="618572"/>
                </a:cubicBezTo>
                <a:lnTo>
                  <a:pt x="1738424" y="490180"/>
                </a:lnTo>
                <a:cubicBezTo>
                  <a:pt x="1728471" y="511744"/>
                  <a:pt x="1713542" y="527918"/>
                  <a:pt x="1693636" y="538700"/>
                </a:cubicBezTo>
                <a:cubicBezTo>
                  <a:pt x="1673730" y="549482"/>
                  <a:pt x="1649014" y="554874"/>
                  <a:pt x="1619487" y="554874"/>
                </a:cubicBezTo>
                <a:cubicBezTo>
                  <a:pt x="1582662" y="554874"/>
                  <a:pt x="1550149" y="544921"/>
                  <a:pt x="1521949" y="525015"/>
                </a:cubicBezTo>
                <a:cubicBezTo>
                  <a:pt x="1493749" y="505109"/>
                  <a:pt x="1475834" y="481222"/>
                  <a:pt x="1468203" y="453354"/>
                </a:cubicBezTo>
                <a:cubicBezTo>
                  <a:pt x="1460573" y="425486"/>
                  <a:pt x="1456758" y="387831"/>
                  <a:pt x="1456758" y="340389"/>
                </a:cubicBezTo>
                <a:lnTo>
                  <a:pt x="1456758" y="276193"/>
                </a:lnTo>
                <a:cubicBezTo>
                  <a:pt x="1456758" y="219793"/>
                  <a:pt x="1458997" y="177825"/>
                  <a:pt x="1463476" y="150289"/>
                </a:cubicBezTo>
                <a:cubicBezTo>
                  <a:pt x="1467955" y="122753"/>
                  <a:pt x="1479483" y="97290"/>
                  <a:pt x="1498062" y="73901"/>
                </a:cubicBezTo>
                <a:cubicBezTo>
                  <a:pt x="1516641" y="50511"/>
                  <a:pt x="1542352" y="32347"/>
                  <a:pt x="1575197" y="19408"/>
                </a:cubicBezTo>
                <a:cubicBezTo>
                  <a:pt x="1608041" y="6470"/>
                  <a:pt x="1646194" y="0"/>
                  <a:pt x="1689655" y="0"/>
                </a:cubicBezTo>
                <a:close/>
                <a:moveTo>
                  <a:pt x="756703" y="0"/>
                </a:moveTo>
                <a:cubicBezTo>
                  <a:pt x="800827" y="0"/>
                  <a:pt x="840307" y="7714"/>
                  <a:pt x="875142" y="23141"/>
                </a:cubicBezTo>
                <a:cubicBezTo>
                  <a:pt x="909977" y="38568"/>
                  <a:pt x="936020" y="57395"/>
                  <a:pt x="953272" y="79623"/>
                </a:cubicBezTo>
                <a:cubicBezTo>
                  <a:pt x="970524" y="101851"/>
                  <a:pt x="982218" y="126900"/>
                  <a:pt x="988356" y="154768"/>
                </a:cubicBezTo>
                <a:cubicBezTo>
                  <a:pt x="994493" y="182636"/>
                  <a:pt x="997562" y="227092"/>
                  <a:pt x="997562" y="288136"/>
                </a:cubicBezTo>
                <a:lnTo>
                  <a:pt x="997562" y="556864"/>
                </a:lnTo>
                <a:cubicBezTo>
                  <a:pt x="997562" y="617908"/>
                  <a:pt x="994245" y="662365"/>
                  <a:pt x="987609" y="690233"/>
                </a:cubicBezTo>
                <a:cubicBezTo>
                  <a:pt x="980974" y="718101"/>
                  <a:pt x="967206" y="744144"/>
                  <a:pt x="946305" y="768363"/>
                </a:cubicBezTo>
                <a:cubicBezTo>
                  <a:pt x="925404" y="792582"/>
                  <a:pt x="900190" y="809999"/>
                  <a:pt x="870663" y="820615"/>
                </a:cubicBezTo>
                <a:cubicBezTo>
                  <a:pt x="841136" y="831232"/>
                  <a:pt x="808126" y="836540"/>
                  <a:pt x="771632" y="836540"/>
                </a:cubicBezTo>
                <a:cubicBezTo>
                  <a:pt x="723526" y="836540"/>
                  <a:pt x="683549" y="830983"/>
                  <a:pt x="651700" y="819869"/>
                </a:cubicBezTo>
                <a:cubicBezTo>
                  <a:pt x="619851" y="808755"/>
                  <a:pt x="594471" y="791420"/>
                  <a:pt x="575560" y="767865"/>
                </a:cubicBezTo>
                <a:cubicBezTo>
                  <a:pt x="556650" y="744310"/>
                  <a:pt x="543213" y="719511"/>
                  <a:pt x="535251" y="693467"/>
                </a:cubicBezTo>
                <a:cubicBezTo>
                  <a:pt x="527289" y="667424"/>
                  <a:pt x="523308" y="626037"/>
                  <a:pt x="523308" y="569305"/>
                </a:cubicBezTo>
                <a:lnTo>
                  <a:pt x="523308" y="288136"/>
                </a:lnTo>
                <a:cubicBezTo>
                  <a:pt x="523308" y="214153"/>
                  <a:pt x="529694" y="158749"/>
                  <a:pt x="542467" y="121923"/>
                </a:cubicBezTo>
                <a:cubicBezTo>
                  <a:pt x="555240" y="85098"/>
                  <a:pt x="580620" y="55571"/>
                  <a:pt x="618606" y="33343"/>
                </a:cubicBezTo>
                <a:cubicBezTo>
                  <a:pt x="656593" y="11114"/>
                  <a:pt x="702625" y="0"/>
                  <a:pt x="756703" y="0"/>
                </a:cubicBezTo>
                <a:close/>
                <a:moveTo>
                  <a:pt x="217470" y="0"/>
                </a:moveTo>
                <a:cubicBezTo>
                  <a:pt x="297425" y="0"/>
                  <a:pt x="357889" y="19823"/>
                  <a:pt x="398862" y="59469"/>
                </a:cubicBezTo>
                <a:cubicBezTo>
                  <a:pt x="439834" y="99114"/>
                  <a:pt x="460321" y="149294"/>
                  <a:pt x="460321" y="210006"/>
                </a:cubicBezTo>
                <a:cubicBezTo>
                  <a:pt x="460321" y="256121"/>
                  <a:pt x="448791" y="304890"/>
                  <a:pt x="425731" y="356313"/>
                </a:cubicBezTo>
                <a:cubicBezTo>
                  <a:pt x="402670" y="407737"/>
                  <a:pt x="334738" y="516887"/>
                  <a:pt x="221934" y="683763"/>
                </a:cubicBezTo>
                <a:lnTo>
                  <a:pt x="442406" y="683763"/>
                </a:lnTo>
                <a:lnTo>
                  <a:pt x="442406" y="821113"/>
                </a:lnTo>
                <a:lnTo>
                  <a:pt x="0" y="821113"/>
                </a:lnTo>
                <a:lnTo>
                  <a:pt x="124" y="706157"/>
                </a:lnTo>
                <a:cubicBezTo>
                  <a:pt x="131171" y="491839"/>
                  <a:pt x="209052" y="359216"/>
                  <a:pt x="233768" y="308291"/>
                </a:cubicBezTo>
                <a:cubicBezTo>
                  <a:pt x="258485" y="257365"/>
                  <a:pt x="270843" y="217637"/>
                  <a:pt x="270843" y="189105"/>
                </a:cubicBezTo>
                <a:cubicBezTo>
                  <a:pt x="270843" y="167209"/>
                  <a:pt x="267105" y="150869"/>
                  <a:pt x="259630" y="140087"/>
                </a:cubicBezTo>
                <a:cubicBezTo>
                  <a:pt x="252155" y="129305"/>
                  <a:pt x="240777" y="123914"/>
                  <a:pt x="225495" y="123914"/>
                </a:cubicBezTo>
                <a:cubicBezTo>
                  <a:pt x="210213" y="123914"/>
                  <a:pt x="198835" y="129885"/>
                  <a:pt x="191360" y="141829"/>
                </a:cubicBezTo>
                <a:cubicBezTo>
                  <a:pt x="183885" y="153772"/>
                  <a:pt x="180147" y="177493"/>
                  <a:pt x="180147" y="212992"/>
                </a:cubicBezTo>
                <a:lnTo>
                  <a:pt x="180147" y="289629"/>
                </a:lnTo>
                <a:lnTo>
                  <a:pt x="0" y="289629"/>
                </a:lnTo>
                <a:lnTo>
                  <a:pt x="0" y="260268"/>
                </a:lnTo>
                <a:cubicBezTo>
                  <a:pt x="0" y="215149"/>
                  <a:pt x="2322" y="179567"/>
                  <a:pt x="6967" y="153524"/>
                </a:cubicBezTo>
                <a:cubicBezTo>
                  <a:pt x="11612" y="127480"/>
                  <a:pt x="23057" y="101851"/>
                  <a:pt x="41304" y="76638"/>
                </a:cubicBezTo>
                <a:cubicBezTo>
                  <a:pt x="59551" y="51424"/>
                  <a:pt x="83272" y="32347"/>
                  <a:pt x="112468" y="19408"/>
                </a:cubicBezTo>
                <a:cubicBezTo>
                  <a:pt x="141663" y="6470"/>
                  <a:pt x="176664" y="0"/>
                  <a:pt x="217470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 sz="8000" dirty="0">
              <a:latin typeface="Impact" panose="020B0806030902050204" pitchFamily="34" charset="0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85006" y="1724468"/>
            <a:ext cx="10821988" cy="698591"/>
          </a:xfrm>
        </p:spPr>
        <p:txBody>
          <a:bodyPr lIns="0" tIns="0" rIns="0" bIns="0"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lIns="0" tIns="0" rIns="0" bIns="0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lIns="0" tIns="0" rIns="0" bIns="0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89080B-CA0E-4646-9DD9-0F02D3DC07BE}" type="datetime1">
              <a:rPr lang="zh-CN" altLang="en-US" smtClean="0"/>
              <a:t>2019/3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广东工业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6000" y="2419538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7116" y="3314888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71B0D-49BD-4B00-AAB2-F31E8EDAA1D8}" type="datetime1">
              <a:rPr lang="zh-CN" altLang="en-US" smtClean="0"/>
              <a:t>2019/3/2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广东工业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6" name="676fecc8-5938-4c2a-98aa-ea8df12395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F692FC8-EE72-46C7-BB98-564F215F26BB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10073640" y="550863"/>
            <a:ext cx="1445260" cy="392199"/>
            <a:chOff x="2647449" y="2492374"/>
            <a:chExt cx="6897103" cy="1871663"/>
          </a:xfrm>
        </p:grpSpPr>
        <p:sp>
          <p:nvSpPr>
            <p:cNvPr id="7" name="íšľíḑe">
              <a:extLst>
                <a:ext uri="{FF2B5EF4-FFF2-40B4-BE49-F238E27FC236}">
                  <a16:creationId xmlns:a16="http://schemas.microsoft.com/office/drawing/2014/main" id="{6B07D2B7-BFB4-4C89-AFEA-27FBBE732080}"/>
                </a:ext>
              </a:extLst>
            </p:cNvPr>
            <p:cNvSpPr/>
            <p:nvPr userDrawn="1"/>
          </p:nvSpPr>
          <p:spPr bwMode="auto">
            <a:xfrm>
              <a:off x="4864297" y="2650172"/>
              <a:ext cx="4625464" cy="1089247"/>
            </a:xfrm>
            <a:custGeom>
              <a:avLst/>
              <a:gdLst>
                <a:gd name="T0" fmla="*/ 1846 w 2033"/>
                <a:gd name="T1" fmla="*/ 379 h 478"/>
                <a:gd name="T2" fmla="*/ 1836 w 2033"/>
                <a:gd name="T3" fmla="*/ 368 h 478"/>
                <a:gd name="T4" fmla="*/ 1932 w 2033"/>
                <a:gd name="T5" fmla="*/ 256 h 478"/>
                <a:gd name="T6" fmla="*/ 1958 w 2033"/>
                <a:gd name="T7" fmla="*/ 124 h 478"/>
                <a:gd name="T8" fmla="*/ 1868 w 2033"/>
                <a:gd name="T9" fmla="*/ 215 h 478"/>
                <a:gd name="T10" fmla="*/ 1814 w 2033"/>
                <a:gd name="T11" fmla="*/ 242 h 478"/>
                <a:gd name="T12" fmla="*/ 1796 w 2033"/>
                <a:gd name="T13" fmla="*/ 130 h 478"/>
                <a:gd name="T14" fmla="*/ 1834 w 2033"/>
                <a:gd name="T15" fmla="*/ 154 h 478"/>
                <a:gd name="T16" fmla="*/ 1859 w 2033"/>
                <a:gd name="T17" fmla="*/ 124 h 478"/>
                <a:gd name="T18" fmla="*/ 1944 w 2033"/>
                <a:gd name="T19" fmla="*/ 46 h 478"/>
                <a:gd name="T20" fmla="*/ 2022 w 2033"/>
                <a:gd name="T21" fmla="*/ 84 h 478"/>
                <a:gd name="T22" fmla="*/ 1892 w 2033"/>
                <a:gd name="T23" fmla="*/ 315 h 478"/>
                <a:gd name="T24" fmla="*/ 1927 w 2033"/>
                <a:gd name="T25" fmla="*/ 338 h 478"/>
                <a:gd name="T26" fmla="*/ 2 w 2033"/>
                <a:gd name="T27" fmla="*/ 449 h 478"/>
                <a:gd name="T28" fmla="*/ 236 w 2033"/>
                <a:gd name="T29" fmla="*/ 99 h 478"/>
                <a:gd name="T30" fmla="*/ 119 w 2033"/>
                <a:gd name="T31" fmla="*/ 112 h 478"/>
                <a:gd name="T32" fmla="*/ 276 w 2033"/>
                <a:gd name="T33" fmla="*/ 88 h 478"/>
                <a:gd name="T34" fmla="*/ 237 w 2033"/>
                <a:gd name="T35" fmla="*/ 157 h 478"/>
                <a:gd name="T36" fmla="*/ 341 w 2033"/>
                <a:gd name="T37" fmla="*/ 184 h 478"/>
                <a:gd name="T38" fmla="*/ 308 w 2033"/>
                <a:gd name="T39" fmla="*/ 295 h 478"/>
                <a:gd name="T40" fmla="*/ 253 w 2033"/>
                <a:gd name="T41" fmla="*/ 338 h 478"/>
                <a:gd name="T42" fmla="*/ 133 w 2033"/>
                <a:gd name="T43" fmla="*/ 427 h 478"/>
                <a:gd name="T44" fmla="*/ 154 w 2033"/>
                <a:gd name="T45" fmla="*/ 285 h 478"/>
                <a:gd name="T46" fmla="*/ 1171 w 2033"/>
                <a:gd name="T47" fmla="*/ 371 h 478"/>
                <a:gd name="T48" fmla="*/ 1168 w 2033"/>
                <a:gd name="T49" fmla="*/ 314 h 478"/>
                <a:gd name="T50" fmla="*/ 1220 w 2033"/>
                <a:gd name="T51" fmla="*/ 245 h 478"/>
                <a:gd name="T52" fmla="*/ 1055 w 2033"/>
                <a:gd name="T53" fmla="*/ 234 h 478"/>
                <a:gd name="T54" fmla="*/ 1168 w 2033"/>
                <a:gd name="T55" fmla="*/ 165 h 478"/>
                <a:gd name="T56" fmla="*/ 1198 w 2033"/>
                <a:gd name="T57" fmla="*/ 87 h 478"/>
                <a:gd name="T58" fmla="*/ 1204 w 2033"/>
                <a:gd name="T59" fmla="*/ 161 h 478"/>
                <a:gd name="T60" fmla="*/ 1283 w 2033"/>
                <a:gd name="T61" fmla="*/ 170 h 478"/>
                <a:gd name="T62" fmla="*/ 1235 w 2033"/>
                <a:gd name="T63" fmla="*/ 256 h 478"/>
                <a:gd name="T64" fmla="*/ 1220 w 2033"/>
                <a:gd name="T65" fmla="*/ 318 h 478"/>
                <a:gd name="T66" fmla="*/ 405 w 2033"/>
                <a:gd name="T67" fmla="*/ 412 h 478"/>
                <a:gd name="T68" fmla="*/ 434 w 2033"/>
                <a:gd name="T69" fmla="*/ 422 h 478"/>
                <a:gd name="T70" fmla="*/ 574 w 2033"/>
                <a:gd name="T71" fmla="*/ 413 h 478"/>
                <a:gd name="T72" fmla="*/ 578 w 2033"/>
                <a:gd name="T73" fmla="*/ 255 h 478"/>
                <a:gd name="T74" fmla="*/ 638 w 2033"/>
                <a:gd name="T75" fmla="*/ 104 h 478"/>
                <a:gd name="T76" fmla="*/ 466 w 2033"/>
                <a:gd name="T77" fmla="*/ 159 h 478"/>
                <a:gd name="T78" fmla="*/ 535 w 2033"/>
                <a:gd name="T79" fmla="*/ 201 h 478"/>
                <a:gd name="T80" fmla="*/ 499 w 2033"/>
                <a:gd name="T81" fmla="*/ 257 h 478"/>
                <a:gd name="T82" fmla="*/ 556 w 2033"/>
                <a:gd name="T83" fmla="*/ 225 h 478"/>
                <a:gd name="T84" fmla="*/ 531 w 2033"/>
                <a:gd name="T85" fmla="*/ 386 h 478"/>
                <a:gd name="T86" fmla="*/ 1609 w 2033"/>
                <a:gd name="T87" fmla="*/ 256 h 478"/>
                <a:gd name="T88" fmla="*/ 1562 w 2033"/>
                <a:gd name="T89" fmla="*/ 107 h 478"/>
                <a:gd name="T90" fmla="*/ 1556 w 2033"/>
                <a:gd name="T91" fmla="*/ 279 h 478"/>
                <a:gd name="T92" fmla="*/ 324 w 2033"/>
                <a:gd name="T93" fmla="*/ 382 h 478"/>
                <a:gd name="T94" fmla="*/ 1283 w 2033"/>
                <a:gd name="T95" fmla="*/ 389 h 478"/>
                <a:gd name="T96" fmla="*/ 1184 w 2033"/>
                <a:gd name="T97" fmla="*/ 385 h 478"/>
                <a:gd name="T98" fmla="*/ 731 w 2033"/>
                <a:gd name="T99" fmla="*/ 348 h 478"/>
                <a:gd name="T100" fmla="*/ 913 w 2033"/>
                <a:gd name="T101" fmla="*/ 256 h 478"/>
                <a:gd name="T102" fmla="*/ 838 w 2033"/>
                <a:gd name="T103" fmla="*/ 191 h 478"/>
                <a:gd name="T104" fmla="*/ 957 w 2033"/>
                <a:gd name="T105" fmla="*/ 243 h 478"/>
                <a:gd name="T106" fmla="*/ 875 w 2033"/>
                <a:gd name="T107" fmla="*/ 347 h 478"/>
                <a:gd name="T108" fmla="*/ 229 w 2033"/>
                <a:gd name="T109" fmla="*/ 334 h 478"/>
                <a:gd name="T110" fmla="*/ 208 w 2033"/>
                <a:gd name="T111" fmla="*/ 302 h 478"/>
                <a:gd name="T112" fmla="*/ 190 w 2033"/>
                <a:gd name="T113" fmla="*/ 339 h 478"/>
                <a:gd name="T114" fmla="*/ 651 w 2033"/>
                <a:gd name="T115" fmla="*/ 339 h 478"/>
                <a:gd name="T116" fmla="*/ 149 w 2033"/>
                <a:gd name="T117" fmla="*/ 244 h 478"/>
                <a:gd name="T118" fmla="*/ 1847 w 2033"/>
                <a:gd name="T119" fmla="*/ 174 h 478"/>
                <a:gd name="T120" fmla="*/ 1907 w 2033"/>
                <a:gd name="T121" fmla="*/ 189 h 478"/>
                <a:gd name="T122" fmla="*/ 583 w 2033"/>
                <a:gd name="T123" fmla="*/ 131 h 478"/>
                <a:gd name="T124" fmla="*/ 209 w 2033"/>
                <a:gd name="T125" fmla="*/ 19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3" h="478">
                  <a:moveTo>
                    <a:pt x="1888" y="478"/>
                  </a:moveTo>
                  <a:cubicBezTo>
                    <a:pt x="1854" y="462"/>
                    <a:pt x="1854" y="462"/>
                    <a:pt x="1854" y="462"/>
                  </a:cubicBezTo>
                  <a:cubicBezTo>
                    <a:pt x="1854" y="462"/>
                    <a:pt x="1854" y="462"/>
                    <a:pt x="1854" y="462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18" y="275"/>
                    <a:pt x="1918" y="275"/>
                    <a:pt x="1918" y="275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863" y="283"/>
                    <a:pt x="1863" y="283"/>
                    <a:pt x="1863" y="283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64" y="262"/>
                    <a:pt x="1864" y="262"/>
                    <a:pt x="1864" y="262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4" y="126"/>
                    <a:pt x="1954" y="126"/>
                    <a:pt x="1954" y="126"/>
                  </a:cubicBezTo>
                  <a:cubicBezTo>
                    <a:pt x="1952" y="128"/>
                    <a:pt x="1952" y="128"/>
                    <a:pt x="1952" y="128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39" y="50"/>
                    <a:pt x="1939" y="50"/>
                    <a:pt x="1939" y="50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6" y="144"/>
                    <a:pt x="2006" y="144"/>
                    <a:pt x="2006" y="144"/>
                  </a:cubicBezTo>
                  <a:cubicBezTo>
                    <a:pt x="2003" y="142"/>
                    <a:pt x="2003" y="142"/>
                    <a:pt x="2003" y="142"/>
                  </a:cubicBezTo>
                  <a:cubicBezTo>
                    <a:pt x="1971" y="194"/>
                    <a:pt x="1971" y="194"/>
                    <a:pt x="1971" y="194"/>
                  </a:cubicBezTo>
                  <a:cubicBezTo>
                    <a:pt x="1967" y="195"/>
                    <a:pt x="1967" y="195"/>
                    <a:pt x="1967" y="195"/>
                  </a:cubicBezTo>
                  <a:cubicBezTo>
                    <a:pt x="1950" y="219"/>
                    <a:pt x="1950" y="219"/>
                    <a:pt x="1950" y="219"/>
                  </a:cubicBezTo>
                  <a:cubicBezTo>
                    <a:pt x="1948" y="221"/>
                    <a:pt x="1948" y="221"/>
                    <a:pt x="1948" y="221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89" y="478"/>
                    <a:pt x="1889" y="478"/>
                    <a:pt x="1889" y="478"/>
                  </a:cubicBezTo>
                  <a:lnTo>
                    <a:pt x="1888" y="478"/>
                  </a:lnTo>
                  <a:close/>
                  <a:moveTo>
                    <a:pt x="19" y="460"/>
                  </a:moveTo>
                  <a:cubicBezTo>
                    <a:pt x="16" y="460"/>
                    <a:pt x="16" y="460"/>
                    <a:pt x="16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5" y="288"/>
                    <a:pt x="95" y="288"/>
                    <a:pt x="96" y="288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7" y="288"/>
                    <a:pt x="98" y="287"/>
                    <a:pt x="98" y="287"/>
                  </a:cubicBezTo>
                  <a:cubicBezTo>
                    <a:pt x="98" y="287"/>
                    <a:pt x="98" y="287"/>
                    <a:pt x="98" y="287"/>
                  </a:cubicBezTo>
                  <a:cubicBezTo>
                    <a:pt x="99" y="287"/>
                    <a:pt x="99" y="286"/>
                    <a:pt x="99" y="285"/>
                  </a:cubicBezTo>
                  <a:cubicBezTo>
                    <a:pt x="99" y="285"/>
                    <a:pt x="99" y="285"/>
                    <a:pt x="99" y="285"/>
                  </a:cubicBezTo>
                  <a:cubicBezTo>
                    <a:pt x="101" y="283"/>
                    <a:pt x="103" y="282"/>
                    <a:pt x="10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05" y="279"/>
                    <a:pt x="105" y="279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7" y="277"/>
                    <a:pt x="108" y="276"/>
                    <a:pt x="109" y="275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13" y="268"/>
                    <a:pt x="117" y="261"/>
                    <a:pt x="121" y="254"/>
                  </a:cubicBezTo>
                  <a:cubicBezTo>
                    <a:pt x="121" y="254"/>
                    <a:pt x="121" y="254"/>
                    <a:pt x="121" y="254"/>
                  </a:cubicBezTo>
                  <a:cubicBezTo>
                    <a:pt x="120" y="254"/>
                    <a:pt x="120" y="254"/>
                    <a:pt x="119" y="254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9" y="184"/>
                    <a:pt x="219" y="184"/>
                    <a:pt x="219" y="184"/>
                  </a:cubicBezTo>
                  <a:cubicBezTo>
                    <a:pt x="219" y="181"/>
                    <a:pt x="219" y="181"/>
                    <a:pt x="219" y="181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189" y="384"/>
                    <a:pt x="189" y="384"/>
                    <a:pt x="189" y="384"/>
                  </a:cubicBezTo>
                  <a:cubicBezTo>
                    <a:pt x="185" y="386"/>
                    <a:pt x="185" y="386"/>
                    <a:pt x="185" y="386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1"/>
                    <a:pt x="182" y="350"/>
                    <a:pt x="181" y="349"/>
                  </a:cubicBezTo>
                  <a:cubicBezTo>
                    <a:pt x="181" y="349"/>
                    <a:pt x="181" y="349"/>
                    <a:pt x="181" y="349"/>
                  </a:cubicBezTo>
                  <a:cubicBezTo>
                    <a:pt x="181" y="348"/>
                    <a:pt x="181" y="346"/>
                    <a:pt x="180" y="345"/>
                  </a:cubicBezTo>
                  <a:cubicBezTo>
                    <a:pt x="180" y="345"/>
                    <a:pt x="180" y="345"/>
                    <a:pt x="180" y="345"/>
                  </a:cubicBezTo>
                  <a:cubicBezTo>
                    <a:pt x="179" y="341"/>
                    <a:pt x="178" y="338"/>
                    <a:pt x="177" y="334"/>
                  </a:cubicBezTo>
                  <a:cubicBezTo>
                    <a:pt x="177" y="334"/>
                    <a:pt x="177" y="334"/>
                    <a:pt x="177" y="334"/>
                  </a:cubicBezTo>
                  <a:cubicBezTo>
                    <a:pt x="177" y="326"/>
                    <a:pt x="178" y="319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80" y="308"/>
                    <a:pt x="181" y="304"/>
                    <a:pt x="182" y="300"/>
                  </a:cubicBezTo>
                  <a:cubicBezTo>
                    <a:pt x="182" y="300"/>
                    <a:pt x="182" y="300"/>
                    <a:pt x="182" y="300"/>
                  </a:cubicBezTo>
                  <a:cubicBezTo>
                    <a:pt x="184" y="297"/>
                    <a:pt x="185" y="293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9" y="287"/>
                    <a:pt x="191" y="283"/>
                    <a:pt x="193" y="280"/>
                  </a:cubicBezTo>
                  <a:cubicBezTo>
                    <a:pt x="193" y="280"/>
                    <a:pt x="193" y="280"/>
                    <a:pt x="193" y="280"/>
                  </a:cubicBezTo>
                  <a:cubicBezTo>
                    <a:pt x="195" y="276"/>
                    <a:pt x="197" y="273"/>
                    <a:pt x="199" y="269"/>
                  </a:cubicBezTo>
                  <a:cubicBezTo>
                    <a:pt x="199" y="269"/>
                    <a:pt x="199" y="269"/>
                    <a:pt x="199" y="26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194" y="268"/>
                    <a:pt x="181" y="276"/>
                    <a:pt x="168" y="284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3" y="288"/>
                    <a:pt x="160" y="289"/>
                    <a:pt x="154" y="285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3" y="285"/>
                    <a:pt x="152" y="285"/>
                    <a:pt x="151" y="285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0" y="285"/>
                    <a:pt x="150" y="284"/>
                    <a:pt x="149" y="283"/>
                  </a:cubicBezTo>
                  <a:cubicBezTo>
                    <a:pt x="149" y="283"/>
                    <a:pt x="149" y="283"/>
                    <a:pt x="149" y="283"/>
                  </a:cubicBezTo>
                  <a:cubicBezTo>
                    <a:pt x="148" y="283"/>
                    <a:pt x="147" y="282"/>
                    <a:pt x="146" y="282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5" y="281"/>
                    <a:pt x="145" y="280"/>
                    <a:pt x="145" y="279"/>
                  </a:cubicBezTo>
                  <a:cubicBezTo>
                    <a:pt x="145" y="279"/>
                    <a:pt x="145" y="279"/>
                    <a:pt x="145" y="279"/>
                  </a:cubicBezTo>
                  <a:cubicBezTo>
                    <a:pt x="142" y="278"/>
                    <a:pt x="140" y="276"/>
                    <a:pt x="138" y="274"/>
                  </a:cubicBezTo>
                  <a:cubicBezTo>
                    <a:pt x="138" y="274"/>
                    <a:pt x="138" y="274"/>
                    <a:pt x="138" y="274"/>
                  </a:cubicBezTo>
                  <a:cubicBezTo>
                    <a:pt x="138" y="274"/>
                    <a:pt x="137" y="273"/>
                    <a:pt x="136" y="273"/>
                  </a:cubicBezTo>
                  <a:cubicBezTo>
                    <a:pt x="136" y="273"/>
                    <a:pt x="136" y="273"/>
                    <a:pt x="136" y="273"/>
                  </a:cubicBezTo>
                  <a:cubicBezTo>
                    <a:pt x="136" y="273"/>
                    <a:pt x="135" y="273"/>
                    <a:pt x="134" y="272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3" y="272"/>
                    <a:pt x="133" y="272"/>
                    <a:pt x="132" y="271"/>
                  </a:cubicBezTo>
                  <a:cubicBezTo>
                    <a:pt x="132" y="271"/>
                    <a:pt x="132" y="271"/>
                    <a:pt x="132" y="271"/>
                  </a:cubicBezTo>
                  <a:cubicBezTo>
                    <a:pt x="132" y="271"/>
                    <a:pt x="131" y="270"/>
                    <a:pt x="131" y="269"/>
                  </a:cubicBezTo>
                  <a:cubicBezTo>
                    <a:pt x="131" y="269"/>
                    <a:pt x="131" y="269"/>
                    <a:pt x="131" y="269"/>
                  </a:cubicBezTo>
                  <a:cubicBezTo>
                    <a:pt x="130" y="270"/>
                    <a:pt x="129" y="270"/>
                    <a:pt x="128" y="270"/>
                  </a:cubicBezTo>
                  <a:cubicBezTo>
                    <a:pt x="128" y="270"/>
                    <a:pt x="128" y="270"/>
                    <a:pt x="128" y="270"/>
                  </a:cubicBezTo>
                  <a:cubicBezTo>
                    <a:pt x="127" y="271"/>
                    <a:pt x="126" y="271"/>
                    <a:pt x="126" y="271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5" y="272"/>
                    <a:pt x="125" y="273"/>
                    <a:pt x="125" y="273"/>
                  </a:cubicBezTo>
                  <a:cubicBezTo>
                    <a:pt x="125" y="273"/>
                    <a:pt x="125" y="273"/>
                    <a:pt x="125" y="273"/>
                  </a:cubicBezTo>
                  <a:cubicBezTo>
                    <a:pt x="124" y="274"/>
                    <a:pt x="124" y="274"/>
                    <a:pt x="123" y="275"/>
                  </a:cubicBezTo>
                  <a:cubicBezTo>
                    <a:pt x="123" y="275"/>
                    <a:pt x="123" y="275"/>
                    <a:pt x="123" y="275"/>
                  </a:cubicBezTo>
                  <a:cubicBezTo>
                    <a:pt x="123" y="276"/>
                    <a:pt x="123" y="277"/>
                    <a:pt x="122" y="278"/>
                  </a:cubicBezTo>
                  <a:cubicBezTo>
                    <a:pt x="122" y="278"/>
                    <a:pt x="122" y="278"/>
                    <a:pt x="122" y="278"/>
                  </a:cubicBezTo>
                  <a:cubicBezTo>
                    <a:pt x="122" y="279"/>
                    <a:pt x="122" y="279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0" y="280"/>
                    <a:pt x="119" y="281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19" y="281"/>
                    <a:pt x="119" y="281"/>
                    <a:pt x="118" y="281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20" y="459"/>
                    <a:pt x="20" y="459"/>
                    <a:pt x="20" y="459"/>
                  </a:cubicBezTo>
                  <a:lnTo>
                    <a:pt x="19" y="460"/>
                  </a:lnTo>
                  <a:close/>
                  <a:moveTo>
                    <a:pt x="1093" y="454"/>
                  </a:moveTo>
                  <a:cubicBezTo>
                    <a:pt x="1090" y="452"/>
                    <a:pt x="1090" y="452"/>
                    <a:pt x="1090" y="452"/>
                  </a:cubicBezTo>
                  <a:cubicBezTo>
                    <a:pt x="1090" y="452"/>
                    <a:pt x="1090" y="452"/>
                    <a:pt x="1090" y="452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2" y="223"/>
                    <a:pt x="1221" y="222"/>
                    <a:pt x="1218" y="220"/>
                  </a:cubicBezTo>
                  <a:cubicBezTo>
                    <a:pt x="1218" y="220"/>
                    <a:pt x="1218" y="220"/>
                    <a:pt x="1218" y="220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8" y="101"/>
                    <a:pt x="1178" y="101"/>
                    <a:pt x="1178" y="101"/>
                  </a:cubicBezTo>
                  <a:cubicBezTo>
                    <a:pt x="1178" y="99"/>
                    <a:pt x="1178" y="99"/>
                    <a:pt x="1178" y="99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44" y="229"/>
                    <a:pt x="1237" y="234"/>
                    <a:pt x="1237" y="235"/>
                  </a:cubicBezTo>
                  <a:cubicBezTo>
                    <a:pt x="1237" y="235"/>
                    <a:pt x="1237" y="235"/>
                    <a:pt x="1237" y="235"/>
                  </a:cubicBezTo>
                  <a:cubicBezTo>
                    <a:pt x="1237" y="236"/>
                    <a:pt x="1237" y="236"/>
                    <a:pt x="1237" y="236"/>
                  </a:cubicBezTo>
                  <a:cubicBezTo>
                    <a:pt x="1234" y="239"/>
                    <a:pt x="1234" y="239"/>
                    <a:pt x="1234" y="239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096" y="454"/>
                    <a:pt x="1096" y="454"/>
                    <a:pt x="1096" y="454"/>
                  </a:cubicBezTo>
                  <a:lnTo>
                    <a:pt x="1093" y="454"/>
                  </a:lnTo>
                  <a:close/>
                  <a:moveTo>
                    <a:pt x="425" y="424"/>
                  </a:moveTo>
                  <a:cubicBezTo>
                    <a:pt x="422" y="424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5" y="424"/>
                    <a:pt x="425" y="424"/>
                    <a:pt x="425" y="424"/>
                  </a:cubicBezTo>
                  <a:close/>
                  <a:moveTo>
                    <a:pt x="1686" y="419"/>
                  </a:moveTo>
                  <a:cubicBezTo>
                    <a:pt x="1683" y="419"/>
                    <a:pt x="1683" y="419"/>
                    <a:pt x="1683" y="419"/>
                  </a:cubicBezTo>
                  <a:cubicBezTo>
                    <a:pt x="1683" y="419"/>
                    <a:pt x="1683" y="419"/>
                    <a:pt x="1683" y="419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6" y="419"/>
                    <a:pt x="1686" y="419"/>
                    <a:pt x="1686" y="419"/>
                  </a:cubicBezTo>
                  <a:close/>
                  <a:moveTo>
                    <a:pt x="573" y="412"/>
                  </a:moveTo>
                  <a:cubicBezTo>
                    <a:pt x="574" y="413"/>
                    <a:pt x="574" y="413"/>
                    <a:pt x="574" y="413"/>
                  </a:cubicBezTo>
                  <a:cubicBezTo>
                    <a:pt x="574" y="413"/>
                    <a:pt x="574" y="413"/>
                    <a:pt x="574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66" y="20"/>
                    <a:pt x="566" y="20"/>
                    <a:pt x="566" y="20"/>
                  </a:cubicBezTo>
                  <a:cubicBezTo>
                    <a:pt x="561" y="19"/>
                    <a:pt x="561" y="19"/>
                    <a:pt x="561" y="19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412"/>
                    <a:pt x="571" y="412"/>
                    <a:pt x="571" y="412"/>
                  </a:cubicBezTo>
                  <a:lnTo>
                    <a:pt x="573" y="412"/>
                  </a:lnTo>
                  <a:close/>
                  <a:moveTo>
                    <a:pt x="1446" y="406"/>
                  </a:moveTo>
                  <a:cubicBezTo>
                    <a:pt x="1469" y="399"/>
                    <a:pt x="1469" y="399"/>
                    <a:pt x="1469" y="399"/>
                  </a:cubicBezTo>
                  <a:cubicBezTo>
                    <a:pt x="1469" y="399"/>
                    <a:pt x="1469" y="399"/>
                    <a:pt x="1469" y="399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590" y="251"/>
                    <a:pt x="1590" y="251"/>
                    <a:pt x="1590" y="251"/>
                  </a:cubicBezTo>
                  <a:cubicBezTo>
                    <a:pt x="1586" y="249"/>
                    <a:pt x="1586" y="249"/>
                    <a:pt x="1586" y="249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38"/>
                    <a:pt x="1607" y="134"/>
                    <a:pt x="1607" y="131"/>
                  </a:cubicBezTo>
                  <a:cubicBezTo>
                    <a:pt x="1607" y="131"/>
                    <a:pt x="1607" y="131"/>
                    <a:pt x="1607" y="131"/>
                  </a:cubicBezTo>
                  <a:cubicBezTo>
                    <a:pt x="1605" y="123"/>
                    <a:pt x="1605" y="122"/>
                    <a:pt x="1601" y="114"/>
                  </a:cubicBezTo>
                  <a:cubicBezTo>
                    <a:pt x="1601" y="114"/>
                    <a:pt x="1601" y="114"/>
                    <a:pt x="1601" y="114"/>
                  </a:cubicBezTo>
                  <a:cubicBezTo>
                    <a:pt x="1599" y="112"/>
                    <a:pt x="1597" y="109"/>
                    <a:pt x="1595" y="106"/>
                  </a:cubicBezTo>
                  <a:cubicBezTo>
                    <a:pt x="1595" y="106"/>
                    <a:pt x="1595" y="106"/>
                    <a:pt x="1595" y="106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4" y="80"/>
                    <a:pt x="1554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6" y="120"/>
                    <a:pt x="1566" y="125"/>
                    <a:pt x="1567" y="130"/>
                  </a:cubicBezTo>
                  <a:cubicBezTo>
                    <a:pt x="1567" y="130"/>
                    <a:pt x="1567" y="130"/>
                    <a:pt x="1567" y="130"/>
                  </a:cubicBezTo>
                  <a:cubicBezTo>
                    <a:pt x="1571" y="145"/>
                    <a:pt x="1574" y="143"/>
                    <a:pt x="1572" y="160"/>
                  </a:cubicBezTo>
                  <a:cubicBezTo>
                    <a:pt x="1572" y="160"/>
                    <a:pt x="1572" y="160"/>
                    <a:pt x="1572" y="160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2" y="406"/>
                    <a:pt x="1442" y="406"/>
                    <a:pt x="1442" y="406"/>
                  </a:cubicBezTo>
                  <a:lnTo>
                    <a:pt x="1446" y="406"/>
                  </a:lnTo>
                  <a:close/>
                  <a:moveTo>
                    <a:pt x="303" y="401"/>
                  </a:moveTo>
                  <a:cubicBezTo>
                    <a:pt x="312" y="401"/>
                    <a:pt x="312" y="401"/>
                    <a:pt x="312" y="401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3" y="401"/>
                    <a:pt x="303" y="401"/>
                    <a:pt x="303" y="401"/>
                  </a:cubicBezTo>
                  <a:close/>
                  <a:moveTo>
                    <a:pt x="1278" y="393"/>
                  </a:moveTo>
                  <a:cubicBezTo>
                    <a:pt x="1278" y="392"/>
                    <a:pt x="1278" y="392"/>
                    <a:pt x="1278" y="392"/>
                  </a:cubicBezTo>
                  <a:cubicBezTo>
                    <a:pt x="1278" y="392"/>
                    <a:pt x="1278" y="392"/>
                    <a:pt x="1278" y="392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8" y="393"/>
                    <a:pt x="1278" y="393"/>
                    <a:pt x="1278" y="393"/>
                  </a:cubicBezTo>
                  <a:close/>
                  <a:moveTo>
                    <a:pt x="1179" y="386"/>
                  </a:moveTo>
                  <a:cubicBezTo>
                    <a:pt x="1179" y="386"/>
                    <a:pt x="1179" y="386"/>
                    <a:pt x="1179" y="386"/>
                  </a:cubicBezTo>
                  <a:cubicBezTo>
                    <a:pt x="1179" y="386"/>
                    <a:pt x="1179" y="386"/>
                    <a:pt x="1179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9" y="386"/>
                    <a:pt x="1179" y="386"/>
                    <a:pt x="1179" y="386"/>
                  </a:cubicBezTo>
                  <a:close/>
                  <a:moveTo>
                    <a:pt x="778" y="381"/>
                  </a:moveTo>
                  <a:cubicBezTo>
                    <a:pt x="728" y="357"/>
                    <a:pt x="728" y="357"/>
                    <a:pt x="728" y="357"/>
                  </a:cubicBezTo>
                  <a:cubicBezTo>
                    <a:pt x="728" y="357"/>
                    <a:pt x="728" y="357"/>
                    <a:pt x="728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5" y="349"/>
                    <a:pt x="864" y="349"/>
                    <a:pt x="864" y="350"/>
                  </a:cubicBezTo>
                  <a:cubicBezTo>
                    <a:pt x="864" y="350"/>
                    <a:pt x="864" y="350"/>
                    <a:pt x="864" y="350"/>
                  </a:cubicBezTo>
                  <a:cubicBezTo>
                    <a:pt x="860" y="352"/>
                    <a:pt x="859" y="351"/>
                    <a:pt x="855" y="353"/>
                  </a:cubicBezTo>
                  <a:cubicBezTo>
                    <a:pt x="855" y="353"/>
                    <a:pt x="855" y="353"/>
                    <a:pt x="855" y="353"/>
                  </a:cubicBezTo>
                  <a:cubicBezTo>
                    <a:pt x="855" y="353"/>
                    <a:pt x="854" y="353"/>
                    <a:pt x="853" y="353"/>
                  </a:cubicBezTo>
                  <a:cubicBezTo>
                    <a:pt x="853" y="354"/>
                    <a:pt x="852" y="355"/>
                    <a:pt x="851" y="355"/>
                  </a:cubicBezTo>
                  <a:cubicBezTo>
                    <a:pt x="850" y="356"/>
                    <a:pt x="850" y="357"/>
                    <a:pt x="849" y="358"/>
                  </a:cubicBezTo>
                  <a:cubicBezTo>
                    <a:pt x="849" y="358"/>
                    <a:pt x="849" y="358"/>
                    <a:pt x="849" y="358"/>
                  </a:cubicBezTo>
                  <a:cubicBezTo>
                    <a:pt x="848" y="358"/>
                    <a:pt x="848" y="358"/>
                    <a:pt x="847" y="358"/>
                  </a:cubicBezTo>
                  <a:cubicBezTo>
                    <a:pt x="847" y="358"/>
                    <a:pt x="847" y="358"/>
                    <a:pt x="847" y="358"/>
                  </a:cubicBezTo>
                  <a:cubicBezTo>
                    <a:pt x="844" y="359"/>
                    <a:pt x="842" y="359"/>
                    <a:pt x="839" y="360"/>
                  </a:cubicBezTo>
                  <a:cubicBezTo>
                    <a:pt x="839" y="360"/>
                    <a:pt x="839" y="360"/>
                    <a:pt x="839" y="360"/>
                  </a:cubicBezTo>
                  <a:cubicBezTo>
                    <a:pt x="838" y="360"/>
                    <a:pt x="836" y="360"/>
                    <a:pt x="835" y="360"/>
                  </a:cubicBezTo>
                  <a:cubicBezTo>
                    <a:pt x="835" y="360"/>
                    <a:pt x="835" y="360"/>
                    <a:pt x="835" y="360"/>
                  </a:cubicBezTo>
                  <a:cubicBezTo>
                    <a:pt x="835" y="360"/>
                    <a:pt x="834" y="361"/>
                    <a:pt x="833" y="361"/>
                  </a:cubicBezTo>
                  <a:cubicBezTo>
                    <a:pt x="833" y="361"/>
                    <a:pt x="833" y="361"/>
                    <a:pt x="833" y="361"/>
                  </a:cubicBezTo>
                  <a:cubicBezTo>
                    <a:pt x="833" y="361"/>
                    <a:pt x="833" y="361"/>
                    <a:pt x="832" y="362"/>
                  </a:cubicBezTo>
                  <a:cubicBezTo>
                    <a:pt x="832" y="362"/>
                    <a:pt x="832" y="362"/>
                    <a:pt x="832" y="362"/>
                  </a:cubicBezTo>
                  <a:cubicBezTo>
                    <a:pt x="831" y="362"/>
                    <a:pt x="830" y="363"/>
                    <a:pt x="829" y="364"/>
                  </a:cubicBezTo>
                  <a:cubicBezTo>
                    <a:pt x="829" y="364"/>
                    <a:pt x="829" y="364"/>
                    <a:pt x="829" y="364"/>
                  </a:cubicBezTo>
                  <a:cubicBezTo>
                    <a:pt x="829" y="364"/>
                    <a:pt x="828" y="364"/>
                    <a:pt x="828" y="364"/>
                  </a:cubicBezTo>
                  <a:cubicBezTo>
                    <a:pt x="828" y="364"/>
                    <a:pt x="828" y="364"/>
                    <a:pt x="828" y="364"/>
                  </a:cubicBezTo>
                  <a:cubicBezTo>
                    <a:pt x="825" y="364"/>
                    <a:pt x="822" y="365"/>
                    <a:pt x="820" y="365"/>
                  </a:cubicBezTo>
                  <a:cubicBezTo>
                    <a:pt x="820" y="365"/>
                    <a:pt x="820" y="365"/>
                    <a:pt x="820" y="365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1" y="381"/>
                    <a:pt x="781" y="381"/>
                    <a:pt x="781" y="381"/>
                  </a:cubicBezTo>
                  <a:lnTo>
                    <a:pt x="778" y="381"/>
                  </a:lnTo>
                  <a:close/>
                  <a:moveTo>
                    <a:pt x="200" y="359"/>
                  </a:moveTo>
                  <a:cubicBezTo>
                    <a:pt x="204" y="360"/>
                    <a:pt x="204" y="360"/>
                    <a:pt x="204" y="360"/>
                  </a:cubicBezTo>
                  <a:cubicBezTo>
                    <a:pt x="204" y="360"/>
                    <a:pt x="204" y="360"/>
                    <a:pt x="204" y="360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5" y="347"/>
                    <a:pt x="226" y="346"/>
                    <a:pt x="227" y="345"/>
                  </a:cubicBezTo>
                  <a:cubicBezTo>
                    <a:pt x="227" y="345"/>
                    <a:pt x="227" y="345"/>
                    <a:pt x="227" y="345"/>
                  </a:cubicBezTo>
                  <a:cubicBezTo>
                    <a:pt x="227" y="344"/>
                    <a:pt x="227" y="343"/>
                    <a:pt x="227" y="342"/>
                  </a:cubicBezTo>
                  <a:cubicBezTo>
                    <a:pt x="227" y="342"/>
                    <a:pt x="227" y="342"/>
                    <a:pt x="227" y="342"/>
                  </a:cubicBezTo>
                  <a:cubicBezTo>
                    <a:pt x="227" y="341"/>
                    <a:pt x="227" y="340"/>
                    <a:pt x="227" y="339"/>
                  </a:cubicBezTo>
                  <a:cubicBezTo>
                    <a:pt x="227" y="339"/>
                    <a:pt x="227" y="339"/>
                    <a:pt x="227" y="339"/>
                  </a:cubicBezTo>
                  <a:cubicBezTo>
                    <a:pt x="227" y="338"/>
                    <a:pt x="227" y="338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6"/>
                    <a:pt x="228" y="335"/>
                    <a:pt x="229" y="334"/>
                  </a:cubicBezTo>
                  <a:cubicBezTo>
                    <a:pt x="229" y="334"/>
                    <a:pt x="229" y="334"/>
                    <a:pt x="229" y="334"/>
                  </a:cubicBezTo>
                  <a:cubicBezTo>
                    <a:pt x="229" y="333"/>
                    <a:pt x="229" y="332"/>
                    <a:pt x="229" y="331"/>
                  </a:cubicBezTo>
                  <a:cubicBezTo>
                    <a:pt x="229" y="331"/>
                    <a:pt x="229" y="331"/>
                    <a:pt x="229" y="331"/>
                  </a:cubicBezTo>
                  <a:cubicBezTo>
                    <a:pt x="229" y="330"/>
                    <a:pt x="229" y="329"/>
                    <a:pt x="230" y="328"/>
                  </a:cubicBezTo>
                  <a:cubicBezTo>
                    <a:pt x="230" y="328"/>
                    <a:pt x="230" y="328"/>
                    <a:pt x="230" y="328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4"/>
                    <a:pt x="229" y="324"/>
                    <a:pt x="229" y="323"/>
                  </a:cubicBezTo>
                  <a:cubicBezTo>
                    <a:pt x="229" y="323"/>
                    <a:pt x="229" y="323"/>
                    <a:pt x="229" y="323"/>
                  </a:cubicBezTo>
                  <a:cubicBezTo>
                    <a:pt x="228" y="323"/>
                    <a:pt x="227" y="323"/>
                    <a:pt x="225" y="324"/>
                  </a:cubicBezTo>
                  <a:cubicBezTo>
                    <a:pt x="225" y="324"/>
                    <a:pt x="225" y="324"/>
                    <a:pt x="225" y="324"/>
                  </a:cubicBezTo>
                  <a:cubicBezTo>
                    <a:pt x="225" y="324"/>
                    <a:pt x="224" y="324"/>
                    <a:pt x="224" y="324"/>
                  </a:cubicBezTo>
                  <a:cubicBezTo>
                    <a:pt x="224" y="324"/>
                    <a:pt x="224" y="324"/>
                    <a:pt x="224" y="324"/>
                  </a:cubicBezTo>
                  <a:cubicBezTo>
                    <a:pt x="223" y="324"/>
                    <a:pt x="221" y="324"/>
                    <a:pt x="220" y="324"/>
                  </a:cubicBezTo>
                  <a:cubicBezTo>
                    <a:pt x="220" y="324"/>
                    <a:pt x="220" y="324"/>
                    <a:pt x="220" y="324"/>
                  </a:cubicBezTo>
                  <a:cubicBezTo>
                    <a:pt x="220" y="324"/>
                    <a:pt x="219" y="324"/>
                    <a:pt x="218" y="324"/>
                  </a:cubicBezTo>
                  <a:cubicBezTo>
                    <a:pt x="218" y="324"/>
                    <a:pt x="218" y="324"/>
                    <a:pt x="218" y="324"/>
                  </a:cubicBezTo>
                  <a:cubicBezTo>
                    <a:pt x="217" y="325"/>
                    <a:pt x="216" y="325"/>
                    <a:pt x="215" y="325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4" y="325"/>
                    <a:pt x="214" y="325"/>
                    <a:pt x="213" y="325"/>
                  </a:cubicBezTo>
                  <a:cubicBezTo>
                    <a:pt x="213" y="325"/>
                    <a:pt x="213" y="325"/>
                    <a:pt x="213" y="325"/>
                  </a:cubicBezTo>
                  <a:cubicBezTo>
                    <a:pt x="212" y="325"/>
                    <a:pt x="211" y="325"/>
                    <a:pt x="211" y="325"/>
                  </a:cubicBezTo>
                  <a:cubicBezTo>
                    <a:pt x="211" y="325"/>
                    <a:pt x="211" y="325"/>
                    <a:pt x="211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4"/>
                    <a:pt x="209" y="323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1"/>
                    <a:pt x="210" y="321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19"/>
                    <a:pt x="210" y="319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3" y="316"/>
                    <a:pt x="213" y="316"/>
                  </a:cubicBezTo>
                  <a:cubicBezTo>
                    <a:pt x="213" y="316"/>
                    <a:pt x="213" y="316"/>
                    <a:pt x="213" y="316"/>
                  </a:cubicBezTo>
                  <a:cubicBezTo>
                    <a:pt x="213" y="316"/>
                    <a:pt x="214" y="316"/>
                    <a:pt x="214" y="316"/>
                  </a:cubicBezTo>
                  <a:cubicBezTo>
                    <a:pt x="214" y="316"/>
                    <a:pt x="214" y="316"/>
                    <a:pt x="214" y="316"/>
                  </a:cubicBezTo>
                  <a:cubicBezTo>
                    <a:pt x="215" y="316"/>
                    <a:pt x="215" y="316"/>
                    <a:pt x="216" y="315"/>
                  </a:cubicBezTo>
                  <a:cubicBezTo>
                    <a:pt x="216" y="315"/>
                    <a:pt x="216" y="315"/>
                    <a:pt x="216" y="315"/>
                  </a:cubicBezTo>
                  <a:cubicBezTo>
                    <a:pt x="217" y="315"/>
                    <a:pt x="218" y="315"/>
                    <a:pt x="218" y="315"/>
                  </a:cubicBezTo>
                  <a:cubicBezTo>
                    <a:pt x="218" y="315"/>
                    <a:pt x="218" y="315"/>
                    <a:pt x="218" y="315"/>
                  </a:cubicBezTo>
                  <a:cubicBezTo>
                    <a:pt x="219" y="315"/>
                    <a:pt x="220" y="314"/>
                    <a:pt x="220" y="313"/>
                  </a:cubicBezTo>
                  <a:cubicBezTo>
                    <a:pt x="220" y="313"/>
                    <a:pt x="220" y="313"/>
                    <a:pt x="220" y="313"/>
                  </a:cubicBezTo>
                  <a:cubicBezTo>
                    <a:pt x="221" y="313"/>
                    <a:pt x="221" y="313"/>
                    <a:pt x="221" y="312"/>
                  </a:cubicBezTo>
                  <a:cubicBezTo>
                    <a:pt x="221" y="312"/>
                    <a:pt x="221" y="312"/>
                    <a:pt x="221" y="312"/>
                  </a:cubicBezTo>
                  <a:cubicBezTo>
                    <a:pt x="223" y="312"/>
                    <a:pt x="224" y="312"/>
                    <a:pt x="225" y="311"/>
                  </a:cubicBezTo>
                  <a:cubicBezTo>
                    <a:pt x="225" y="311"/>
                    <a:pt x="225" y="311"/>
                    <a:pt x="225" y="311"/>
                  </a:cubicBezTo>
                  <a:cubicBezTo>
                    <a:pt x="225" y="311"/>
                    <a:pt x="225" y="311"/>
                    <a:pt x="225" y="310"/>
                  </a:cubicBezTo>
                  <a:cubicBezTo>
                    <a:pt x="225" y="310"/>
                    <a:pt x="225" y="310"/>
                    <a:pt x="225" y="310"/>
                  </a:cubicBezTo>
                  <a:cubicBezTo>
                    <a:pt x="227" y="310"/>
                    <a:pt x="228" y="309"/>
                    <a:pt x="229" y="309"/>
                  </a:cubicBezTo>
                  <a:cubicBezTo>
                    <a:pt x="229" y="309"/>
                    <a:pt x="229" y="309"/>
                    <a:pt x="229" y="309"/>
                  </a:cubicBezTo>
                  <a:cubicBezTo>
                    <a:pt x="229" y="308"/>
                    <a:pt x="229" y="307"/>
                    <a:pt x="229" y="307"/>
                  </a:cubicBezTo>
                  <a:cubicBezTo>
                    <a:pt x="229" y="307"/>
                    <a:pt x="229" y="307"/>
                    <a:pt x="229" y="307"/>
                  </a:cubicBezTo>
                  <a:cubicBezTo>
                    <a:pt x="229" y="306"/>
                    <a:pt x="229" y="306"/>
                    <a:pt x="230" y="305"/>
                  </a:cubicBezTo>
                  <a:cubicBezTo>
                    <a:pt x="230" y="305"/>
                    <a:pt x="230" y="305"/>
                    <a:pt x="230" y="305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09" y="302"/>
                    <a:pt x="208" y="302"/>
                    <a:pt x="208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6" y="302"/>
                    <a:pt x="206" y="302"/>
                    <a:pt x="206" y="301"/>
                  </a:cubicBezTo>
                  <a:cubicBezTo>
                    <a:pt x="206" y="301"/>
                    <a:pt x="206" y="301"/>
                    <a:pt x="206" y="301"/>
                  </a:cubicBezTo>
                  <a:cubicBezTo>
                    <a:pt x="206" y="301"/>
                    <a:pt x="206" y="300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8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6"/>
                    <a:pt x="206" y="295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207" y="294"/>
                    <a:pt x="208" y="292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1" y="292"/>
                    <a:pt x="200" y="293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8" y="295"/>
                    <a:pt x="197" y="296"/>
                    <a:pt x="195" y="297"/>
                  </a:cubicBezTo>
                  <a:cubicBezTo>
                    <a:pt x="195" y="297"/>
                    <a:pt x="195" y="297"/>
                    <a:pt x="195" y="297"/>
                  </a:cubicBezTo>
                  <a:cubicBezTo>
                    <a:pt x="194" y="299"/>
                    <a:pt x="194" y="300"/>
                    <a:pt x="193" y="301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92" y="304"/>
                    <a:pt x="192" y="307"/>
                    <a:pt x="191" y="310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1" y="312"/>
                    <a:pt x="190" y="315"/>
                    <a:pt x="190" y="317"/>
                  </a:cubicBezTo>
                  <a:cubicBezTo>
                    <a:pt x="190" y="317"/>
                    <a:pt x="190" y="317"/>
                    <a:pt x="190" y="317"/>
                  </a:cubicBezTo>
                  <a:cubicBezTo>
                    <a:pt x="189" y="320"/>
                    <a:pt x="189" y="322"/>
                    <a:pt x="189" y="324"/>
                  </a:cubicBezTo>
                  <a:cubicBezTo>
                    <a:pt x="189" y="324"/>
                    <a:pt x="189" y="324"/>
                    <a:pt x="189" y="324"/>
                  </a:cubicBezTo>
                  <a:cubicBezTo>
                    <a:pt x="189" y="327"/>
                    <a:pt x="189" y="330"/>
                    <a:pt x="190" y="332"/>
                  </a:cubicBezTo>
                  <a:cubicBezTo>
                    <a:pt x="190" y="332"/>
                    <a:pt x="190" y="332"/>
                    <a:pt x="190" y="332"/>
                  </a:cubicBezTo>
                  <a:cubicBezTo>
                    <a:pt x="190" y="335"/>
                    <a:pt x="190" y="337"/>
                    <a:pt x="190" y="339"/>
                  </a:cubicBezTo>
                  <a:cubicBezTo>
                    <a:pt x="190" y="339"/>
                    <a:pt x="190" y="339"/>
                    <a:pt x="190" y="339"/>
                  </a:cubicBezTo>
                  <a:cubicBezTo>
                    <a:pt x="191" y="342"/>
                    <a:pt x="192" y="344"/>
                    <a:pt x="193" y="346"/>
                  </a:cubicBezTo>
                  <a:cubicBezTo>
                    <a:pt x="193" y="346"/>
                    <a:pt x="193" y="346"/>
                    <a:pt x="193" y="346"/>
                  </a:cubicBezTo>
                  <a:cubicBezTo>
                    <a:pt x="194" y="349"/>
                    <a:pt x="194" y="351"/>
                    <a:pt x="195" y="353"/>
                  </a:cubicBezTo>
                  <a:cubicBezTo>
                    <a:pt x="195" y="353"/>
                    <a:pt x="195" y="353"/>
                    <a:pt x="195" y="353"/>
                  </a:cubicBezTo>
                  <a:cubicBezTo>
                    <a:pt x="200" y="359"/>
                    <a:pt x="200" y="359"/>
                    <a:pt x="200" y="359"/>
                  </a:cubicBezTo>
                  <a:close/>
                  <a:moveTo>
                    <a:pt x="634" y="347"/>
                  </a:moveTo>
                  <a:cubicBezTo>
                    <a:pt x="633" y="347"/>
                    <a:pt x="633" y="347"/>
                    <a:pt x="633" y="347"/>
                  </a:cubicBezTo>
                  <a:cubicBezTo>
                    <a:pt x="633" y="347"/>
                    <a:pt x="633" y="347"/>
                    <a:pt x="633" y="347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5" y="347"/>
                    <a:pt x="635" y="347"/>
                    <a:pt x="635" y="347"/>
                  </a:cubicBezTo>
                  <a:lnTo>
                    <a:pt x="634" y="347"/>
                  </a:lnTo>
                  <a:close/>
                  <a:moveTo>
                    <a:pt x="137" y="267"/>
                  </a:moveTo>
                  <a:cubicBezTo>
                    <a:pt x="181" y="255"/>
                    <a:pt x="181" y="255"/>
                    <a:pt x="181" y="255"/>
                  </a:cubicBezTo>
                  <a:cubicBezTo>
                    <a:pt x="181" y="255"/>
                    <a:pt x="181" y="255"/>
                    <a:pt x="181" y="255"/>
                  </a:cubicBezTo>
                  <a:cubicBezTo>
                    <a:pt x="186" y="253"/>
                    <a:pt x="191" y="251"/>
                    <a:pt x="196" y="250"/>
                  </a:cubicBezTo>
                  <a:cubicBezTo>
                    <a:pt x="196" y="250"/>
                    <a:pt x="196" y="250"/>
                    <a:pt x="196" y="250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4" y="256"/>
                    <a:pt x="133" y="258"/>
                    <a:pt x="132" y="260"/>
                  </a:cubicBezTo>
                  <a:cubicBezTo>
                    <a:pt x="132" y="260"/>
                    <a:pt x="132" y="260"/>
                    <a:pt x="132" y="260"/>
                  </a:cubicBezTo>
                  <a:cubicBezTo>
                    <a:pt x="132" y="262"/>
                    <a:pt x="131" y="263"/>
                    <a:pt x="131" y="265"/>
                  </a:cubicBezTo>
                  <a:cubicBezTo>
                    <a:pt x="131" y="265"/>
                    <a:pt x="131" y="265"/>
                    <a:pt x="131" y="265"/>
                  </a:cubicBezTo>
                  <a:cubicBezTo>
                    <a:pt x="133" y="265"/>
                    <a:pt x="135" y="266"/>
                    <a:pt x="137" y="267"/>
                  </a:cubicBezTo>
                  <a:close/>
                  <a:moveTo>
                    <a:pt x="576" y="207"/>
                  </a:moveTo>
                  <a:cubicBezTo>
                    <a:pt x="581" y="167"/>
                    <a:pt x="581" y="167"/>
                    <a:pt x="581" y="167"/>
                  </a:cubicBezTo>
                  <a:cubicBezTo>
                    <a:pt x="581" y="167"/>
                    <a:pt x="581" y="167"/>
                    <a:pt x="581" y="167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6" y="207"/>
                    <a:pt x="576" y="207"/>
                    <a:pt x="576" y="207"/>
                  </a:cubicBezTo>
                  <a:close/>
                  <a:moveTo>
                    <a:pt x="1844" y="194"/>
                  </a:moveTo>
                  <a:cubicBezTo>
                    <a:pt x="1845" y="193"/>
                    <a:pt x="1845" y="193"/>
                    <a:pt x="1845" y="193"/>
                  </a:cubicBezTo>
                  <a:cubicBezTo>
                    <a:pt x="1845" y="193"/>
                    <a:pt x="1845" y="193"/>
                    <a:pt x="1845" y="193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2" y="194"/>
                    <a:pt x="1842" y="194"/>
                    <a:pt x="1842" y="194"/>
                  </a:cubicBezTo>
                  <a:lnTo>
                    <a:pt x="1844" y="194"/>
                  </a:lnTo>
                  <a:close/>
                  <a:moveTo>
                    <a:pt x="1916" y="194"/>
                  </a:moveTo>
                  <a:cubicBezTo>
                    <a:pt x="1918" y="191"/>
                    <a:pt x="1918" y="191"/>
                    <a:pt x="1918" y="191"/>
                  </a:cubicBezTo>
                  <a:cubicBezTo>
                    <a:pt x="1918" y="191"/>
                    <a:pt x="1918" y="191"/>
                    <a:pt x="1918" y="191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4" y="194"/>
                    <a:pt x="1914" y="194"/>
                    <a:pt x="1914" y="194"/>
                  </a:cubicBezTo>
                  <a:lnTo>
                    <a:pt x="1916" y="194"/>
                  </a:lnTo>
                  <a:close/>
                  <a:moveTo>
                    <a:pt x="1879" y="168"/>
                  </a:moveTo>
                  <a:cubicBezTo>
                    <a:pt x="1881" y="168"/>
                    <a:pt x="1881" y="168"/>
                    <a:pt x="1881" y="168"/>
                  </a:cubicBezTo>
                  <a:cubicBezTo>
                    <a:pt x="1881" y="168"/>
                    <a:pt x="1881" y="168"/>
                    <a:pt x="1881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7" y="168"/>
                    <a:pt x="1877" y="168"/>
                    <a:pt x="1877" y="168"/>
                  </a:cubicBezTo>
                  <a:lnTo>
                    <a:pt x="1879" y="168"/>
                  </a:lnTo>
                  <a:close/>
                  <a:moveTo>
                    <a:pt x="583" y="131"/>
                  </a:moveTo>
                  <a:cubicBezTo>
                    <a:pt x="583" y="130"/>
                    <a:pt x="583" y="130"/>
                    <a:pt x="583" y="130"/>
                  </a:cubicBezTo>
                  <a:cubicBezTo>
                    <a:pt x="583" y="130"/>
                    <a:pt x="583" y="130"/>
                    <a:pt x="583" y="130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4" y="131"/>
                    <a:pt x="584" y="131"/>
                    <a:pt x="584" y="131"/>
                  </a:cubicBezTo>
                  <a:lnTo>
                    <a:pt x="583" y="131"/>
                  </a:lnTo>
                  <a:close/>
                  <a:moveTo>
                    <a:pt x="1853" y="121"/>
                  </a:moveTo>
                  <a:cubicBezTo>
                    <a:pt x="1854" y="121"/>
                    <a:pt x="1854" y="121"/>
                    <a:pt x="1854" y="121"/>
                  </a:cubicBezTo>
                  <a:lnTo>
                    <a:pt x="1853" y="121"/>
                  </a:lnTo>
                  <a:close/>
                  <a:moveTo>
                    <a:pt x="196" y="69"/>
                  </a:moveTo>
                  <a:cubicBezTo>
                    <a:pt x="202" y="68"/>
                    <a:pt x="202" y="68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8"/>
                    <a:pt x="196" y="68"/>
                    <a:pt x="196" y="68"/>
                  </a:cubicBezTo>
                  <a:cubicBezTo>
                    <a:pt x="196" y="68"/>
                    <a:pt x="196" y="68"/>
                    <a:pt x="196" y="68"/>
                  </a:cubicBezTo>
                  <a:lnTo>
                    <a:pt x="196" y="69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ṧlíḓê">
              <a:extLst>
                <a:ext uri="{FF2B5EF4-FFF2-40B4-BE49-F238E27FC236}">
                  <a16:creationId xmlns:a16="http://schemas.microsoft.com/office/drawing/2014/main" id="{FA779901-ACB9-4AEC-87DF-6F154BECF387}"/>
                </a:ext>
              </a:extLst>
            </p:cNvPr>
            <p:cNvSpPr/>
            <p:nvPr userDrawn="1"/>
          </p:nvSpPr>
          <p:spPr bwMode="auto">
            <a:xfrm>
              <a:off x="4816081" y="4076932"/>
              <a:ext cx="4728471" cy="131499"/>
            </a:xfrm>
            <a:custGeom>
              <a:avLst/>
              <a:gdLst>
                <a:gd name="T0" fmla="*/ 28 w 2078"/>
                <a:gd name="T1" fmla="*/ 9 h 58"/>
                <a:gd name="T2" fmla="*/ 38 w 2078"/>
                <a:gd name="T3" fmla="*/ 57 h 58"/>
                <a:gd name="T4" fmla="*/ 111 w 2078"/>
                <a:gd name="T5" fmla="*/ 2 h 58"/>
                <a:gd name="T6" fmla="*/ 87 w 2078"/>
                <a:gd name="T7" fmla="*/ 2 h 58"/>
                <a:gd name="T8" fmla="*/ 111 w 2078"/>
                <a:gd name="T9" fmla="*/ 2 h 58"/>
                <a:gd name="T10" fmla="*/ 176 w 2078"/>
                <a:gd name="T11" fmla="*/ 2 h 58"/>
                <a:gd name="T12" fmla="*/ 169 w 2078"/>
                <a:gd name="T13" fmla="*/ 12 h 58"/>
                <a:gd name="T14" fmla="*/ 253 w 2078"/>
                <a:gd name="T15" fmla="*/ 45 h 58"/>
                <a:gd name="T16" fmla="*/ 226 w 2078"/>
                <a:gd name="T17" fmla="*/ 11 h 58"/>
                <a:gd name="T18" fmla="*/ 324 w 2078"/>
                <a:gd name="T19" fmla="*/ 48 h 58"/>
                <a:gd name="T20" fmla="*/ 311 w 2078"/>
                <a:gd name="T21" fmla="*/ 0 h 58"/>
                <a:gd name="T22" fmla="*/ 314 w 2078"/>
                <a:gd name="T23" fmla="*/ 27 h 58"/>
                <a:gd name="T24" fmla="*/ 395 w 2078"/>
                <a:gd name="T25" fmla="*/ 48 h 58"/>
                <a:gd name="T26" fmla="*/ 396 w 2078"/>
                <a:gd name="T27" fmla="*/ 2 h 58"/>
                <a:gd name="T28" fmla="*/ 443 w 2078"/>
                <a:gd name="T29" fmla="*/ 30 h 58"/>
                <a:gd name="T30" fmla="*/ 470 w 2078"/>
                <a:gd name="T31" fmla="*/ 9 h 58"/>
                <a:gd name="T32" fmla="*/ 535 w 2078"/>
                <a:gd name="T33" fmla="*/ 2 h 58"/>
                <a:gd name="T34" fmla="*/ 550 w 2078"/>
                <a:gd name="T35" fmla="*/ 57 h 58"/>
                <a:gd name="T36" fmla="*/ 600 w 2078"/>
                <a:gd name="T37" fmla="*/ 30 h 58"/>
                <a:gd name="T38" fmla="*/ 614 w 2078"/>
                <a:gd name="T39" fmla="*/ 58 h 58"/>
                <a:gd name="T40" fmla="*/ 627 w 2078"/>
                <a:gd name="T41" fmla="*/ 37 h 58"/>
                <a:gd name="T42" fmla="*/ 692 w 2078"/>
                <a:gd name="T43" fmla="*/ 32 h 58"/>
                <a:gd name="T44" fmla="*/ 728 w 2078"/>
                <a:gd name="T45" fmla="*/ 2 h 58"/>
                <a:gd name="T46" fmla="*/ 790 w 2078"/>
                <a:gd name="T47" fmla="*/ 45 h 58"/>
                <a:gd name="T48" fmla="*/ 763 w 2078"/>
                <a:gd name="T49" fmla="*/ 11 h 58"/>
                <a:gd name="T50" fmla="*/ 836 w 2078"/>
                <a:gd name="T51" fmla="*/ 57 h 58"/>
                <a:gd name="T52" fmla="*/ 882 w 2078"/>
                <a:gd name="T53" fmla="*/ 45 h 58"/>
                <a:gd name="T54" fmla="*/ 964 w 2078"/>
                <a:gd name="T55" fmla="*/ 57 h 58"/>
                <a:gd name="T56" fmla="*/ 939 w 2078"/>
                <a:gd name="T57" fmla="*/ 24 h 58"/>
                <a:gd name="T58" fmla="*/ 998 w 2078"/>
                <a:gd name="T59" fmla="*/ 11 h 58"/>
                <a:gd name="T60" fmla="*/ 998 w 2078"/>
                <a:gd name="T61" fmla="*/ 35 h 58"/>
                <a:gd name="T62" fmla="*/ 1027 w 2078"/>
                <a:gd name="T63" fmla="*/ 42 h 58"/>
                <a:gd name="T64" fmla="*/ 987 w 2078"/>
                <a:gd name="T65" fmla="*/ 57 h 58"/>
                <a:gd name="T66" fmla="*/ 1068 w 2078"/>
                <a:gd name="T67" fmla="*/ 34 h 58"/>
                <a:gd name="T68" fmla="*/ 1070 w 2078"/>
                <a:gd name="T69" fmla="*/ 58 h 58"/>
                <a:gd name="T70" fmla="*/ 1080 w 2078"/>
                <a:gd name="T71" fmla="*/ 18 h 58"/>
                <a:gd name="T72" fmla="*/ 1127 w 2078"/>
                <a:gd name="T73" fmla="*/ 2 h 58"/>
                <a:gd name="T74" fmla="*/ 1190 w 2078"/>
                <a:gd name="T75" fmla="*/ 11 h 58"/>
                <a:gd name="T76" fmla="*/ 1236 w 2078"/>
                <a:gd name="T77" fmla="*/ 39 h 58"/>
                <a:gd name="T78" fmla="*/ 1224 w 2078"/>
                <a:gd name="T79" fmla="*/ 39 h 58"/>
                <a:gd name="T80" fmla="*/ 1315 w 2078"/>
                <a:gd name="T81" fmla="*/ 58 h 58"/>
                <a:gd name="T82" fmla="*/ 1375 w 2078"/>
                <a:gd name="T83" fmla="*/ 57 h 58"/>
                <a:gd name="T84" fmla="*/ 1399 w 2078"/>
                <a:gd name="T85" fmla="*/ 11 h 58"/>
                <a:gd name="T86" fmla="*/ 1448 w 2078"/>
                <a:gd name="T87" fmla="*/ 11 h 58"/>
                <a:gd name="T88" fmla="*/ 1431 w 2078"/>
                <a:gd name="T89" fmla="*/ 2 h 58"/>
                <a:gd name="T90" fmla="*/ 1507 w 2078"/>
                <a:gd name="T91" fmla="*/ 33 h 58"/>
                <a:gd name="T92" fmla="*/ 1531 w 2078"/>
                <a:gd name="T93" fmla="*/ 2 h 58"/>
                <a:gd name="T94" fmla="*/ 1576 w 2078"/>
                <a:gd name="T95" fmla="*/ 58 h 58"/>
                <a:gd name="T96" fmla="*/ 1586 w 2078"/>
                <a:gd name="T97" fmla="*/ 20 h 58"/>
                <a:gd name="T98" fmla="*/ 1664 w 2078"/>
                <a:gd name="T99" fmla="*/ 57 h 58"/>
                <a:gd name="T100" fmla="*/ 1620 w 2078"/>
                <a:gd name="T101" fmla="*/ 2 h 58"/>
                <a:gd name="T102" fmla="*/ 1726 w 2078"/>
                <a:gd name="T103" fmla="*/ 45 h 58"/>
                <a:gd name="T104" fmla="*/ 1698 w 2078"/>
                <a:gd name="T105" fmla="*/ 11 h 58"/>
                <a:gd name="T106" fmla="*/ 1784 w 2078"/>
                <a:gd name="T107" fmla="*/ 0 h 58"/>
                <a:gd name="T108" fmla="*/ 1771 w 2078"/>
                <a:gd name="T109" fmla="*/ 30 h 58"/>
                <a:gd name="T110" fmla="*/ 1833 w 2078"/>
                <a:gd name="T111" fmla="*/ 2 h 58"/>
                <a:gd name="T112" fmla="*/ 1886 w 2078"/>
                <a:gd name="T113" fmla="*/ 30 h 58"/>
                <a:gd name="T114" fmla="*/ 1913 w 2078"/>
                <a:gd name="T115" fmla="*/ 9 h 58"/>
                <a:gd name="T116" fmla="*/ 1986 w 2078"/>
                <a:gd name="T117" fmla="*/ 9 h 58"/>
                <a:gd name="T118" fmla="*/ 1997 w 2078"/>
                <a:gd name="T119" fmla="*/ 57 h 58"/>
                <a:gd name="T120" fmla="*/ 2048 w 2078"/>
                <a:gd name="T121" fmla="*/ 57 h 58"/>
                <a:gd name="T122" fmla="*/ 2043 w 2078"/>
                <a:gd name="T123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78" h="58">
                  <a:moveTo>
                    <a:pt x="38" y="37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8" y="48"/>
                  </a:cubicBezTo>
                  <a:cubicBezTo>
                    <a:pt x="34" y="49"/>
                    <a:pt x="30" y="50"/>
                    <a:pt x="28" y="50"/>
                  </a:cubicBezTo>
                  <a:cubicBezTo>
                    <a:pt x="18" y="49"/>
                    <a:pt x="12" y="43"/>
                    <a:pt x="12" y="30"/>
                  </a:cubicBezTo>
                  <a:cubicBezTo>
                    <a:pt x="12" y="16"/>
                    <a:pt x="18" y="9"/>
                    <a:pt x="28" y="9"/>
                  </a:cubicBezTo>
                  <a:cubicBezTo>
                    <a:pt x="35" y="9"/>
                    <a:pt x="38" y="12"/>
                    <a:pt x="3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6"/>
                    <a:pt x="43" y="0"/>
                    <a:pt x="25" y="0"/>
                  </a:cubicBezTo>
                  <a:cubicBezTo>
                    <a:pt x="9" y="2"/>
                    <a:pt x="0" y="11"/>
                    <a:pt x="0" y="30"/>
                  </a:cubicBezTo>
                  <a:cubicBezTo>
                    <a:pt x="0" y="47"/>
                    <a:pt x="9" y="57"/>
                    <a:pt x="25" y="58"/>
                  </a:cubicBezTo>
                  <a:cubicBezTo>
                    <a:pt x="31" y="58"/>
                    <a:pt x="35" y="58"/>
                    <a:pt x="38" y="57"/>
                  </a:cubicBezTo>
                  <a:cubicBezTo>
                    <a:pt x="42" y="57"/>
                    <a:pt x="46" y="57"/>
                    <a:pt x="50" y="5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111" y="2"/>
                  </a:moveTo>
                  <a:cubicBezTo>
                    <a:pt x="111" y="32"/>
                    <a:pt x="111" y="32"/>
                    <a:pt x="111" y="32"/>
                  </a:cubicBezTo>
                  <a:cubicBezTo>
                    <a:pt x="111" y="39"/>
                    <a:pt x="110" y="43"/>
                    <a:pt x="108" y="45"/>
                  </a:cubicBezTo>
                  <a:cubicBezTo>
                    <a:pt x="107" y="48"/>
                    <a:pt x="103" y="50"/>
                    <a:pt x="99" y="50"/>
                  </a:cubicBezTo>
                  <a:cubicBezTo>
                    <a:pt x="94" y="50"/>
                    <a:pt x="91" y="48"/>
                    <a:pt x="89" y="45"/>
                  </a:cubicBezTo>
                  <a:cubicBezTo>
                    <a:pt x="87" y="43"/>
                    <a:pt x="87" y="39"/>
                    <a:pt x="87" y="3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50"/>
                    <a:pt x="83" y="57"/>
                    <a:pt x="99" y="58"/>
                  </a:cubicBezTo>
                  <a:cubicBezTo>
                    <a:pt x="114" y="57"/>
                    <a:pt x="122" y="50"/>
                    <a:pt x="123" y="36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11" y="2"/>
                    <a:pt x="111" y="2"/>
                    <a:pt x="111" y="2"/>
                  </a:cubicBezTo>
                  <a:close/>
                  <a:moveTo>
                    <a:pt x="154" y="57"/>
                  </a:moveTo>
                  <a:cubicBezTo>
                    <a:pt x="158" y="45"/>
                    <a:pt x="158" y="45"/>
                    <a:pt x="158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96" y="57"/>
                    <a:pt x="196" y="57"/>
                    <a:pt x="196" y="57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43" y="57"/>
                    <a:pt x="143" y="57"/>
                    <a:pt x="143" y="57"/>
                  </a:cubicBezTo>
                  <a:cubicBezTo>
                    <a:pt x="154" y="57"/>
                    <a:pt x="154" y="57"/>
                    <a:pt x="154" y="57"/>
                  </a:cubicBezTo>
                  <a:close/>
                  <a:moveTo>
                    <a:pt x="161" y="36"/>
                  </a:moveTo>
                  <a:cubicBezTo>
                    <a:pt x="169" y="12"/>
                    <a:pt x="169" y="12"/>
                    <a:pt x="169" y="12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77" y="36"/>
                    <a:pt x="177" y="36"/>
                    <a:pt x="177" y="36"/>
                  </a:cubicBezTo>
                  <a:cubicBezTo>
                    <a:pt x="161" y="36"/>
                    <a:pt x="161" y="36"/>
                    <a:pt x="161" y="36"/>
                  </a:cubicBezTo>
                  <a:close/>
                  <a:moveTo>
                    <a:pt x="264" y="57"/>
                  </a:moveTo>
                  <a:cubicBezTo>
                    <a:pt x="264" y="2"/>
                    <a:pt x="264" y="2"/>
                    <a:pt x="264" y="2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32" y="2"/>
                    <a:pt x="232" y="2"/>
                    <a:pt x="232" y="2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226" y="57"/>
                    <a:pt x="226" y="57"/>
                    <a:pt x="226" y="57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48" y="57"/>
                    <a:pt x="248" y="57"/>
                    <a:pt x="248" y="57"/>
                  </a:cubicBezTo>
                  <a:cubicBezTo>
                    <a:pt x="264" y="57"/>
                    <a:pt x="264" y="57"/>
                    <a:pt x="264" y="57"/>
                  </a:cubicBezTo>
                  <a:close/>
                  <a:moveTo>
                    <a:pt x="324" y="37"/>
                  </a:moveTo>
                  <a:cubicBezTo>
                    <a:pt x="324" y="48"/>
                    <a:pt x="324" y="48"/>
                    <a:pt x="324" y="48"/>
                  </a:cubicBezTo>
                  <a:cubicBezTo>
                    <a:pt x="324" y="49"/>
                    <a:pt x="323" y="49"/>
                    <a:pt x="324" y="48"/>
                  </a:cubicBezTo>
                  <a:cubicBezTo>
                    <a:pt x="320" y="49"/>
                    <a:pt x="316" y="50"/>
                    <a:pt x="313" y="50"/>
                  </a:cubicBezTo>
                  <a:cubicBezTo>
                    <a:pt x="303" y="49"/>
                    <a:pt x="298" y="43"/>
                    <a:pt x="298" y="30"/>
                  </a:cubicBezTo>
                  <a:cubicBezTo>
                    <a:pt x="298" y="16"/>
                    <a:pt x="303" y="9"/>
                    <a:pt x="313" y="9"/>
                  </a:cubicBezTo>
                  <a:cubicBezTo>
                    <a:pt x="321" y="9"/>
                    <a:pt x="324" y="12"/>
                    <a:pt x="324" y="18"/>
                  </a:cubicBezTo>
                  <a:cubicBezTo>
                    <a:pt x="337" y="18"/>
                    <a:pt x="337" y="18"/>
                    <a:pt x="337" y="18"/>
                  </a:cubicBezTo>
                  <a:cubicBezTo>
                    <a:pt x="337" y="6"/>
                    <a:pt x="328" y="0"/>
                    <a:pt x="311" y="0"/>
                  </a:cubicBezTo>
                  <a:cubicBezTo>
                    <a:pt x="294" y="2"/>
                    <a:pt x="286" y="11"/>
                    <a:pt x="286" y="30"/>
                  </a:cubicBezTo>
                  <a:cubicBezTo>
                    <a:pt x="286" y="47"/>
                    <a:pt x="294" y="57"/>
                    <a:pt x="311" y="58"/>
                  </a:cubicBezTo>
                  <a:cubicBezTo>
                    <a:pt x="316" y="58"/>
                    <a:pt x="320" y="58"/>
                    <a:pt x="324" y="57"/>
                  </a:cubicBezTo>
                  <a:cubicBezTo>
                    <a:pt x="328" y="57"/>
                    <a:pt x="332" y="57"/>
                    <a:pt x="336" y="55"/>
                  </a:cubicBezTo>
                  <a:cubicBezTo>
                    <a:pt x="336" y="27"/>
                    <a:pt x="336" y="27"/>
                    <a:pt x="336" y="27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24" y="37"/>
                    <a:pt x="324" y="37"/>
                    <a:pt x="324" y="37"/>
                  </a:cubicBezTo>
                  <a:close/>
                  <a:moveTo>
                    <a:pt x="388" y="11"/>
                  </a:moveTo>
                  <a:cubicBezTo>
                    <a:pt x="395" y="11"/>
                    <a:pt x="395" y="11"/>
                    <a:pt x="395" y="11"/>
                  </a:cubicBezTo>
                  <a:cubicBezTo>
                    <a:pt x="405" y="11"/>
                    <a:pt x="411" y="17"/>
                    <a:pt x="411" y="30"/>
                  </a:cubicBezTo>
                  <a:cubicBezTo>
                    <a:pt x="411" y="42"/>
                    <a:pt x="405" y="48"/>
                    <a:pt x="395" y="48"/>
                  </a:cubicBezTo>
                  <a:cubicBezTo>
                    <a:pt x="388" y="48"/>
                    <a:pt x="388" y="48"/>
                    <a:pt x="388" y="48"/>
                  </a:cubicBezTo>
                  <a:cubicBezTo>
                    <a:pt x="388" y="11"/>
                    <a:pt x="388" y="11"/>
                    <a:pt x="388" y="11"/>
                  </a:cubicBezTo>
                  <a:close/>
                  <a:moveTo>
                    <a:pt x="377" y="57"/>
                  </a:moveTo>
                  <a:cubicBezTo>
                    <a:pt x="396" y="57"/>
                    <a:pt x="396" y="57"/>
                    <a:pt x="396" y="57"/>
                  </a:cubicBezTo>
                  <a:cubicBezTo>
                    <a:pt x="414" y="57"/>
                    <a:pt x="423" y="48"/>
                    <a:pt x="423" y="30"/>
                  </a:cubicBezTo>
                  <a:cubicBezTo>
                    <a:pt x="423" y="11"/>
                    <a:pt x="414" y="2"/>
                    <a:pt x="396" y="2"/>
                  </a:cubicBezTo>
                  <a:cubicBezTo>
                    <a:pt x="377" y="2"/>
                    <a:pt x="377" y="2"/>
                    <a:pt x="377" y="2"/>
                  </a:cubicBezTo>
                  <a:cubicBezTo>
                    <a:pt x="377" y="57"/>
                    <a:pt x="377" y="57"/>
                    <a:pt x="377" y="57"/>
                  </a:cubicBezTo>
                  <a:close/>
                  <a:moveTo>
                    <a:pt x="470" y="58"/>
                  </a:moveTo>
                  <a:cubicBezTo>
                    <a:pt x="486" y="57"/>
                    <a:pt x="495" y="48"/>
                    <a:pt x="495" y="30"/>
                  </a:cubicBezTo>
                  <a:cubicBezTo>
                    <a:pt x="495" y="11"/>
                    <a:pt x="486" y="1"/>
                    <a:pt x="470" y="0"/>
                  </a:cubicBezTo>
                  <a:cubicBezTo>
                    <a:pt x="453" y="1"/>
                    <a:pt x="444" y="11"/>
                    <a:pt x="443" y="30"/>
                  </a:cubicBezTo>
                  <a:cubicBezTo>
                    <a:pt x="444" y="48"/>
                    <a:pt x="452" y="57"/>
                    <a:pt x="470" y="58"/>
                  </a:cubicBezTo>
                  <a:close/>
                  <a:moveTo>
                    <a:pt x="470" y="9"/>
                  </a:moveTo>
                  <a:cubicBezTo>
                    <a:pt x="479" y="9"/>
                    <a:pt x="483" y="16"/>
                    <a:pt x="483" y="30"/>
                  </a:cubicBezTo>
                  <a:cubicBezTo>
                    <a:pt x="483" y="43"/>
                    <a:pt x="479" y="50"/>
                    <a:pt x="470" y="50"/>
                  </a:cubicBezTo>
                  <a:cubicBezTo>
                    <a:pt x="460" y="50"/>
                    <a:pt x="456" y="43"/>
                    <a:pt x="456" y="30"/>
                  </a:cubicBezTo>
                  <a:cubicBezTo>
                    <a:pt x="456" y="16"/>
                    <a:pt x="460" y="9"/>
                    <a:pt x="470" y="9"/>
                  </a:cubicBezTo>
                  <a:close/>
                  <a:moveTo>
                    <a:pt x="567" y="57"/>
                  </a:moveTo>
                  <a:cubicBezTo>
                    <a:pt x="567" y="2"/>
                    <a:pt x="567" y="2"/>
                    <a:pt x="567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528" y="57"/>
                    <a:pt x="528" y="57"/>
                    <a:pt x="528" y="57"/>
                  </a:cubicBezTo>
                  <a:cubicBezTo>
                    <a:pt x="528" y="11"/>
                    <a:pt x="528" y="11"/>
                    <a:pt x="528" y="11"/>
                  </a:cubicBezTo>
                  <a:cubicBezTo>
                    <a:pt x="529" y="11"/>
                    <a:pt x="529" y="11"/>
                    <a:pt x="529" y="11"/>
                  </a:cubicBezTo>
                  <a:cubicBezTo>
                    <a:pt x="550" y="57"/>
                    <a:pt x="550" y="57"/>
                    <a:pt x="550" y="57"/>
                  </a:cubicBezTo>
                  <a:cubicBezTo>
                    <a:pt x="567" y="57"/>
                    <a:pt x="567" y="57"/>
                    <a:pt x="567" y="57"/>
                  </a:cubicBezTo>
                  <a:close/>
                  <a:moveTo>
                    <a:pt x="627" y="37"/>
                  </a:moveTo>
                  <a:cubicBezTo>
                    <a:pt x="627" y="48"/>
                    <a:pt x="627" y="48"/>
                    <a:pt x="627" y="48"/>
                  </a:cubicBezTo>
                  <a:cubicBezTo>
                    <a:pt x="626" y="49"/>
                    <a:pt x="626" y="49"/>
                    <a:pt x="626" y="48"/>
                  </a:cubicBezTo>
                  <a:cubicBezTo>
                    <a:pt x="622" y="49"/>
                    <a:pt x="619" y="50"/>
                    <a:pt x="616" y="50"/>
                  </a:cubicBezTo>
                  <a:cubicBezTo>
                    <a:pt x="606" y="49"/>
                    <a:pt x="601" y="43"/>
                    <a:pt x="600" y="30"/>
                  </a:cubicBezTo>
                  <a:cubicBezTo>
                    <a:pt x="601" y="16"/>
                    <a:pt x="606" y="9"/>
                    <a:pt x="616" y="9"/>
                  </a:cubicBezTo>
                  <a:cubicBezTo>
                    <a:pt x="623" y="9"/>
                    <a:pt x="627" y="12"/>
                    <a:pt x="627" y="18"/>
                  </a:cubicBezTo>
                  <a:cubicBezTo>
                    <a:pt x="639" y="18"/>
                    <a:pt x="639" y="18"/>
                    <a:pt x="639" y="18"/>
                  </a:cubicBezTo>
                  <a:cubicBezTo>
                    <a:pt x="639" y="6"/>
                    <a:pt x="631" y="0"/>
                    <a:pt x="614" y="0"/>
                  </a:cubicBezTo>
                  <a:cubicBezTo>
                    <a:pt x="597" y="2"/>
                    <a:pt x="588" y="11"/>
                    <a:pt x="588" y="30"/>
                  </a:cubicBezTo>
                  <a:cubicBezTo>
                    <a:pt x="588" y="47"/>
                    <a:pt x="597" y="57"/>
                    <a:pt x="614" y="58"/>
                  </a:cubicBezTo>
                  <a:cubicBezTo>
                    <a:pt x="619" y="58"/>
                    <a:pt x="623" y="58"/>
                    <a:pt x="626" y="57"/>
                  </a:cubicBezTo>
                  <a:cubicBezTo>
                    <a:pt x="630" y="57"/>
                    <a:pt x="634" y="57"/>
                    <a:pt x="638" y="55"/>
                  </a:cubicBezTo>
                  <a:cubicBezTo>
                    <a:pt x="638" y="27"/>
                    <a:pt x="638" y="27"/>
                    <a:pt x="638" y="27"/>
                  </a:cubicBezTo>
                  <a:cubicBezTo>
                    <a:pt x="616" y="27"/>
                    <a:pt x="616" y="27"/>
                    <a:pt x="616" y="27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27" y="37"/>
                    <a:pt x="627" y="37"/>
                    <a:pt x="627" y="37"/>
                  </a:cubicBezTo>
                  <a:close/>
                  <a:moveTo>
                    <a:pt x="716" y="2"/>
                  </a:moveTo>
                  <a:cubicBezTo>
                    <a:pt x="716" y="32"/>
                    <a:pt x="716" y="32"/>
                    <a:pt x="716" y="32"/>
                  </a:cubicBezTo>
                  <a:cubicBezTo>
                    <a:pt x="716" y="39"/>
                    <a:pt x="715" y="43"/>
                    <a:pt x="713" y="45"/>
                  </a:cubicBezTo>
                  <a:cubicBezTo>
                    <a:pt x="712" y="48"/>
                    <a:pt x="708" y="50"/>
                    <a:pt x="704" y="50"/>
                  </a:cubicBezTo>
                  <a:cubicBezTo>
                    <a:pt x="699" y="50"/>
                    <a:pt x="696" y="48"/>
                    <a:pt x="694" y="45"/>
                  </a:cubicBezTo>
                  <a:cubicBezTo>
                    <a:pt x="692" y="43"/>
                    <a:pt x="692" y="39"/>
                    <a:pt x="692" y="32"/>
                  </a:cubicBezTo>
                  <a:cubicBezTo>
                    <a:pt x="692" y="2"/>
                    <a:pt x="692" y="2"/>
                    <a:pt x="692" y="2"/>
                  </a:cubicBezTo>
                  <a:cubicBezTo>
                    <a:pt x="680" y="2"/>
                    <a:pt x="680" y="2"/>
                    <a:pt x="680" y="2"/>
                  </a:cubicBezTo>
                  <a:cubicBezTo>
                    <a:pt x="680" y="36"/>
                    <a:pt x="680" y="36"/>
                    <a:pt x="680" y="36"/>
                  </a:cubicBezTo>
                  <a:cubicBezTo>
                    <a:pt x="680" y="50"/>
                    <a:pt x="688" y="57"/>
                    <a:pt x="704" y="58"/>
                  </a:cubicBezTo>
                  <a:cubicBezTo>
                    <a:pt x="719" y="57"/>
                    <a:pt x="727" y="50"/>
                    <a:pt x="728" y="36"/>
                  </a:cubicBezTo>
                  <a:cubicBezTo>
                    <a:pt x="728" y="2"/>
                    <a:pt x="728" y="2"/>
                    <a:pt x="728" y="2"/>
                  </a:cubicBezTo>
                  <a:cubicBezTo>
                    <a:pt x="716" y="2"/>
                    <a:pt x="716" y="2"/>
                    <a:pt x="716" y="2"/>
                  </a:cubicBezTo>
                  <a:close/>
                  <a:moveTo>
                    <a:pt x="801" y="57"/>
                  </a:moveTo>
                  <a:cubicBezTo>
                    <a:pt x="801" y="2"/>
                    <a:pt x="801" y="2"/>
                    <a:pt x="801" y="2"/>
                  </a:cubicBezTo>
                  <a:cubicBezTo>
                    <a:pt x="790" y="2"/>
                    <a:pt x="790" y="2"/>
                    <a:pt x="790" y="2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52" y="2"/>
                    <a:pt x="752" y="2"/>
                    <a:pt x="752" y="2"/>
                  </a:cubicBezTo>
                  <a:cubicBezTo>
                    <a:pt x="752" y="57"/>
                    <a:pt x="752" y="57"/>
                    <a:pt x="752" y="57"/>
                  </a:cubicBezTo>
                  <a:cubicBezTo>
                    <a:pt x="763" y="57"/>
                    <a:pt x="763" y="57"/>
                    <a:pt x="763" y="57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84" y="57"/>
                    <a:pt x="784" y="57"/>
                    <a:pt x="784" y="57"/>
                  </a:cubicBezTo>
                  <a:cubicBezTo>
                    <a:pt x="801" y="57"/>
                    <a:pt x="801" y="57"/>
                    <a:pt x="801" y="57"/>
                  </a:cubicBezTo>
                  <a:close/>
                  <a:moveTo>
                    <a:pt x="836" y="2"/>
                  </a:moveTo>
                  <a:cubicBezTo>
                    <a:pt x="824" y="2"/>
                    <a:pt x="824" y="2"/>
                    <a:pt x="824" y="2"/>
                  </a:cubicBezTo>
                  <a:cubicBezTo>
                    <a:pt x="824" y="57"/>
                    <a:pt x="824" y="57"/>
                    <a:pt x="824" y="57"/>
                  </a:cubicBezTo>
                  <a:cubicBezTo>
                    <a:pt x="836" y="57"/>
                    <a:pt x="836" y="57"/>
                    <a:pt x="836" y="57"/>
                  </a:cubicBezTo>
                  <a:cubicBezTo>
                    <a:pt x="836" y="2"/>
                    <a:pt x="836" y="2"/>
                    <a:pt x="836" y="2"/>
                  </a:cubicBezTo>
                  <a:close/>
                  <a:moveTo>
                    <a:pt x="875" y="57"/>
                  </a:moveTo>
                  <a:cubicBezTo>
                    <a:pt x="888" y="57"/>
                    <a:pt x="888" y="57"/>
                    <a:pt x="888" y="57"/>
                  </a:cubicBezTo>
                  <a:cubicBezTo>
                    <a:pt x="908" y="2"/>
                    <a:pt x="908" y="2"/>
                    <a:pt x="908" y="2"/>
                  </a:cubicBezTo>
                  <a:cubicBezTo>
                    <a:pt x="896" y="2"/>
                    <a:pt x="896" y="2"/>
                    <a:pt x="896" y="2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68" y="2"/>
                    <a:pt x="868" y="2"/>
                    <a:pt x="868" y="2"/>
                  </a:cubicBezTo>
                  <a:cubicBezTo>
                    <a:pt x="855" y="2"/>
                    <a:pt x="855" y="2"/>
                    <a:pt x="855" y="2"/>
                  </a:cubicBezTo>
                  <a:cubicBezTo>
                    <a:pt x="875" y="57"/>
                    <a:pt x="875" y="57"/>
                    <a:pt x="875" y="57"/>
                  </a:cubicBezTo>
                  <a:close/>
                  <a:moveTo>
                    <a:pt x="927" y="57"/>
                  </a:moveTo>
                  <a:cubicBezTo>
                    <a:pt x="964" y="57"/>
                    <a:pt x="964" y="57"/>
                    <a:pt x="964" y="57"/>
                  </a:cubicBezTo>
                  <a:cubicBezTo>
                    <a:pt x="964" y="48"/>
                    <a:pt x="964" y="48"/>
                    <a:pt x="964" y="48"/>
                  </a:cubicBezTo>
                  <a:cubicBezTo>
                    <a:pt x="939" y="48"/>
                    <a:pt x="939" y="48"/>
                    <a:pt x="939" y="48"/>
                  </a:cubicBezTo>
                  <a:cubicBezTo>
                    <a:pt x="939" y="33"/>
                    <a:pt x="939" y="33"/>
                    <a:pt x="939" y="33"/>
                  </a:cubicBezTo>
                  <a:cubicBezTo>
                    <a:pt x="962" y="33"/>
                    <a:pt x="962" y="33"/>
                    <a:pt x="962" y="33"/>
                  </a:cubicBezTo>
                  <a:cubicBezTo>
                    <a:pt x="962" y="24"/>
                    <a:pt x="962" y="24"/>
                    <a:pt x="962" y="24"/>
                  </a:cubicBezTo>
                  <a:cubicBezTo>
                    <a:pt x="939" y="24"/>
                    <a:pt x="939" y="24"/>
                    <a:pt x="939" y="24"/>
                  </a:cubicBezTo>
                  <a:cubicBezTo>
                    <a:pt x="939" y="11"/>
                    <a:pt x="939" y="11"/>
                    <a:pt x="939" y="11"/>
                  </a:cubicBezTo>
                  <a:cubicBezTo>
                    <a:pt x="963" y="11"/>
                    <a:pt x="963" y="11"/>
                    <a:pt x="963" y="11"/>
                  </a:cubicBezTo>
                  <a:cubicBezTo>
                    <a:pt x="963" y="2"/>
                    <a:pt x="963" y="2"/>
                    <a:pt x="963" y="2"/>
                  </a:cubicBezTo>
                  <a:cubicBezTo>
                    <a:pt x="927" y="2"/>
                    <a:pt x="927" y="2"/>
                    <a:pt x="927" y="2"/>
                  </a:cubicBezTo>
                  <a:cubicBezTo>
                    <a:pt x="927" y="57"/>
                    <a:pt x="927" y="57"/>
                    <a:pt x="927" y="57"/>
                  </a:cubicBezTo>
                  <a:close/>
                  <a:moveTo>
                    <a:pt x="998" y="11"/>
                  </a:moveTo>
                  <a:cubicBezTo>
                    <a:pt x="1008" y="11"/>
                    <a:pt x="1008" y="11"/>
                    <a:pt x="1008" y="11"/>
                  </a:cubicBezTo>
                  <a:cubicBezTo>
                    <a:pt x="1014" y="11"/>
                    <a:pt x="1016" y="13"/>
                    <a:pt x="1016" y="18"/>
                  </a:cubicBezTo>
                  <a:cubicBezTo>
                    <a:pt x="1016" y="23"/>
                    <a:pt x="1014" y="26"/>
                    <a:pt x="1008" y="26"/>
                  </a:cubicBezTo>
                  <a:cubicBezTo>
                    <a:pt x="998" y="26"/>
                    <a:pt x="998" y="26"/>
                    <a:pt x="998" y="26"/>
                  </a:cubicBezTo>
                  <a:cubicBezTo>
                    <a:pt x="998" y="11"/>
                    <a:pt x="998" y="11"/>
                    <a:pt x="998" y="11"/>
                  </a:cubicBezTo>
                  <a:close/>
                  <a:moveTo>
                    <a:pt x="998" y="35"/>
                  </a:moveTo>
                  <a:cubicBezTo>
                    <a:pt x="1011" y="35"/>
                    <a:pt x="1011" y="35"/>
                    <a:pt x="1011" y="35"/>
                  </a:cubicBezTo>
                  <a:cubicBezTo>
                    <a:pt x="1014" y="35"/>
                    <a:pt x="1015" y="37"/>
                    <a:pt x="1016" y="42"/>
                  </a:cubicBezTo>
                  <a:cubicBezTo>
                    <a:pt x="1016" y="47"/>
                    <a:pt x="1017" y="52"/>
                    <a:pt x="1018" y="57"/>
                  </a:cubicBezTo>
                  <a:cubicBezTo>
                    <a:pt x="1031" y="57"/>
                    <a:pt x="1031" y="57"/>
                    <a:pt x="1031" y="57"/>
                  </a:cubicBezTo>
                  <a:cubicBezTo>
                    <a:pt x="1029" y="55"/>
                    <a:pt x="1028" y="51"/>
                    <a:pt x="1028" y="44"/>
                  </a:cubicBezTo>
                  <a:cubicBezTo>
                    <a:pt x="1028" y="44"/>
                    <a:pt x="1028" y="43"/>
                    <a:pt x="1027" y="42"/>
                  </a:cubicBezTo>
                  <a:cubicBezTo>
                    <a:pt x="1027" y="34"/>
                    <a:pt x="1024" y="30"/>
                    <a:pt x="1018" y="30"/>
                  </a:cubicBezTo>
                  <a:cubicBezTo>
                    <a:pt x="1018" y="30"/>
                    <a:pt x="1018" y="30"/>
                    <a:pt x="1018" y="30"/>
                  </a:cubicBezTo>
                  <a:cubicBezTo>
                    <a:pt x="1025" y="28"/>
                    <a:pt x="1029" y="23"/>
                    <a:pt x="1029" y="16"/>
                  </a:cubicBezTo>
                  <a:cubicBezTo>
                    <a:pt x="1029" y="7"/>
                    <a:pt x="1022" y="2"/>
                    <a:pt x="1010" y="2"/>
                  </a:cubicBezTo>
                  <a:cubicBezTo>
                    <a:pt x="987" y="2"/>
                    <a:pt x="987" y="2"/>
                    <a:pt x="987" y="2"/>
                  </a:cubicBezTo>
                  <a:cubicBezTo>
                    <a:pt x="987" y="57"/>
                    <a:pt x="987" y="57"/>
                    <a:pt x="987" y="57"/>
                  </a:cubicBezTo>
                  <a:cubicBezTo>
                    <a:pt x="998" y="57"/>
                    <a:pt x="998" y="57"/>
                    <a:pt x="998" y="57"/>
                  </a:cubicBezTo>
                  <a:cubicBezTo>
                    <a:pt x="998" y="35"/>
                    <a:pt x="998" y="35"/>
                    <a:pt x="998" y="35"/>
                  </a:cubicBezTo>
                  <a:close/>
                  <a:moveTo>
                    <a:pt x="1092" y="18"/>
                  </a:moveTo>
                  <a:cubicBezTo>
                    <a:pt x="1091" y="7"/>
                    <a:pt x="1085" y="1"/>
                    <a:pt x="1073" y="0"/>
                  </a:cubicBezTo>
                  <a:cubicBezTo>
                    <a:pt x="1059" y="1"/>
                    <a:pt x="1051" y="7"/>
                    <a:pt x="1050" y="19"/>
                  </a:cubicBezTo>
                  <a:cubicBezTo>
                    <a:pt x="1050" y="26"/>
                    <a:pt x="1056" y="31"/>
                    <a:pt x="1068" y="34"/>
                  </a:cubicBezTo>
                  <a:cubicBezTo>
                    <a:pt x="1069" y="34"/>
                    <a:pt x="1069" y="34"/>
                    <a:pt x="1070" y="35"/>
                  </a:cubicBezTo>
                  <a:cubicBezTo>
                    <a:pt x="1077" y="36"/>
                    <a:pt x="1081" y="39"/>
                    <a:pt x="1081" y="42"/>
                  </a:cubicBezTo>
                  <a:cubicBezTo>
                    <a:pt x="1081" y="47"/>
                    <a:pt x="1077" y="49"/>
                    <a:pt x="1070" y="50"/>
                  </a:cubicBezTo>
                  <a:cubicBezTo>
                    <a:pt x="1064" y="49"/>
                    <a:pt x="1061" y="46"/>
                    <a:pt x="1061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52"/>
                    <a:pt x="1056" y="58"/>
                    <a:pt x="1070" y="58"/>
                  </a:cubicBezTo>
                  <a:cubicBezTo>
                    <a:pt x="1085" y="57"/>
                    <a:pt x="1093" y="51"/>
                    <a:pt x="1093" y="40"/>
                  </a:cubicBezTo>
                  <a:cubicBezTo>
                    <a:pt x="1093" y="32"/>
                    <a:pt x="1087" y="27"/>
                    <a:pt x="1074" y="24"/>
                  </a:cubicBezTo>
                  <a:cubicBezTo>
                    <a:pt x="1073" y="24"/>
                    <a:pt x="1073" y="24"/>
                    <a:pt x="1073" y="24"/>
                  </a:cubicBezTo>
                  <a:cubicBezTo>
                    <a:pt x="1066" y="23"/>
                    <a:pt x="1062" y="21"/>
                    <a:pt x="1063" y="16"/>
                  </a:cubicBezTo>
                  <a:cubicBezTo>
                    <a:pt x="1063" y="12"/>
                    <a:pt x="1066" y="10"/>
                    <a:pt x="1072" y="9"/>
                  </a:cubicBezTo>
                  <a:cubicBezTo>
                    <a:pt x="1077" y="9"/>
                    <a:pt x="1080" y="12"/>
                    <a:pt x="1080" y="18"/>
                  </a:cubicBezTo>
                  <a:cubicBezTo>
                    <a:pt x="1092" y="18"/>
                    <a:pt x="1092" y="18"/>
                    <a:pt x="1092" y="18"/>
                  </a:cubicBezTo>
                  <a:close/>
                  <a:moveTo>
                    <a:pt x="1127" y="2"/>
                  </a:moveTo>
                  <a:cubicBezTo>
                    <a:pt x="1115" y="2"/>
                    <a:pt x="1115" y="2"/>
                    <a:pt x="1115" y="2"/>
                  </a:cubicBezTo>
                  <a:cubicBezTo>
                    <a:pt x="1115" y="57"/>
                    <a:pt x="1115" y="57"/>
                    <a:pt x="1115" y="57"/>
                  </a:cubicBezTo>
                  <a:cubicBezTo>
                    <a:pt x="1127" y="57"/>
                    <a:pt x="1127" y="57"/>
                    <a:pt x="1127" y="57"/>
                  </a:cubicBezTo>
                  <a:cubicBezTo>
                    <a:pt x="1127" y="2"/>
                    <a:pt x="1127" y="2"/>
                    <a:pt x="1127" y="2"/>
                  </a:cubicBezTo>
                  <a:close/>
                  <a:moveTo>
                    <a:pt x="1146" y="11"/>
                  </a:moveTo>
                  <a:cubicBezTo>
                    <a:pt x="1162" y="11"/>
                    <a:pt x="1162" y="11"/>
                    <a:pt x="1162" y="11"/>
                  </a:cubicBezTo>
                  <a:cubicBezTo>
                    <a:pt x="1162" y="57"/>
                    <a:pt x="1162" y="57"/>
                    <a:pt x="1162" y="57"/>
                  </a:cubicBezTo>
                  <a:cubicBezTo>
                    <a:pt x="1174" y="57"/>
                    <a:pt x="1174" y="57"/>
                    <a:pt x="1174" y="57"/>
                  </a:cubicBezTo>
                  <a:cubicBezTo>
                    <a:pt x="1174" y="11"/>
                    <a:pt x="1174" y="11"/>
                    <a:pt x="1174" y="11"/>
                  </a:cubicBezTo>
                  <a:cubicBezTo>
                    <a:pt x="1190" y="11"/>
                    <a:pt x="1190" y="11"/>
                    <a:pt x="1190" y="11"/>
                  </a:cubicBezTo>
                  <a:cubicBezTo>
                    <a:pt x="1190" y="2"/>
                    <a:pt x="1190" y="2"/>
                    <a:pt x="1190" y="2"/>
                  </a:cubicBezTo>
                  <a:cubicBezTo>
                    <a:pt x="1146" y="2"/>
                    <a:pt x="1146" y="2"/>
                    <a:pt x="1146" y="2"/>
                  </a:cubicBezTo>
                  <a:cubicBezTo>
                    <a:pt x="1146" y="11"/>
                    <a:pt x="1146" y="11"/>
                    <a:pt x="1146" y="11"/>
                  </a:cubicBezTo>
                  <a:close/>
                  <a:moveTo>
                    <a:pt x="1224" y="57"/>
                  </a:moveTo>
                  <a:cubicBezTo>
                    <a:pt x="1236" y="57"/>
                    <a:pt x="1236" y="57"/>
                    <a:pt x="1236" y="57"/>
                  </a:cubicBezTo>
                  <a:cubicBezTo>
                    <a:pt x="1236" y="39"/>
                    <a:pt x="1236" y="39"/>
                    <a:pt x="1236" y="39"/>
                  </a:cubicBezTo>
                  <a:cubicBezTo>
                    <a:pt x="1254" y="2"/>
                    <a:pt x="1254" y="2"/>
                    <a:pt x="1254" y="2"/>
                  </a:cubicBezTo>
                  <a:cubicBezTo>
                    <a:pt x="1242" y="2"/>
                    <a:pt x="1242" y="2"/>
                    <a:pt x="1242" y="2"/>
                  </a:cubicBezTo>
                  <a:cubicBezTo>
                    <a:pt x="1231" y="27"/>
                    <a:pt x="1231" y="27"/>
                    <a:pt x="1231" y="27"/>
                  </a:cubicBezTo>
                  <a:cubicBezTo>
                    <a:pt x="1220" y="2"/>
                    <a:pt x="1220" y="2"/>
                    <a:pt x="1220" y="2"/>
                  </a:cubicBezTo>
                  <a:cubicBezTo>
                    <a:pt x="1206" y="2"/>
                    <a:pt x="1206" y="2"/>
                    <a:pt x="1206" y="2"/>
                  </a:cubicBezTo>
                  <a:cubicBezTo>
                    <a:pt x="1224" y="39"/>
                    <a:pt x="1224" y="39"/>
                    <a:pt x="1224" y="39"/>
                  </a:cubicBezTo>
                  <a:cubicBezTo>
                    <a:pt x="1224" y="57"/>
                    <a:pt x="1224" y="57"/>
                    <a:pt x="1224" y="57"/>
                  </a:cubicBezTo>
                  <a:close/>
                  <a:moveTo>
                    <a:pt x="1315" y="58"/>
                  </a:moveTo>
                  <a:cubicBezTo>
                    <a:pt x="1332" y="57"/>
                    <a:pt x="1340" y="48"/>
                    <a:pt x="1341" y="30"/>
                  </a:cubicBezTo>
                  <a:cubicBezTo>
                    <a:pt x="1340" y="11"/>
                    <a:pt x="1332" y="1"/>
                    <a:pt x="1315" y="0"/>
                  </a:cubicBezTo>
                  <a:cubicBezTo>
                    <a:pt x="1298" y="1"/>
                    <a:pt x="1289" y="11"/>
                    <a:pt x="1289" y="30"/>
                  </a:cubicBezTo>
                  <a:cubicBezTo>
                    <a:pt x="1289" y="48"/>
                    <a:pt x="1298" y="57"/>
                    <a:pt x="1315" y="58"/>
                  </a:cubicBezTo>
                  <a:close/>
                  <a:moveTo>
                    <a:pt x="1315" y="9"/>
                  </a:moveTo>
                  <a:cubicBezTo>
                    <a:pt x="1324" y="9"/>
                    <a:pt x="1329" y="16"/>
                    <a:pt x="1329" y="30"/>
                  </a:cubicBezTo>
                  <a:cubicBezTo>
                    <a:pt x="1329" y="43"/>
                    <a:pt x="1324" y="50"/>
                    <a:pt x="1315" y="50"/>
                  </a:cubicBezTo>
                  <a:cubicBezTo>
                    <a:pt x="1306" y="50"/>
                    <a:pt x="1301" y="43"/>
                    <a:pt x="1301" y="30"/>
                  </a:cubicBezTo>
                  <a:cubicBezTo>
                    <a:pt x="1301" y="16"/>
                    <a:pt x="1306" y="9"/>
                    <a:pt x="1315" y="9"/>
                  </a:cubicBezTo>
                  <a:close/>
                  <a:moveTo>
                    <a:pt x="1375" y="57"/>
                  </a:moveTo>
                  <a:cubicBezTo>
                    <a:pt x="1375" y="33"/>
                    <a:pt x="1375" y="33"/>
                    <a:pt x="1375" y="33"/>
                  </a:cubicBezTo>
                  <a:cubicBezTo>
                    <a:pt x="1397" y="33"/>
                    <a:pt x="1397" y="33"/>
                    <a:pt x="1397" y="33"/>
                  </a:cubicBezTo>
                  <a:cubicBezTo>
                    <a:pt x="1397" y="24"/>
                    <a:pt x="1397" y="24"/>
                    <a:pt x="1397" y="24"/>
                  </a:cubicBezTo>
                  <a:cubicBezTo>
                    <a:pt x="1375" y="24"/>
                    <a:pt x="1375" y="24"/>
                    <a:pt x="1375" y="24"/>
                  </a:cubicBezTo>
                  <a:cubicBezTo>
                    <a:pt x="1375" y="11"/>
                    <a:pt x="1375" y="11"/>
                    <a:pt x="1375" y="11"/>
                  </a:cubicBezTo>
                  <a:cubicBezTo>
                    <a:pt x="1399" y="11"/>
                    <a:pt x="1399" y="11"/>
                    <a:pt x="1399" y="11"/>
                  </a:cubicBezTo>
                  <a:cubicBezTo>
                    <a:pt x="1399" y="2"/>
                    <a:pt x="1399" y="2"/>
                    <a:pt x="1399" y="2"/>
                  </a:cubicBezTo>
                  <a:cubicBezTo>
                    <a:pt x="1363" y="2"/>
                    <a:pt x="1363" y="2"/>
                    <a:pt x="1363" y="2"/>
                  </a:cubicBezTo>
                  <a:cubicBezTo>
                    <a:pt x="1363" y="57"/>
                    <a:pt x="1363" y="57"/>
                    <a:pt x="1363" y="57"/>
                  </a:cubicBezTo>
                  <a:cubicBezTo>
                    <a:pt x="1375" y="57"/>
                    <a:pt x="1375" y="57"/>
                    <a:pt x="1375" y="57"/>
                  </a:cubicBezTo>
                  <a:close/>
                  <a:moveTo>
                    <a:pt x="1431" y="11"/>
                  </a:moveTo>
                  <a:cubicBezTo>
                    <a:pt x="1448" y="11"/>
                    <a:pt x="1448" y="11"/>
                    <a:pt x="1448" y="11"/>
                  </a:cubicBezTo>
                  <a:cubicBezTo>
                    <a:pt x="1448" y="57"/>
                    <a:pt x="1448" y="57"/>
                    <a:pt x="1448" y="57"/>
                  </a:cubicBezTo>
                  <a:cubicBezTo>
                    <a:pt x="1459" y="57"/>
                    <a:pt x="1459" y="57"/>
                    <a:pt x="1459" y="57"/>
                  </a:cubicBezTo>
                  <a:cubicBezTo>
                    <a:pt x="1459" y="11"/>
                    <a:pt x="1459" y="11"/>
                    <a:pt x="1459" y="11"/>
                  </a:cubicBezTo>
                  <a:cubicBezTo>
                    <a:pt x="1476" y="11"/>
                    <a:pt x="1476" y="11"/>
                    <a:pt x="1476" y="11"/>
                  </a:cubicBezTo>
                  <a:cubicBezTo>
                    <a:pt x="1476" y="2"/>
                    <a:pt x="1476" y="2"/>
                    <a:pt x="1476" y="2"/>
                  </a:cubicBezTo>
                  <a:cubicBezTo>
                    <a:pt x="1431" y="2"/>
                    <a:pt x="1431" y="2"/>
                    <a:pt x="1431" y="2"/>
                  </a:cubicBezTo>
                  <a:cubicBezTo>
                    <a:pt x="1431" y="11"/>
                    <a:pt x="1431" y="11"/>
                    <a:pt x="1431" y="11"/>
                  </a:cubicBezTo>
                  <a:close/>
                  <a:moveTo>
                    <a:pt x="1495" y="57"/>
                  </a:moveTo>
                  <a:cubicBezTo>
                    <a:pt x="1532" y="57"/>
                    <a:pt x="1532" y="57"/>
                    <a:pt x="1532" y="57"/>
                  </a:cubicBezTo>
                  <a:cubicBezTo>
                    <a:pt x="1532" y="48"/>
                    <a:pt x="1532" y="48"/>
                    <a:pt x="1532" y="48"/>
                  </a:cubicBezTo>
                  <a:cubicBezTo>
                    <a:pt x="1507" y="48"/>
                    <a:pt x="1507" y="48"/>
                    <a:pt x="1507" y="48"/>
                  </a:cubicBezTo>
                  <a:cubicBezTo>
                    <a:pt x="1507" y="33"/>
                    <a:pt x="1507" y="33"/>
                    <a:pt x="1507" y="33"/>
                  </a:cubicBezTo>
                  <a:cubicBezTo>
                    <a:pt x="1530" y="33"/>
                    <a:pt x="1530" y="33"/>
                    <a:pt x="1530" y="33"/>
                  </a:cubicBezTo>
                  <a:cubicBezTo>
                    <a:pt x="1530" y="24"/>
                    <a:pt x="1530" y="24"/>
                    <a:pt x="1530" y="24"/>
                  </a:cubicBezTo>
                  <a:cubicBezTo>
                    <a:pt x="1507" y="24"/>
                    <a:pt x="1507" y="24"/>
                    <a:pt x="1507" y="24"/>
                  </a:cubicBezTo>
                  <a:cubicBezTo>
                    <a:pt x="1507" y="11"/>
                    <a:pt x="1507" y="11"/>
                    <a:pt x="1507" y="11"/>
                  </a:cubicBezTo>
                  <a:cubicBezTo>
                    <a:pt x="1531" y="11"/>
                    <a:pt x="1531" y="11"/>
                    <a:pt x="1531" y="11"/>
                  </a:cubicBezTo>
                  <a:cubicBezTo>
                    <a:pt x="1531" y="2"/>
                    <a:pt x="1531" y="2"/>
                    <a:pt x="1531" y="2"/>
                  </a:cubicBezTo>
                  <a:cubicBezTo>
                    <a:pt x="1495" y="2"/>
                    <a:pt x="1495" y="2"/>
                    <a:pt x="1495" y="2"/>
                  </a:cubicBezTo>
                  <a:cubicBezTo>
                    <a:pt x="1495" y="57"/>
                    <a:pt x="1495" y="57"/>
                    <a:pt x="1495" y="57"/>
                  </a:cubicBezTo>
                  <a:close/>
                  <a:moveTo>
                    <a:pt x="1599" y="20"/>
                  </a:moveTo>
                  <a:cubicBezTo>
                    <a:pt x="1598" y="7"/>
                    <a:pt x="1590" y="1"/>
                    <a:pt x="1576" y="0"/>
                  </a:cubicBezTo>
                  <a:cubicBezTo>
                    <a:pt x="1561" y="1"/>
                    <a:pt x="1553" y="11"/>
                    <a:pt x="1553" y="30"/>
                  </a:cubicBezTo>
                  <a:cubicBezTo>
                    <a:pt x="1553" y="48"/>
                    <a:pt x="1561" y="57"/>
                    <a:pt x="1576" y="58"/>
                  </a:cubicBezTo>
                  <a:cubicBezTo>
                    <a:pt x="1590" y="58"/>
                    <a:pt x="1598" y="51"/>
                    <a:pt x="1599" y="39"/>
                  </a:cubicBezTo>
                  <a:cubicBezTo>
                    <a:pt x="1586" y="39"/>
                    <a:pt x="1586" y="39"/>
                    <a:pt x="1586" y="39"/>
                  </a:cubicBezTo>
                  <a:cubicBezTo>
                    <a:pt x="1586" y="46"/>
                    <a:pt x="1583" y="49"/>
                    <a:pt x="1576" y="50"/>
                  </a:cubicBezTo>
                  <a:cubicBezTo>
                    <a:pt x="1569" y="49"/>
                    <a:pt x="1566" y="43"/>
                    <a:pt x="1565" y="30"/>
                  </a:cubicBezTo>
                  <a:cubicBezTo>
                    <a:pt x="1566" y="16"/>
                    <a:pt x="1569" y="10"/>
                    <a:pt x="1576" y="9"/>
                  </a:cubicBezTo>
                  <a:cubicBezTo>
                    <a:pt x="1582" y="9"/>
                    <a:pt x="1586" y="13"/>
                    <a:pt x="1586" y="20"/>
                  </a:cubicBezTo>
                  <a:cubicBezTo>
                    <a:pt x="1599" y="20"/>
                    <a:pt x="1599" y="20"/>
                    <a:pt x="1599" y="20"/>
                  </a:cubicBezTo>
                  <a:close/>
                  <a:moveTo>
                    <a:pt x="1631" y="57"/>
                  </a:moveTo>
                  <a:cubicBezTo>
                    <a:pt x="1631" y="33"/>
                    <a:pt x="1631" y="33"/>
                    <a:pt x="1631" y="33"/>
                  </a:cubicBezTo>
                  <a:cubicBezTo>
                    <a:pt x="1652" y="33"/>
                    <a:pt x="1652" y="33"/>
                    <a:pt x="1652" y="33"/>
                  </a:cubicBezTo>
                  <a:cubicBezTo>
                    <a:pt x="1652" y="57"/>
                    <a:pt x="1652" y="57"/>
                    <a:pt x="1652" y="57"/>
                  </a:cubicBezTo>
                  <a:cubicBezTo>
                    <a:pt x="1664" y="57"/>
                    <a:pt x="1664" y="57"/>
                    <a:pt x="1664" y="57"/>
                  </a:cubicBezTo>
                  <a:cubicBezTo>
                    <a:pt x="1664" y="2"/>
                    <a:pt x="1664" y="2"/>
                    <a:pt x="1664" y="2"/>
                  </a:cubicBezTo>
                  <a:cubicBezTo>
                    <a:pt x="1652" y="2"/>
                    <a:pt x="1652" y="2"/>
                    <a:pt x="1652" y="2"/>
                  </a:cubicBezTo>
                  <a:cubicBezTo>
                    <a:pt x="1652" y="24"/>
                    <a:pt x="1652" y="24"/>
                    <a:pt x="1652" y="24"/>
                  </a:cubicBezTo>
                  <a:cubicBezTo>
                    <a:pt x="1631" y="24"/>
                    <a:pt x="1631" y="24"/>
                    <a:pt x="1631" y="24"/>
                  </a:cubicBezTo>
                  <a:cubicBezTo>
                    <a:pt x="1631" y="2"/>
                    <a:pt x="1631" y="2"/>
                    <a:pt x="1631" y="2"/>
                  </a:cubicBezTo>
                  <a:cubicBezTo>
                    <a:pt x="1620" y="2"/>
                    <a:pt x="1620" y="2"/>
                    <a:pt x="1620" y="2"/>
                  </a:cubicBezTo>
                  <a:cubicBezTo>
                    <a:pt x="1620" y="57"/>
                    <a:pt x="1620" y="57"/>
                    <a:pt x="1620" y="57"/>
                  </a:cubicBezTo>
                  <a:cubicBezTo>
                    <a:pt x="1631" y="57"/>
                    <a:pt x="1631" y="57"/>
                    <a:pt x="1631" y="57"/>
                  </a:cubicBezTo>
                  <a:close/>
                  <a:moveTo>
                    <a:pt x="1737" y="57"/>
                  </a:moveTo>
                  <a:cubicBezTo>
                    <a:pt x="1737" y="2"/>
                    <a:pt x="1737" y="2"/>
                    <a:pt x="1737" y="2"/>
                  </a:cubicBezTo>
                  <a:cubicBezTo>
                    <a:pt x="1726" y="2"/>
                    <a:pt x="1726" y="2"/>
                    <a:pt x="1726" y="2"/>
                  </a:cubicBezTo>
                  <a:cubicBezTo>
                    <a:pt x="1726" y="45"/>
                    <a:pt x="1726" y="45"/>
                    <a:pt x="1726" y="45"/>
                  </a:cubicBezTo>
                  <a:cubicBezTo>
                    <a:pt x="1725" y="45"/>
                    <a:pt x="1725" y="45"/>
                    <a:pt x="1725" y="45"/>
                  </a:cubicBezTo>
                  <a:cubicBezTo>
                    <a:pt x="1705" y="2"/>
                    <a:pt x="1705" y="2"/>
                    <a:pt x="1705" y="2"/>
                  </a:cubicBezTo>
                  <a:cubicBezTo>
                    <a:pt x="1687" y="2"/>
                    <a:pt x="1687" y="2"/>
                    <a:pt x="1687" y="2"/>
                  </a:cubicBezTo>
                  <a:cubicBezTo>
                    <a:pt x="1687" y="57"/>
                    <a:pt x="1687" y="57"/>
                    <a:pt x="1687" y="57"/>
                  </a:cubicBezTo>
                  <a:cubicBezTo>
                    <a:pt x="1698" y="57"/>
                    <a:pt x="1698" y="57"/>
                    <a:pt x="1698" y="57"/>
                  </a:cubicBezTo>
                  <a:cubicBezTo>
                    <a:pt x="1698" y="11"/>
                    <a:pt x="1698" y="11"/>
                    <a:pt x="1698" y="11"/>
                  </a:cubicBezTo>
                  <a:cubicBezTo>
                    <a:pt x="1699" y="11"/>
                    <a:pt x="1699" y="11"/>
                    <a:pt x="1699" y="11"/>
                  </a:cubicBezTo>
                  <a:cubicBezTo>
                    <a:pt x="1720" y="57"/>
                    <a:pt x="1720" y="57"/>
                    <a:pt x="1720" y="57"/>
                  </a:cubicBezTo>
                  <a:cubicBezTo>
                    <a:pt x="1737" y="57"/>
                    <a:pt x="1737" y="57"/>
                    <a:pt x="1737" y="57"/>
                  </a:cubicBezTo>
                  <a:close/>
                  <a:moveTo>
                    <a:pt x="1784" y="58"/>
                  </a:moveTo>
                  <a:cubicBezTo>
                    <a:pt x="1801" y="57"/>
                    <a:pt x="1810" y="48"/>
                    <a:pt x="1810" y="30"/>
                  </a:cubicBezTo>
                  <a:cubicBezTo>
                    <a:pt x="1810" y="11"/>
                    <a:pt x="1801" y="1"/>
                    <a:pt x="1784" y="0"/>
                  </a:cubicBezTo>
                  <a:cubicBezTo>
                    <a:pt x="1767" y="1"/>
                    <a:pt x="1759" y="11"/>
                    <a:pt x="1758" y="30"/>
                  </a:cubicBezTo>
                  <a:cubicBezTo>
                    <a:pt x="1759" y="48"/>
                    <a:pt x="1767" y="57"/>
                    <a:pt x="1784" y="58"/>
                  </a:cubicBezTo>
                  <a:close/>
                  <a:moveTo>
                    <a:pt x="1784" y="9"/>
                  </a:moveTo>
                  <a:cubicBezTo>
                    <a:pt x="1793" y="9"/>
                    <a:pt x="1798" y="16"/>
                    <a:pt x="1798" y="30"/>
                  </a:cubicBezTo>
                  <a:cubicBezTo>
                    <a:pt x="1798" y="43"/>
                    <a:pt x="1793" y="50"/>
                    <a:pt x="1784" y="50"/>
                  </a:cubicBezTo>
                  <a:cubicBezTo>
                    <a:pt x="1775" y="50"/>
                    <a:pt x="1771" y="43"/>
                    <a:pt x="1771" y="30"/>
                  </a:cubicBezTo>
                  <a:cubicBezTo>
                    <a:pt x="1771" y="16"/>
                    <a:pt x="1775" y="9"/>
                    <a:pt x="1784" y="9"/>
                  </a:cubicBezTo>
                  <a:close/>
                  <a:moveTo>
                    <a:pt x="1868" y="57"/>
                  </a:moveTo>
                  <a:cubicBezTo>
                    <a:pt x="1868" y="48"/>
                    <a:pt x="1868" y="48"/>
                    <a:pt x="1868" y="48"/>
                  </a:cubicBezTo>
                  <a:cubicBezTo>
                    <a:pt x="1844" y="48"/>
                    <a:pt x="1844" y="48"/>
                    <a:pt x="1844" y="48"/>
                  </a:cubicBezTo>
                  <a:cubicBezTo>
                    <a:pt x="1844" y="2"/>
                    <a:pt x="1844" y="2"/>
                    <a:pt x="1844" y="2"/>
                  </a:cubicBezTo>
                  <a:cubicBezTo>
                    <a:pt x="1833" y="2"/>
                    <a:pt x="1833" y="2"/>
                    <a:pt x="1833" y="2"/>
                  </a:cubicBezTo>
                  <a:cubicBezTo>
                    <a:pt x="1833" y="57"/>
                    <a:pt x="1833" y="57"/>
                    <a:pt x="1833" y="57"/>
                  </a:cubicBezTo>
                  <a:cubicBezTo>
                    <a:pt x="1868" y="57"/>
                    <a:pt x="1868" y="57"/>
                    <a:pt x="1868" y="57"/>
                  </a:cubicBezTo>
                  <a:close/>
                  <a:moveTo>
                    <a:pt x="1913" y="58"/>
                  </a:moveTo>
                  <a:cubicBezTo>
                    <a:pt x="1929" y="57"/>
                    <a:pt x="1938" y="48"/>
                    <a:pt x="1939" y="30"/>
                  </a:cubicBezTo>
                  <a:cubicBezTo>
                    <a:pt x="1938" y="11"/>
                    <a:pt x="1929" y="1"/>
                    <a:pt x="1913" y="0"/>
                  </a:cubicBezTo>
                  <a:cubicBezTo>
                    <a:pt x="1896" y="1"/>
                    <a:pt x="1887" y="11"/>
                    <a:pt x="1886" y="30"/>
                  </a:cubicBezTo>
                  <a:cubicBezTo>
                    <a:pt x="1887" y="48"/>
                    <a:pt x="1896" y="57"/>
                    <a:pt x="1913" y="58"/>
                  </a:cubicBezTo>
                  <a:close/>
                  <a:moveTo>
                    <a:pt x="1913" y="9"/>
                  </a:moveTo>
                  <a:cubicBezTo>
                    <a:pt x="1922" y="9"/>
                    <a:pt x="1926" y="16"/>
                    <a:pt x="1926" y="30"/>
                  </a:cubicBezTo>
                  <a:cubicBezTo>
                    <a:pt x="1926" y="43"/>
                    <a:pt x="1922" y="50"/>
                    <a:pt x="1913" y="50"/>
                  </a:cubicBezTo>
                  <a:cubicBezTo>
                    <a:pt x="1903" y="50"/>
                    <a:pt x="1899" y="43"/>
                    <a:pt x="1899" y="30"/>
                  </a:cubicBezTo>
                  <a:cubicBezTo>
                    <a:pt x="1899" y="16"/>
                    <a:pt x="1903" y="9"/>
                    <a:pt x="1913" y="9"/>
                  </a:cubicBezTo>
                  <a:close/>
                  <a:moveTo>
                    <a:pt x="1997" y="37"/>
                  </a:moveTo>
                  <a:cubicBezTo>
                    <a:pt x="1997" y="48"/>
                    <a:pt x="1997" y="48"/>
                    <a:pt x="1997" y="48"/>
                  </a:cubicBezTo>
                  <a:cubicBezTo>
                    <a:pt x="1997" y="49"/>
                    <a:pt x="1997" y="49"/>
                    <a:pt x="1997" y="48"/>
                  </a:cubicBezTo>
                  <a:cubicBezTo>
                    <a:pt x="1993" y="49"/>
                    <a:pt x="1989" y="50"/>
                    <a:pt x="1986" y="50"/>
                  </a:cubicBezTo>
                  <a:cubicBezTo>
                    <a:pt x="1976" y="49"/>
                    <a:pt x="1971" y="43"/>
                    <a:pt x="1971" y="30"/>
                  </a:cubicBezTo>
                  <a:cubicBezTo>
                    <a:pt x="1971" y="16"/>
                    <a:pt x="1976" y="9"/>
                    <a:pt x="1986" y="9"/>
                  </a:cubicBezTo>
                  <a:cubicBezTo>
                    <a:pt x="1994" y="9"/>
                    <a:pt x="1997" y="12"/>
                    <a:pt x="1997" y="18"/>
                  </a:cubicBezTo>
                  <a:cubicBezTo>
                    <a:pt x="2010" y="18"/>
                    <a:pt x="2010" y="18"/>
                    <a:pt x="2010" y="18"/>
                  </a:cubicBezTo>
                  <a:cubicBezTo>
                    <a:pt x="2010" y="6"/>
                    <a:pt x="2001" y="0"/>
                    <a:pt x="1984" y="0"/>
                  </a:cubicBezTo>
                  <a:cubicBezTo>
                    <a:pt x="1968" y="2"/>
                    <a:pt x="1959" y="11"/>
                    <a:pt x="1959" y="30"/>
                  </a:cubicBezTo>
                  <a:cubicBezTo>
                    <a:pt x="1959" y="47"/>
                    <a:pt x="1968" y="57"/>
                    <a:pt x="1984" y="58"/>
                  </a:cubicBezTo>
                  <a:cubicBezTo>
                    <a:pt x="1989" y="58"/>
                    <a:pt x="1994" y="58"/>
                    <a:pt x="1997" y="57"/>
                  </a:cubicBezTo>
                  <a:cubicBezTo>
                    <a:pt x="2001" y="57"/>
                    <a:pt x="2005" y="57"/>
                    <a:pt x="2009" y="55"/>
                  </a:cubicBezTo>
                  <a:cubicBezTo>
                    <a:pt x="2009" y="27"/>
                    <a:pt x="2009" y="27"/>
                    <a:pt x="2009" y="27"/>
                  </a:cubicBezTo>
                  <a:cubicBezTo>
                    <a:pt x="1987" y="27"/>
                    <a:pt x="1987" y="27"/>
                    <a:pt x="1987" y="27"/>
                  </a:cubicBezTo>
                  <a:cubicBezTo>
                    <a:pt x="1987" y="37"/>
                    <a:pt x="1987" y="37"/>
                    <a:pt x="1987" y="37"/>
                  </a:cubicBezTo>
                  <a:cubicBezTo>
                    <a:pt x="1997" y="37"/>
                    <a:pt x="1997" y="37"/>
                    <a:pt x="1997" y="37"/>
                  </a:cubicBezTo>
                  <a:close/>
                  <a:moveTo>
                    <a:pt x="2048" y="57"/>
                  </a:moveTo>
                  <a:cubicBezTo>
                    <a:pt x="2059" y="57"/>
                    <a:pt x="2059" y="57"/>
                    <a:pt x="2059" y="57"/>
                  </a:cubicBezTo>
                  <a:cubicBezTo>
                    <a:pt x="2059" y="39"/>
                    <a:pt x="2059" y="39"/>
                    <a:pt x="2059" y="39"/>
                  </a:cubicBezTo>
                  <a:cubicBezTo>
                    <a:pt x="2078" y="2"/>
                    <a:pt x="2078" y="2"/>
                    <a:pt x="2078" y="2"/>
                  </a:cubicBezTo>
                  <a:cubicBezTo>
                    <a:pt x="2066" y="2"/>
                    <a:pt x="2066" y="2"/>
                    <a:pt x="2066" y="2"/>
                  </a:cubicBezTo>
                  <a:cubicBezTo>
                    <a:pt x="2054" y="27"/>
                    <a:pt x="2054" y="27"/>
                    <a:pt x="2054" y="27"/>
                  </a:cubicBezTo>
                  <a:cubicBezTo>
                    <a:pt x="2043" y="2"/>
                    <a:pt x="2043" y="2"/>
                    <a:pt x="2043" y="2"/>
                  </a:cubicBezTo>
                  <a:cubicBezTo>
                    <a:pt x="2029" y="2"/>
                    <a:pt x="2029" y="2"/>
                    <a:pt x="2029" y="2"/>
                  </a:cubicBezTo>
                  <a:cubicBezTo>
                    <a:pt x="2048" y="39"/>
                    <a:pt x="2048" y="39"/>
                    <a:pt x="2048" y="39"/>
                  </a:cubicBezTo>
                  <a:lnTo>
                    <a:pt x="2048" y="5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îṩḻïḓé">
              <a:extLst>
                <a:ext uri="{FF2B5EF4-FFF2-40B4-BE49-F238E27FC236}">
                  <a16:creationId xmlns:a16="http://schemas.microsoft.com/office/drawing/2014/main" id="{EF2605EF-A0AA-4C72-BFFB-0319FC2933EC}"/>
                </a:ext>
              </a:extLst>
            </p:cNvPr>
            <p:cNvSpPr/>
            <p:nvPr userDrawn="1"/>
          </p:nvSpPr>
          <p:spPr bwMode="auto">
            <a:xfrm>
              <a:off x="2647449" y="2492374"/>
              <a:ext cx="1838789" cy="1871663"/>
            </a:xfrm>
            <a:custGeom>
              <a:avLst/>
              <a:gdLst>
                <a:gd name="T0" fmla="*/ 606 w 808"/>
                <a:gd name="T1" fmla="*/ 701 h 821"/>
                <a:gd name="T2" fmla="*/ 597 w 808"/>
                <a:gd name="T3" fmla="*/ 703 h 821"/>
                <a:gd name="T4" fmla="*/ 597 w 808"/>
                <a:gd name="T5" fmla="*/ 684 h 821"/>
                <a:gd name="T6" fmla="*/ 620 w 808"/>
                <a:gd name="T7" fmla="*/ 651 h 821"/>
                <a:gd name="T8" fmla="*/ 606 w 808"/>
                <a:gd name="T9" fmla="*/ 661 h 821"/>
                <a:gd name="T10" fmla="*/ 584 w 808"/>
                <a:gd name="T11" fmla="*/ 659 h 821"/>
                <a:gd name="T12" fmla="*/ 591 w 808"/>
                <a:gd name="T13" fmla="*/ 642 h 821"/>
                <a:gd name="T14" fmla="*/ 597 w 808"/>
                <a:gd name="T15" fmla="*/ 649 h 821"/>
                <a:gd name="T16" fmla="*/ 620 w 808"/>
                <a:gd name="T17" fmla="*/ 619 h 821"/>
                <a:gd name="T18" fmla="*/ 636 w 808"/>
                <a:gd name="T19" fmla="*/ 634 h 821"/>
                <a:gd name="T20" fmla="*/ 623 w 808"/>
                <a:gd name="T21" fmla="*/ 679 h 821"/>
                <a:gd name="T22" fmla="*/ 620 w 808"/>
                <a:gd name="T23" fmla="*/ 692 h 821"/>
                <a:gd name="T24" fmla="*/ 177 w 808"/>
                <a:gd name="T25" fmla="*/ 710 h 821"/>
                <a:gd name="T26" fmla="*/ 216 w 808"/>
                <a:gd name="T27" fmla="*/ 643 h 821"/>
                <a:gd name="T28" fmla="*/ 233 w 808"/>
                <a:gd name="T29" fmla="*/ 632 h 821"/>
                <a:gd name="T30" fmla="*/ 209 w 808"/>
                <a:gd name="T31" fmla="*/ 667 h 821"/>
                <a:gd name="T32" fmla="*/ 245 w 808"/>
                <a:gd name="T33" fmla="*/ 647 h 821"/>
                <a:gd name="T34" fmla="*/ 246 w 808"/>
                <a:gd name="T35" fmla="*/ 676 h 821"/>
                <a:gd name="T36" fmla="*/ 228 w 808"/>
                <a:gd name="T37" fmla="*/ 694 h 821"/>
                <a:gd name="T38" fmla="*/ 203 w 808"/>
                <a:gd name="T39" fmla="*/ 719 h 821"/>
                <a:gd name="T40" fmla="*/ 207 w 808"/>
                <a:gd name="T41" fmla="*/ 683 h 821"/>
                <a:gd name="T42" fmla="*/ 446 w 808"/>
                <a:gd name="T43" fmla="*/ 698 h 821"/>
                <a:gd name="T44" fmla="*/ 444 w 808"/>
                <a:gd name="T45" fmla="*/ 686 h 821"/>
                <a:gd name="T46" fmla="*/ 445 w 808"/>
                <a:gd name="T47" fmla="*/ 674 h 821"/>
                <a:gd name="T48" fmla="*/ 434 w 808"/>
                <a:gd name="T49" fmla="*/ 668 h 821"/>
                <a:gd name="T50" fmla="*/ 438 w 808"/>
                <a:gd name="T51" fmla="*/ 651 h 821"/>
                <a:gd name="T52" fmla="*/ 456 w 808"/>
                <a:gd name="T53" fmla="*/ 644 h 821"/>
                <a:gd name="T54" fmla="*/ 465 w 808"/>
                <a:gd name="T55" fmla="*/ 643 h 821"/>
                <a:gd name="T56" fmla="*/ 457 w 808"/>
                <a:gd name="T57" fmla="*/ 675 h 821"/>
                <a:gd name="T58" fmla="*/ 455 w 808"/>
                <a:gd name="T59" fmla="*/ 690 h 821"/>
                <a:gd name="T60" fmla="*/ 265 w 808"/>
                <a:gd name="T61" fmla="*/ 713 h 821"/>
                <a:gd name="T62" fmla="*/ 562 w 808"/>
                <a:gd name="T63" fmla="*/ 715 h 821"/>
                <a:gd name="T64" fmla="*/ 292 w 808"/>
                <a:gd name="T65" fmla="*/ 705 h 821"/>
                <a:gd name="T66" fmla="*/ 300 w 808"/>
                <a:gd name="T67" fmla="*/ 666 h 821"/>
                <a:gd name="T68" fmla="*/ 285 w 808"/>
                <a:gd name="T69" fmla="*/ 672 h 821"/>
                <a:gd name="T70" fmla="*/ 302 w 808"/>
                <a:gd name="T71" fmla="*/ 650 h 821"/>
                <a:gd name="T72" fmla="*/ 307 w 808"/>
                <a:gd name="T73" fmla="*/ 637 h 821"/>
                <a:gd name="T74" fmla="*/ 319 w 808"/>
                <a:gd name="T75" fmla="*/ 648 h 821"/>
                <a:gd name="T76" fmla="*/ 305 w 808"/>
                <a:gd name="T77" fmla="*/ 696 h 821"/>
                <a:gd name="T78" fmla="*/ 511 w 808"/>
                <a:gd name="T79" fmla="*/ 689 h 821"/>
                <a:gd name="T80" fmla="*/ 538 w 808"/>
                <a:gd name="T81" fmla="*/ 638 h 821"/>
                <a:gd name="T82" fmla="*/ 529 w 808"/>
                <a:gd name="T83" fmla="*/ 700 h 821"/>
                <a:gd name="T84" fmla="*/ 241 w 808"/>
                <a:gd name="T85" fmla="*/ 701 h 821"/>
                <a:gd name="T86" fmla="*/ 469 w 808"/>
                <a:gd name="T87" fmla="*/ 701 h 821"/>
                <a:gd name="T88" fmla="*/ 447 w 808"/>
                <a:gd name="T89" fmla="*/ 705 h 821"/>
                <a:gd name="T90" fmla="*/ 349 w 808"/>
                <a:gd name="T91" fmla="*/ 697 h 821"/>
                <a:gd name="T92" fmla="*/ 371 w 808"/>
                <a:gd name="T93" fmla="*/ 665 h 821"/>
                <a:gd name="T94" fmla="*/ 400 w 808"/>
                <a:gd name="T95" fmla="*/ 667 h 821"/>
                <a:gd name="T96" fmla="*/ 375 w 808"/>
                <a:gd name="T97" fmla="*/ 697 h 821"/>
                <a:gd name="T98" fmla="*/ 220 w 808"/>
                <a:gd name="T99" fmla="*/ 683 h 821"/>
                <a:gd name="T100" fmla="*/ 223 w 808"/>
                <a:gd name="T101" fmla="*/ 690 h 821"/>
                <a:gd name="T102" fmla="*/ 318 w 808"/>
                <a:gd name="T103" fmla="*/ 697 h 821"/>
                <a:gd name="T104" fmla="*/ 206 w 808"/>
                <a:gd name="T105" fmla="*/ 674 h 821"/>
                <a:gd name="T106" fmla="*/ 311 w 808"/>
                <a:gd name="T107" fmla="*/ 660 h 821"/>
                <a:gd name="T108" fmla="*/ 614 w 808"/>
                <a:gd name="T109" fmla="*/ 661 h 821"/>
                <a:gd name="T110" fmla="*/ 607 w 808"/>
                <a:gd name="T111" fmla="*/ 650 h 821"/>
                <a:gd name="T112" fmla="*/ 217 w 808"/>
                <a:gd name="T113" fmla="*/ 627 h 821"/>
                <a:gd name="T114" fmla="*/ 161 w 808"/>
                <a:gd name="T115" fmla="*/ 585 h 821"/>
                <a:gd name="T116" fmla="*/ 114 w 808"/>
                <a:gd name="T117" fmla="*/ 372 h 821"/>
                <a:gd name="T118" fmla="*/ 243 w 808"/>
                <a:gd name="T119" fmla="*/ 205 h 821"/>
                <a:gd name="T120" fmla="*/ 433 w 808"/>
                <a:gd name="T121" fmla="*/ 152 h 821"/>
                <a:gd name="T122" fmla="*/ 653 w 808"/>
                <a:gd name="T123" fmla="*/ 325 h 821"/>
                <a:gd name="T124" fmla="*/ 664 w 808"/>
                <a:gd name="T125" fmla="*/ 50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8" h="821">
                  <a:moveTo>
                    <a:pt x="404" y="821"/>
                  </a:moveTo>
                  <a:cubicBezTo>
                    <a:pt x="626" y="821"/>
                    <a:pt x="808" y="637"/>
                    <a:pt x="808" y="411"/>
                  </a:cubicBezTo>
                  <a:cubicBezTo>
                    <a:pt x="808" y="185"/>
                    <a:pt x="626" y="0"/>
                    <a:pt x="404" y="0"/>
                  </a:cubicBezTo>
                  <a:cubicBezTo>
                    <a:pt x="181" y="0"/>
                    <a:pt x="0" y="185"/>
                    <a:pt x="0" y="411"/>
                  </a:cubicBezTo>
                  <a:cubicBezTo>
                    <a:pt x="0" y="637"/>
                    <a:pt x="181" y="821"/>
                    <a:pt x="404" y="821"/>
                  </a:cubicBezTo>
                  <a:close/>
                  <a:moveTo>
                    <a:pt x="404" y="3"/>
                  </a:moveTo>
                  <a:cubicBezTo>
                    <a:pt x="474" y="48"/>
                    <a:pt x="616" y="90"/>
                    <a:pt x="583" y="158"/>
                  </a:cubicBezTo>
                  <a:cubicBezTo>
                    <a:pt x="638" y="106"/>
                    <a:pt x="721" y="230"/>
                    <a:pt x="785" y="285"/>
                  </a:cubicBezTo>
                  <a:cubicBezTo>
                    <a:pt x="765" y="362"/>
                    <a:pt x="769" y="520"/>
                    <a:pt x="693" y="507"/>
                  </a:cubicBezTo>
                  <a:cubicBezTo>
                    <a:pt x="761" y="544"/>
                    <a:pt x="669" y="666"/>
                    <a:pt x="644" y="734"/>
                  </a:cubicBezTo>
                  <a:cubicBezTo>
                    <a:pt x="567" y="740"/>
                    <a:pt x="412" y="799"/>
                    <a:pt x="405" y="723"/>
                  </a:cubicBezTo>
                  <a:cubicBezTo>
                    <a:pt x="392" y="797"/>
                    <a:pt x="241" y="737"/>
                    <a:pt x="161" y="732"/>
                  </a:cubicBezTo>
                  <a:cubicBezTo>
                    <a:pt x="134" y="658"/>
                    <a:pt x="46" y="545"/>
                    <a:pt x="113" y="509"/>
                  </a:cubicBezTo>
                  <a:cubicBezTo>
                    <a:pt x="35" y="520"/>
                    <a:pt x="47" y="364"/>
                    <a:pt x="23" y="284"/>
                  </a:cubicBezTo>
                  <a:cubicBezTo>
                    <a:pt x="90" y="245"/>
                    <a:pt x="172" y="105"/>
                    <a:pt x="229" y="159"/>
                  </a:cubicBezTo>
                  <a:cubicBezTo>
                    <a:pt x="197" y="85"/>
                    <a:pt x="340" y="46"/>
                    <a:pt x="404" y="3"/>
                  </a:cubicBezTo>
                  <a:close/>
                  <a:moveTo>
                    <a:pt x="609" y="729"/>
                  </a:move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1" y="628"/>
                    <a:pt x="621" y="628"/>
                    <a:pt x="621" y="628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09" y="729"/>
                    <a:pt x="609" y="729"/>
                    <a:pt x="609" y="729"/>
                  </a:cubicBezTo>
                  <a:close/>
                  <a:moveTo>
                    <a:pt x="176" y="724"/>
                  </a:move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3"/>
                    <a:pt x="194" y="683"/>
                    <a:pt x="195" y="683"/>
                  </a:cubicBezTo>
                  <a:cubicBezTo>
                    <a:pt x="195" y="683"/>
                    <a:pt x="195" y="683"/>
                    <a:pt x="195" y="683"/>
                  </a:cubicBezTo>
                  <a:cubicBezTo>
                    <a:pt x="195" y="683"/>
                    <a:pt x="195" y="682"/>
                    <a:pt x="196" y="682"/>
                  </a:cubicBezTo>
                  <a:cubicBezTo>
                    <a:pt x="196" y="682"/>
                    <a:pt x="196" y="682"/>
                    <a:pt x="196" y="682"/>
                  </a:cubicBezTo>
                  <a:cubicBezTo>
                    <a:pt x="196" y="682"/>
                    <a:pt x="196" y="682"/>
                    <a:pt x="196" y="681"/>
                  </a:cubicBezTo>
                  <a:cubicBezTo>
                    <a:pt x="196" y="681"/>
                    <a:pt x="196" y="681"/>
                    <a:pt x="196" y="681"/>
                  </a:cubicBezTo>
                  <a:cubicBezTo>
                    <a:pt x="196" y="681"/>
                    <a:pt x="196" y="681"/>
                    <a:pt x="197" y="681"/>
                  </a:cubicBezTo>
                  <a:cubicBezTo>
                    <a:pt x="197" y="681"/>
                    <a:pt x="197" y="681"/>
                    <a:pt x="197" y="681"/>
                  </a:cubicBezTo>
                  <a:cubicBezTo>
                    <a:pt x="198" y="679"/>
                    <a:pt x="199" y="677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15" y="706"/>
                    <a:pt x="215" y="706"/>
                    <a:pt x="215" y="706"/>
                  </a:cubicBezTo>
                  <a:cubicBezTo>
                    <a:pt x="214" y="707"/>
                    <a:pt x="214" y="707"/>
                    <a:pt x="214" y="707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8"/>
                    <a:pt x="214" y="698"/>
                  </a:cubicBezTo>
                  <a:cubicBezTo>
                    <a:pt x="214" y="698"/>
                    <a:pt x="214" y="698"/>
                    <a:pt x="214" y="698"/>
                  </a:cubicBezTo>
                  <a:cubicBezTo>
                    <a:pt x="213" y="698"/>
                    <a:pt x="213" y="698"/>
                    <a:pt x="213" y="697"/>
                  </a:cubicBezTo>
                  <a:cubicBezTo>
                    <a:pt x="213" y="697"/>
                    <a:pt x="213" y="697"/>
                    <a:pt x="213" y="697"/>
                  </a:cubicBezTo>
                  <a:cubicBezTo>
                    <a:pt x="213" y="696"/>
                    <a:pt x="213" y="696"/>
                    <a:pt x="213" y="695"/>
                  </a:cubicBezTo>
                  <a:cubicBezTo>
                    <a:pt x="213" y="695"/>
                    <a:pt x="213" y="695"/>
                    <a:pt x="213" y="695"/>
                  </a:cubicBezTo>
                  <a:cubicBezTo>
                    <a:pt x="213" y="693"/>
                    <a:pt x="213" y="691"/>
                    <a:pt x="213" y="689"/>
                  </a:cubicBezTo>
                  <a:cubicBezTo>
                    <a:pt x="213" y="689"/>
                    <a:pt x="213" y="689"/>
                    <a:pt x="213" y="689"/>
                  </a:cubicBezTo>
                  <a:cubicBezTo>
                    <a:pt x="213" y="688"/>
                    <a:pt x="213" y="688"/>
                    <a:pt x="214" y="687"/>
                  </a:cubicBezTo>
                  <a:cubicBezTo>
                    <a:pt x="214" y="687"/>
                    <a:pt x="214" y="687"/>
                    <a:pt x="214" y="687"/>
                  </a:cubicBezTo>
                  <a:cubicBezTo>
                    <a:pt x="214" y="686"/>
                    <a:pt x="214" y="685"/>
                    <a:pt x="215" y="684"/>
                  </a:cubicBezTo>
                  <a:cubicBezTo>
                    <a:pt x="215" y="684"/>
                    <a:pt x="215" y="684"/>
                    <a:pt x="215" y="684"/>
                  </a:cubicBezTo>
                  <a:cubicBezTo>
                    <a:pt x="215" y="684"/>
                    <a:pt x="216" y="683"/>
                    <a:pt x="216" y="682"/>
                  </a:cubicBezTo>
                  <a:cubicBezTo>
                    <a:pt x="216" y="682"/>
                    <a:pt x="216" y="682"/>
                    <a:pt x="216" y="682"/>
                  </a:cubicBezTo>
                  <a:cubicBezTo>
                    <a:pt x="217" y="681"/>
                    <a:pt x="217" y="680"/>
                    <a:pt x="218" y="679"/>
                  </a:cubicBezTo>
                  <a:cubicBezTo>
                    <a:pt x="218" y="679"/>
                    <a:pt x="218" y="679"/>
                    <a:pt x="218" y="679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6" y="679"/>
                    <a:pt x="213" y="681"/>
                    <a:pt x="210" y="683"/>
                  </a:cubicBezTo>
                  <a:cubicBezTo>
                    <a:pt x="210" y="683"/>
                    <a:pt x="210" y="683"/>
                    <a:pt x="210" y="683"/>
                  </a:cubicBezTo>
                  <a:cubicBezTo>
                    <a:pt x="209" y="684"/>
                    <a:pt x="208" y="684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79"/>
                  </a:cubicBezTo>
                  <a:cubicBezTo>
                    <a:pt x="202" y="679"/>
                    <a:pt x="202" y="679"/>
                    <a:pt x="202" y="679"/>
                  </a:cubicBezTo>
                  <a:cubicBezTo>
                    <a:pt x="202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0" y="680"/>
                    <a:pt x="200" y="680"/>
                  </a:cubicBezTo>
                  <a:cubicBezTo>
                    <a:pt x="200" y="680"/>
                    <a:pt x="200" y="680"/>
                    <a:pt x="200" y="680"/>
                  </a:cubicBezTo>
                  <a:cubicBezTo>
                    <a:pt x="200" y="680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76" y="724"/>
                    <a:pt x="176" y="724"/>
                    <a:pt x="176" y="724"/>
                  </a:cubicBezTo>
                  <a:close/>
                  <a:moveTo>
                    <a:pt x="425" y="723"/>
                  </a:move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4" y="668"/>
                    <a:pt x="454" y="668"/>
                  </a:cubicBezTo>
                  <a:cubicBezTo>
                    <a:pt x="454" y="668"/>
                    <a:pt x="454" y="668"/>
                    <a:pt x="454" y="668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0"/>
                    <a:pt x="445" y="640"/>
                    <a:pt x="445" y="640"/>
                  </a:cubicBezTo>
                  <a:cubicBezTo>
                    <a:pt x="445" y="639"/>
                    <a:pt x="445" y="639"/>
                    <a:pt x="445" y="639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0" y="670"/>
                    <a:pt x="458" y="671"/>
                    <a:pt x="458" y="671"/>
                  </a:cubicBezTo>
                  <a:cubicBezTo>
                    <a:pt x="458" y="671"/>
                    <a:pt x="458" y="671"/>
                    <a:pt x="458" y="671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6" y="723"/>
                    <a:pt x="426" y="723"/>
                    <a:pt x="426" y="723"/>
                  </a:cubicBezTo>
                  <a:lnTo>
                    <a:pt x="425" y="723"/>
                  </a:lnTo>
                  <a:close/>
                  <a:moveTo>
                    <a:pt x="270" y="716"/>
                  </a:move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lose/>
                  <a:moveTo>
                    <a:pt x="562" y="715"/>
                  </a:moveTo>
                  <a:cubicBezTo>
                    <a:pt x="562" y="715"/>
                    <a:pt x="562" y="715"/>
                    <a:pt x="562" y="715"/>
                  </a:cubicBezTo>
                  <a:cubicBezTo>
                    <a:pt x="562" y="715"/>
                    <a:pt x="562" y="715"/>
                    <a:pt x="562" y="715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2" y="715"/>
                    <a:pt x="562" y="715"/>
                    <a:pt x="562" y="715"/>
                  </a:cubicBezTo>
                  <a:close/>
                  <a:moveTo>
                    <a:pt x="304" y="713"/>
                  </a:moveTo>
                  <a:cubicBezTo>
                    <a:pt x="302" y="712"/>
                    <a:pt x="302" y="712"/>
                    <a:pt x="302" y="712"/>
                  </a:cubicBezTo>
                  <a:cubicBezTo>
                    <a:pt x="302" y="712"/>
                    <a:pt x="302" y="712"/>
                    <a:pt x="302" y="712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1"/>
                    <a:pt x="302" y="621"/>
                    <a:pt x="302" y="621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lose/>
                  <a:moveTo>
                    <a:pt x="506" y="712"/>
                  </a:moveTo>
                  <a:cubicBezTo>
                    <a:pt x="506" y="710"/>
                    <a:pt x="506" y="710"/>
                    <a:pt x="506" y="710"/>
                  </a:cubicBezTo>
                  <a:cubicBezTo>
                    <a:pt x="506" y="710"/>
                    <a:pt x="506" y="710"/>
                    <a:pt x="506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0"/>
                    <a:pt x="536" y="650"/>
                    <a:pt x="535" y="647"/>
                  </a:cubicBezTo>
                  <a:cubicBezTo>
                    <a:pt x="535" y="647"/>
                    <a:pt x="535" y="647"/>
                    <a:pt x="535" y="647"/>
                  </a:cubicBezTo>
                  <a:cubicBezTo>
                    <a:pt x="535" y="645"/>
                    <a:pt x="534" y="644"/>
                    <a:pt x="534" y="643"/>
                  </a:cubicBezTo>
                  <a:cubicBezTo>
                    <a:pt x="534" y="643"/>
                    <a:pt x="534" y="643"/>
                    <a:pt x="534" y="643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2" y="642"/>
                    <a:pt x="542" y="642"/>
                    <a:pt x="543" y="643"/>
                  </a:cubicBezTo>
                  <a:cubicBezTo>
                    <a:pt x="543" y="643"/>
                    <a:pt x="543" y="643"/>
                    <a:pt x="543" y="643"/>
                  </a:cubicBezTo>
                  <a:cubicBezTo>
                    <a:pt x="544" y="645"/>
                    <a:pt x="544" y="645"/>
                    <a:pt x="544" y="647"/>
                  </a:cubicBezTo>
                  <a:cubicBezTo>
                    <a:pt x="544" y="647"/>
                    <a:pt x="544" y="647"/>
                    <a:pt x="544" y="647"/>
                  </a:cubicBezTo>
                  <a:cubicBezTo>
                    <a:pt x="544" y="648"/>
                    <a:pt x="544" y="648"/>
                    <a:pt x="544" y="649"/>
                  </a:cubicBezTo>
                  <a:cubicBezTo>
                    <a:pt x="544" y="649"/>
                    <a:pt x="544" y="649"/>
                    <a:pt x="544" y="649"/>
                  </a:cubicBezTo>
                  <a:cubicBezTo>
                    <a:pt x="539" y="675"/>
                    <a:pt x="539" y="675"/>
                    <a:pt x="539" y="675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07" y="712"/>
                    <a:pt x="507" y="712"/>
                    <a:pt x="507" y="712"/>
                  </a:cubicBezTo>
                  <a:lnTo>
                    <a:pt x="506" y="712"/>
                  </a:lnTo>
                  <a:close/>
                  <a:moveTo>
                    <a:pt x="242" y="710"/>
                  </a:move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2" y="710"/>
                    <a:pt x="242" y="710"/>
                    <a:pt x="242" y="710"/>
                  </a:cubicBezTo>
                  <a:close/>
                  <a:moveTo>
                    <a:pt x="468" y="708"/>
                  </a:moveTo>
                  <a:cubicBezTo>
                    <a:pt x="467" y="707"/>
                    <a:pt x="467" y="707"/>
                    <a:pt x="467" y="707"/>
                  </a:cubicBezTo>
                  <a:cubicBezTo>
                    <a:pt x="467" y="707"/>
                    <a:pt x="467" y="707"/>
                    <a:pt x="467" y="707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lose/>
                  <a:moveTo>
                    <a:pt x="445" y="707"/>
                  </a:move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lose/>
                  <a:moveTo>
                    <a:pt x="352" y="706"/>
                  </a:move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1" y="699"/>
                    <a:pt x="371" y="699"/>
                    <a:pt x="370" y="699"/>
                  </a:cubicBezTo>
                  <a:cubicBezTo>
                    <a:pt x="370" y="699"/>
                    <a:pt x="370" y="699"/>
                    <a:pt x="370" y="699"/>
                  </a:cubicBezTo>
                  <a:cubicBezTo>
                    <a:pt x="370" y="699"/>
                    <a:pt x="369" y="699"/>
                    <a:pt x="369" y="699"/>
                  </a:cubicBezTo>
                  <a:cubicBezTo>
                    <a:pt x="369" y="699"/>
                    <a:pt x="369" y="700"/>
                    <a:pt x="369" y="700"/>
                  </a:cubicBezTo>
                  <a:cubicBezTo>
                    <a:pt x="369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7" y="701"/>
                    <a:pt x="367" y="701"/>
                    <a:pt x="366" y="701"/>
                  </a:cubicBezTo>
                  <a:cubicBezTo>
                    <a:pt x="366" y="701"/>
                    <a:pt x="366" y="701"/>
                    <a:pt x="366" y="701"/>
                  </a:cubicBezTo>
                  <a:cubicBezTo>
                    <a:pt x="366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2"/>
                  </a:cubicBezTo>
                  <a:cubicBezTo>
                    <a:pt x="364" y="702"/>
                    <a:pt x="364" y="702"/>
                    <a:pt x="364" y="702"/>
                  </a:cubicBezTo>
                  <a:cubicBezTo>
                    <a:pt x="364" y="702"/>
                    <a:pt x="363" y="702"/>
                    <a:pt x="363" y="702"/>
                  </a:cubicBezTo>
                  <a:cubicBezTo>
                    <a:pt x="363" y="702"/>
                    <a:pt x="363" y="702"/>
                    <a:pt x="363" y="702"/>
                  </a:cubicBezTo>
                  <a:cubicBezTo>
                    <a:pt x="363" y="702"/>
                    <a:pt x="362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2" y="706"/>
                    <a:pt x="352" y="706"/>
                    <a:pt x="352" y="706"/>
                  </a:cubicBezTo>
                  <a:close/>
                  <a:moveTo>
                    <a:pt x="218" y="701"/>
                  </a:move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6" y="698"/>
                    <a:pt x="216" y="697"/>
                  </a:cubicBezTo>
                  <a:cubicBezTo>
                    <a:pt x="216" y="697"/>
                    <a:pt x="216" y="697"/>
                    <a:pt x="216" y="697"/>
                  </a:cubicBezTo>
                  <a:cubicBezTo>
                    <a:pt x="216" y="697"/>
                    <a:pt x="216" y="696"/>
                    <a:pt x="215" y="696"/>
                  </a:cubicBezTo>
                  <a:cubicBezTo>
                    <a:pt x="215" y="696"/>
                    <a:pt x="215" y="696"/>
                    <a:pt x="215" y="696"/>
                  </a:cubicBezTo>
                  <a:cubicBezTo>
                    <a:pt x="215" y="695"/>
                    <a:pt x="215" y="695"/>
                    <a:pt x="215" y="694"/>
                  </a:cubicBezTo>
                  <a:cubicBezTo>
                    <a:pt x="215" y="694"/>
                    <a:pt x="215" y="694"/>
                    <a:pt x="215" y="694"/>
                  </a:cubicBezTo>
                  <a:cubicBezTo>
                    <a:pt x="215" y="694"/>
                    <a:pt x="215" y="693"/>
                    <a:pt x="215" y="692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15" y="692"/>
                    <a:pt x="215" y="691"/>
                    <a:pt x="215" y="691"/>
                  </a:cubicBezTo>
                  <a:cubicBezTo>
                    <a:pt x="215" y="691"/>
                    <a:pt x="215" y="691"/>
                    <a:pt x="215" y="691"/>
                  </a:cubicBezTo>
                  <a:cubicBezTo>
                    <a:pt x="216" y="690"/>
                    <a:pt x="216" y="689"/>
                    <a:pt x="216" y="689"/>
                  </a:cubicBezTo>
                  <a:cubicBezTo>
                    <a:pt x="216" y="689"/>
                    <a:pt x="216" y="689"/>
                    <a:pt x="216" y="689"/>
                  </a:cubicBezTo>
                  <a:cubicBezTo>
                    <a:pt x="216" y="688"/>
                    <a:pt x="216" y="688"/>
                    <a:pt x="216" y="687"/>
                  </a:cubicBezTo>
                  <a:cubicBezTo>
                    <a:pt x="216" y="687"/>
                    <a:pt x="216" y="687"/>
                    <a:pt x="216" y="687"/>
                  </a:cubicBezTo>
                  <a:cubicBezTo>
                    <a:pt x="216" y="687"/>
                    <a:pt x="217" y="686"/>
                    <a:pt x="217" y="686"/>
                  </a:cubicBezTo>
                  <a:cubicBezTo>
                    <a:pt x="217" y="686"/>
                    <a:pt x="217" y="686"/>
                    <a:pt x="217" y="686"/>
                  </a:cubicBezTo>
                  <a:cubicBezTo>
                    <a:pt x="217" y="686"/>
                    <a:pt x="217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19" y="685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4" y="688"/>
                  </a:cubicBezTo>
                  <a:cubicBezTo>
                    <a:pt x="224" y="688"/>
                    <a:pt x="224" y="688"/>
                    <a:pt x="224" y="688"/>
                  </a:cubicBezTo>
                  <a:cubicBezTo>
                    <a:pt x="224" y="688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3" y="689"/>
                    <a:pt x="223" y="689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2" y="693"/>
                    <a:pt x="222" y="692"/>
                    <a:pt x="222" y="692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2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3"/>
                  </a:cubicBezTo>
                  <a:cubicBezTo>
                    <a:pt x="224" y="693"/>
                    <a:pt x="224" y="693"/>
                    <a:pt x="224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4"/>
                    <a:pt x="225" y="694"/>
                    <a:pt x="224" y="694"/>
                  </a:cubicBezTo>
                  <a:cubicBezTo>
                    <a:pt x="224" y="694"/>
                    <a:pt x="224" y="694"/>
                    <a:pt x="224" y="694"/>
                  </a:cubicBezTo>
                  <a:cubicBezTo>
                    <a:pt x="224" y="694"/>
                    <a:pt x="224" y="694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8"/>
                    <a:pt x="223" y="698"/>
                  </a:cubicBezTo>
                  <a:cubicBezTo>
                    <a:pt x="223" y="698"/>
                    <a:pt x="223" y="698"/>
                    <a:pt x="223" y="698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8" y="701"/>
                    <a:pt x="218" y="701"/>
                    <a:pt x="218" y="701"/>
                  </a:cubicBezTo>
                  <a:close/>
                  <a:moveTo>
                    <a:pt x="318" y="698"/>
                  </a:moveTo>
                  <a:cubicBezTo>
                    <a:pt x="318" y="698"/>
                    <a:pt x="318" y="698"/>
                    <a:pt x="318" y="698"/>
                  </a:cubicBezTo>
                  <a:cubicBezTo>
                    <a:pt x="318" y="698"/>
                    <a:pt x="318" y="698"/>
                    <a:pt x="318" y="698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8"/>
                    <a:pt x="319" y="698"/>
                    <a:pt x="319" y="698"/>
                  </a:cubicBezTo>
                  <a:lnTo>
                    <a:pt x="318" y="698"/>
                  </a:lnTo>
                  <a:close/>
                  <a:moveTo>
                    <a:pt x="203" y="679"/>
                  </a:moveTo>
                  <a:cubicBezTo>
                    <a:pt x="203" y="679"/>
                    <a:pt x="202" y="679"/>
                    <a:pt x="202" y="678"/>
                  </a:cubicBezTo>
                  <a:cubicBezTo>
                    <a:pt x="202" y="678"/>
                    <a:pt x="202" y="678"/>
                    <a:pt x="202" y="678"/>
                  </a:cubicBezTo>
                  <a:cubicBezTo>
                    <a:pt x="202" y="678"/>
                    <a:pt x="202" y="678"/>
                    <a:pt x="202" y="677"/>
                  </a:cubicBezTo>
                  <a:cubicBezTo>
                    <a:pt x="202" y="677"/>
                    <a:pt x="202" y="677"/>
                    <a:pt x="202" y="677"/>
                  </a:cubicBezTo>
                  <a:cubicBezTo>
                    <a:pt x="202" y="677"/>
                    <a:pt x="203" y="676"/>
                    <a:pt x="203" y="676"/>
                  </a:cubicBezTo>
                  <a:cubicBezTo>
                    <a:pt x="203" y="676"/>
                    <a:pt x="203" y="676"/>
                    <a:pt x="203" y="676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6" y="675"/>
                    <a:pt x="215" y="676"/>
                    <a:pt x="214" y="676"/>
                  </a:cubicBezTo>
                  <a:cubicBezTo>
                    <a:pt x="214" y="676"/>
                    <a:pt x="214" y="676"/>
                    <a:pt x="214" y="676"/>
                  </a:cubicBezTo>
                  <a:cubicBezTo>
                    <a:pt x="203" y="679"/>
                    <a:pt x="203" y="679"/>
                    <a:pt x="203" y="679"/>
                  </a:cubicBezTo>
                  <a:close/>
                  <a:moveTo>
                    <a:pt x="305" y="665"/>
                  </a:moveTo>
                  <a:cubicBezTo>
                    <a:pt x="306" y="655"/>
                    <a:pt x="306" y="655"/>
                    <a:pt x="306" y="655"/>
                  </a:cubicBezTo>
                  <a:cubicBezTo>
                    <a:pt x="306" y="655"/>
                    <a:pt x="306" y="655"/>
                    <a:pt x="306" y="655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5" y="665"/>
                    <a:pt x="305" y="665"/>
                    <a:pt x="305" y="665"/>
                  </a:cubicBezTo>
                  <a:close/>
                  <a:moveTo>
                    <a:pt x="598" y="662"/>
                  </a:move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2"/>
                    <a:pt x="599" y="662"/>
                    <a:pt x="599" y="662"/>
                  </a:cubicBezTo>
                  <a:lnTo>
                    <a:pt x="598" y="662"/>
                  </a:lnTo>
                  <a:close/>
                  <a:moveTo>
                    <a:pt x="615" y="662"/>
                  </a:move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2"/>
                    <a:pt x="616" y="662"/>
                    <a:pt x="616" y="662"/>
                  </a:cubicBezTo>
                  <a:lnTo>
                    <a:pt x="615" y="662"/>
                  </a:lnTo>
                  <a:close/>
                  <a:moveTo>
                    <a:pt x="607" y="656"/>
                  </a:moveTo>
                  <a:cubicBezTo>
                    <a:pt x="606" y="656"/>
                    <a:pt x="606" y="656"/>
                    <a:pt x="606" y="656"/>
                  </a:cubicBezTo>
                  <a:cubicBezTo>
                    <a:pt x="606" y="656"/>
                    <a:pt x="606" y="656"/>
                    <a:pt x="606" y="656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lose/>
                  <a:moveTo>
                    <a:pt x="307" y="647"/>
                  </a:moveTo>
                  <a:cubicBezTo>
                    <a:pt x="307" y="647"/>
                    <a:pt x="307" y="647"/>
                    <a:pt x="307" y="647"/>
                  </a:cubicBezTo>
                  <a:cubicBezTo>
                    <a:pt x="307" y="647"/>
                    <a:pt x="307" y="647"/>
                    <a:pt x="307" y="647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7" y="647"/>
                    <a:pt x="307" y="647"/>
                    <a:pt x="307" y="647"/>
                  </a:cubicBezTo>
                  <a:close/>
                  <a:moveTo>
                    <a:pt x="601" y="645"/>
                  </a:moveTo>
                  <a:cubicBezTo>
                    <a:pt x="601" y="645"/>
                    <a:pt x="601" y="645"/>
                    <a:pt x="601" y="645"/>
                  </a:cubicBezTo>
                  <a:close/>
                  <a:moveTo>
                    <a:pt x="217" y="632"/>
                  </a:moveTo>
                  <a:cubicBezTo>
                    <a:pt x="217" y="632"/>
                    <a:pt x="217" y="632"/>
                    <a:pt x="217" y="632"/>
                  </a:cubicBezTo>
                  <a:cubicBezTo>
                    <a:pt x="217" y="632"/>
                    <a:pt x="217" y="632"/>
                    <a:pt x="217" y="632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7" y="632"/>
                    <a:pt x="217" y="632"/>
                    <a:pt x="217" y="632"/>
                  </a:cubicBezTo>
                  <a:close/>
                  <a:moveTo>
                    <a:pt x="179" y="574"/>
                  </a:moveTo>
                  <a:cubicBezTo>
                    <a:pt x="174" y="578"/>
                    <a:pt x="174" y="578"/>
                    <a:pt x="174" y="578"/>
                  </a:cubicBezTo>
                  <a:cubicBezTo>
                    <a:pt x="164" y="563"/>
                    <a:pt x="164" y="563"/>
                    <a:pt x="164" y="563"/>
                  </a:cubicBezTo>
                  <a:cubicBezTo>
                    <a:pt x="181" y="551"/>
                    <a:pt x="181" y="551"/>
                    <a:pt x="181" y="551"/>
                  </a:cubicBezTo>
                  <a:cubicBezTo>
                    <a:pt x="190" y="565"/>
                    <a:pt x="190" y="565"/>
                    <a:pt x="190" y="565"/>
                  </a:cubicBezTo>
                  <a:cubicBezTo>
                    <a:pt x="192" y="567"/>
                    <a:pt x="193" y="569"/>
                    <a:pt x="193" y="571"/>
                  </a:cubicBezTo>
                  <a:cubicBezTo>
                    <a:pt x="194" y="572"/>
                    <a:pt x="194" y="574"/>
                    <a:pt x="194" y="576"/>
                  </a:cubicBezTo>
                  <a:cubicBezTo>
                    <a:pt x="194" y="578"/>
                    <a:pt x="193" y="580"/>
                    <a:pt x="192" y="582"/>
                  </a:cubicBezTo>
                  <a:cubicBezTo>
                    <a:pt x="190" y="585"/>
                    <a:pt x="188" y="586"/>
                    <a:pt x="185" y="588"/>
                  </a:cubicBezTo>
                  <a:cubicBezTo>
                    <a:pt x="180" y="592"/>
                    <a:pt x="176" y="593"/>
                    <a:pt x="172" y="593"/>
                  </a:cubicBezTo>
                  <a:cubicBezTo>
                    <a:pt x="168" y="592"/>
                    <a:pt x="164" y="589"/>
                    <a:pt x="161" y="585"/>
                  </a:cubicBezTo>
                  <a:cubicBezTo>
                    <a:pt x="152" y="571"/>
                    <a:pt x="152" y="571"/>
                    <a:pt x="152" y="571"/>
                  </a:cubicBezTo>
                  <a:cubicBezTo>
                    <a:pt x="157" y="568"/>
                    <a:pt x="157" y="568"/>
                    <a:pt x="157" y="568"/>
                  </a:cubicBezTo>
                  <a:cubicBezTo>
                    <a:pt x="166" y="581"/>
                    <a:pt x="166" y="581"/>
                    <a:pt x="166" y="581"/>
                  </a:cubicBezTo>
                  <a:cubicBezTo>
                    <a:pt x="168" y="584"/>
                    <a:pt x="170" y="585"/>
                    <a:pt x="172" y="585"/>
                  </a:cubicBezTo>
                  <a:cubicBezTo>
                    <a:pt x="174" y="585"/>
                    <a:pt x="177" y="584"/>
                    <a:pt x="181" y="582"/>
                  </a:cubicBezTo>
                  <a:cubicBezTo>
                    <a:pt x="184" y="579"/>
                    <a:pt x="186" y="577"/>
                    <a:pt x="186" y="575"/>
                  </a:cubicBezTo>
                  <a:cubicBezTo>
                    <a:pt x="187" y="573"/>
                    <a:pt x="187" y="571"/>
                    <a:pt x="185" y="568"/>
                  </a:cubicBezTo>
                  <a:cubicBezTo>
                    <a:pt x="180" y="561"/>
                    <a:pt x="180" y="561"/>
                    <a:pt x="180" y="561"/>
                  </a:cubicBezTo>
                  <a:cubicBezTo>
                    <a:pt x="173" y="566"/>
                    <a:pt x="173" y="566"/>
                    <a:pt x="173" y="566"/>
                  </a:cubicBezTo>
                  <a:cubicBezTo>
                    <a:pt x="179" y="574"/>
                    <a:pt x="179" y="574"/>
                    <a:pt x="179" y="574"/>
                  </a:cubicBezTo>
                  <a:close/>
                  <a:moveTo>
                    <a:pt x="143" y="556"/>
                  </a:moveTo>
                  <a:cubicBezTo>
                    <a:pt x="162" y="546"/>
                    <a:pt x="162" y="546"/>
                    <a:pt x="162" y="546"/>
                  </a:cubicBezTo>
                  <a:cubicBezTo>
                    <a:pt x="165" y="545"/>
                    <a:pt x="166" y="543"/>
                    <a:pt x="167" y="541"/>
                  </a:cubicBezTo>
                  <a:cubicBezTo>
                    <a:pt x="168" y="540"/>
                    <a:pt x="167" y="537"/>
                    <a:pt x="166" y="535"/>
                  </a:cubicBezTo>
                  <a:cubicBezTo>
                    <a:pt x="165" y="532"/>
                    <a:pt x="163" y="531"/>
                    <a:pt x="162" y="530"/>
                  </a:cubicBezTo>
                  <a:cubicBezTo>
                    <a:pt x="160" y="530"/>
                    <a:pt x="158" y="530"/>
                    <a:pt x="155" y="532"/>
                  </a:cubicBezTo>
                  <a:cubicBezTo>
                    <a:pt x="136" y="541"/>
                    <a:pt x="136" y="541"/>
                    <a:pt x="136" y="541"/>
                  </a:cubicBezTo>
                  <a:cubicBezTo>
                    <a:pt x="132" y="535"/>
                    <a:pt x="132" y="535"/>
                    <a:pt x="132" y="535"/>
                  </a:cubicBezTo>
                  <a:cubicBezTo>
                    <a:pt x="151" y="525"/>
                    <a:pt x="151" y="525"/>
                    <a:pt x="151" y="525"/>
                  </a:cubicBezTo>
                  <a:cubicBezTo>
                    <a:pt x="154" y="524"/>
                    <a:pt x="155" y="523"/>
                    <a:pt x="157" y="523"/>
                  </a:cubicBezTo>
                  <a:cubicBezTo>
                    <a:pt x="158" y="522"/>
                    <a:pt x="160" y="522"/>
                    <a:pt x="161" y="522"/>
                  </a:cubicBezTo>
                  <a:cubicBezTo>
                    <a:pt x="163" y="523"/>
                    <a:pt x="165" y="524"/>
                    <a:pt x="166" y="526"/>
                  </a:cubicBezTo>
                  <a:cubicBezTo>
                    <a:pt x="168" y="527"/>
                    <a:pt x="170" y="529"/>
                    <a:pt x="171" y="532"/>
                  </a:cubicBezTo>
                  <a:cubicBezTo>
                    <a:pt x="173" y="535"/>
                    <a:pt x="173" y="538"/>
                    <a:pt x="174" y="540"/>
                  </a:cubicBezTo>
                  <a:cubicBezTo>
                    <a:pt x="174" y="542"/>
                    <a:pt x="174" y="544"/>
                    <a:pt x="173" y="546"/>
                  </a:cubicBezTo>
                  <a:cubicBezTo>
                    <a:pt x="172" y="547"/>
                    <a:pt x="172" y="548"/>
                    <a:pt x="170" y="549"/>
                  </a:cubicBezTo>
                  <a:cubicBezTo>
                    <a:pt x="169" y="550"/>
                    <a:pt x="168" y="551"/>
                    <a:pt x="165" y="553"/>
                  </a:cubicBezTo>
                  <a:cubicBezTo>
                    <a:pt x="146" y="562"/>
                    <a:pt x="146" y="562"/>
                    <a:pt x="146" y="562"/>
                  </a:cubicBezTo>
                  <a:cubicBezTo>
                    <a:pt x="143" y="556"/>
                    <a:pt x="143" y="556"/>
                    <a:pt x="143" y="556"/>
                  </a:cubicBezTo>
                  <a:close/>
                  <a:moveTo>
                    <a:pt x="130" y="509"/>
                  </a:moveTo>
                  <a:cubicBezTo>
                    <a:pt x="141" y="499"/>
                    <a:pt x="141" y="499"/>
                    <a:pt x="141" y="499"/>
                  </a:cubicBezTo>
                  <a:cubicBezTo>
                    <a:pt x="145" y="509"/>
                    <a:pt x="145" y="509"/>
                    <a:pt x="145" y="509"/>
                  </a:cubicBezTo>
                  <a:cubicBezTo>
                    <a:pt x="130" y="509"/>
                    <a:pt x="130" y="509"/>
                    <a:pt x="130" y="509"/>
                  </a:cubicBezTo>
                  <a:close/>
                  <a:moveTo>
                    <a:pt x="125" y="514"/>
                  </a:moveTo>
                  <a:cubicBezTo>
                    <a:pt x="122" y="507"/>
                    <a:pt x="122" y="507"/>
                    <a:pt x="122" y="507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47" y="495"/>
                    <a:pt x="147" y="495"/>
                    <a:pt x="147" y="495"/>
                  </a:cubicBezTo>
                  <a:cubicBezTo>
                    <a:pt x="152" y="509"/>
                    <a:pt x="152" y="509"/>
                    <a:pt x="152" y="509"/>
                  </a:cubicBezTo>
                  <a:cubicBezTo>
                    <a:pt x="160" y="510"/>
                    <a:pt x="160" y="510"/>
                    <a:pt x="160" y="510"/>
                  </a:cubicBezTo>
                  <a:cubicBezTo>
                    <a:pt x="163" y="517"/>
                    <a:pt x="163" y="517"/>
                    <a:pt x="163" y="517"/>
                  </a:cubicBezTo>
                  <a:cubicBezTo>
                    <a:pt x="125" y="514"/>
                    <a:pt x="125" y="514"/>
                    <a:pt x="125" y="514"/>
                  </a:cubicBezTo>
                  <a:close/>
                  <a:moveTo>
                    <a:pt x="115" y="485"/>
                  </a:moveTo>
                  <a:cubicBezTo>
                    <a:pt x="113" y="475"/>
                    <a:pt x="113" y="475"/>
                    <a:pt x="113" y="475"/>
                  </a:cubicBezTo>
                  <a:cubicBezTo>
                    <a:pt x="135" y="456"/>
                    <a:pt x="135" y="456"/>
                    <a:pt x="135" y="456"/>
                  </a:cubicBezTo>
                  <a:cubicBezTo>
                    <a:pt x="111" y="461"/>
                    <a:pt x="111" y="461"/>
                    <a:pt x="111" y="461"/>
                  </a:cubicBezTo>
                  <a:cubicBezTo>
                    <a:pt x="109" y="454"/>
                    <a:pt x="109" y="454"/>
                    <a:pt x="109" y="454"/>
                  </a:cubicBezTo>
                  <a:cubicBezTo>
                    <a:pt x="144" y="447"/>
                    <a:pt x="144" y="447"/>
                    <a:pt x="144" y="447"/>
                  </a:cubicBezTo>
                  <a:cubicBezTo>
                    <a:pt x="145" y="456"/>
                    <a:pt x="145" y="456"/>
                    <a:pt x="145" y="456"/>
                  </a:cubicBezTo>
                  <a:cubicBezTo>
                    <a:pt x="122" y="476"/>
                    <a:pt x="122" y="476"/>
                    <a:pt x="122" y="476"/>
                  </a:cubicBezTo>
                  <a:cubicBezTo>
                    <a:pt x="148" y="471"/>
                    <a:pt x="148" y="471"/>
                    <a:pt x="148" y="471"/>
                  </a:cubicBezTo>
                  <a:cubicBezTo>
                    <a:pt x="149" y="478"/>
                    <a:pt x="149" y="478"/>
                    <a:pt x="149" y="478"/>
                  </a:cubicBezTo>
                  <a:cubicBezTo>
                    <a:pt x="115" y="485"/>
                    <a:pt x="115" y="485"/>
                    <a:pt x="115" y="485"/>
                  </a:cubicBezTo>
                  <a:close/>
                  <a:moveTo>
                    <a:pt x="128" y="427"/>
                  </a:moveTo>
                  <a:cubicBezTo>
                    <a:pt x="121" y="427"/>
                    <a:pt x="121" y="427"/>
                    <a:pt x="121" y="427"/>
                  </a:cubicBezTo>
                  <a:cubicBezTo>
                    <a:pt x="121" y="410"/>
                    <a:pt x="121" y="410"/>
                    <a:pt x="121" y="410"/>
                  </a:cubicBezTo>
                  <a:cubicBezTo>
                    <a:pt x="142" y="409"/>
                    <a:pt x="142" y="409"/>
                    <a:pt x="142" y="409"/>
                  </a:cubicBezTo>
                  <a:cubicBezTo>
                    <a:pt x="142" y="425"/>
                    <a:pt x="142" y="425"/>
                    <a:pt x="142" y="425"/>
                  </a:cubicBezTo>
                  <a:cubicBezTo>
                    <a:pt x="142" y="428"/>
                    <a:pt x="142" y="431"/>
                    <a:pt x="142" y="432"/>
                  </a:cubicBezTo>
                  <a:cubicBezTo>
                    <a:pt x="141" y="434"/>
                    <a:pt x="140" y="435"/>
                    <a:pt x="139" y="437"/>
                  </a:cubicBezTo>
                  <a:cubicBezTo>
                    <a:pt x="138" y="439"/>
                    <a:pt x="136" y="440"/>
                    <a:pt x="134" y="441"/>
                  </a:cubicBezTo>
                  <a:cubicBezTo>
                    <a:pt x="132" y="442"/>
                    <a:pt x="129" y="442"/>
                    <a:pt x="126" y="443"/>
                  </a:cubicBezTo>
                  <a:cubicBezTo>
                    <a:pt x="119" y="443"/>
                    <a:pt x="115" y="441"/>
                    <a:pt x="112" y="439"/>
                  </a:cubicBezTo>
                  <a:cubicBezTo>
                    <a:pt x="109" y="436"/>
                    <a:pt x="107" y="432"/>
                    <a:pt x="107" y="426"/>
                  </a:cubicBezTo>
                  <a:cubicBezTo>
                    <a:pt x="107" y="410"/>
                    <a:pt x="107" y="410"/>
                    <a:pt x="107" y="410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113" y="426"/>
                    <a:pt x="113" y="426"/>
                    <a:pt x="113" y="426"/>
                  </a:cubicBezTo>
                  <a:cubicBezTo>
                    <a:pt x="113" y="429"/>
                    <a:pt x="114" y="431"/>
                    <a:pt x="116" y="432"/>
                  </a:cubicBezTo>
                  <a:cubicBezTo>
                    <a:pt x="118" y="434"/>
                    <a:pt x="121" y="434"/>
                    <a:pt x="125" y="434"/>
                  </a:cubicBezTo>
                  <a:cubicBezTo>
                    <a:pt x="129" y="434"/>
                    <a:pt x="132" y="433"/>
                    <a:pt x="133" y="432"/>
                  </a:cubicBezTo>
                  <a:cubicBezTo>
                    <a:pt x="135" y="431"/>
                    <a:pt x="136" y="428"/>
                    <a:pt x="136" y="425"/>
                  </a:cubicBezTo>
                  <a:cubicBezTo>
                    <a:pt x="136" y="417"/>
                    <a:pt x="136" y="417"/>
                    <a:pt x="136" y="417"/>
                  </a:cubicBezTo>
                  <a:cubicBezTo>
                    <a:pt x="127" y="417"/>
                    <a:pt x="127" y="417"/>
                    <a:pt x="127" y="417"/>
                  </a:cubicBezTo>
                  <a:cubicBezTo>
                    <a:pt x="128" y="427"/>
                    <a:pt x="128" y="427"/>
                    <a:pt x="128" y="427"/>
                  </a:cubicBezTo>
                  <a:close/>
                  <a:moveTo>
                    <a:pt x="115" y="385"/>
                  </a:moveTo>
                  <a:cubicBezTo>
                    <a:pt x="115" y="385"/>
                    <a:pt x="115" y="385"/>
                    <a:pt x="115" y="385"/>
                  </a:cubicBezTo>
                  <a:cubicBezTo>
                    <a:pt x="115" y="382"/>
                    <a:pt x="116" y="379"/>
                    <a:pt x="117" y="378"/>
                  </a:cubicBezTo>
                  <a:cubicBezTo>
                    <a:pt x="119" y="377"/>
                    <a:pt x="122" y="377"/>
                    <a:pt x="127" y="377"/>
                  </a:cubicBezTo>
                  <a:cubicBezTo>
                    <a:pt x="131" y="377"/>
                    <a:pt x="134" y="378"/>
                    <a:pt x="135" y="379"/>
                  </a:cubicBezTo>
                  <a:cubicBezTo>
                    <a:pt x="137" y="381"/>
                    <a:pt x="138" y="383"/>
                    <a:pt x="137" y="386"/>
                  </a:cubicBezTo>
                  <a:cubicBezTo>
                    <a:pt x="137" y="395"/>
                    <a:pt x="137" y="395"/>
                    <a:pt x="137" y="395"/>
                  </a:cubicBezTo>
                  <a:cubicBezTo>
                    <a:pt x="114" y="394"/>
                    <a:pt x="114" y="394"/>
                    <a:pt x="114" y="394"/>
                  </a:cubicBezTo>
                  <a:cubicBezTo>
                    <a:pt x="115" y="385"/>
                    <a:pt x="115" y="385"/>
                    <a:pt x="115" y="385"/>
                  </a:cubicBezTo>
                  <a:close/>
                  <a:moveTo>
                    <a:pt x="107" y="401"/>
                  </a:moveTo>
                  <a:cubicBezTo>
                    <a:pt x="108" y="384"/>
                    <a:pt x="108" y="384"/>
                    <a:pt x="108" y="384"/>
                  </a:cubicBezTo>
                  <a:cubicBezTo>
                    <a:pt x="109" y="378"/>
                    <a:pt x="111" y="374"/>
                    <a:pt x="114" y="372"/>
                  </a:cubicBezTo>
                  <a:cubicBezTo>
                    <a:pt x="117" y="369"/>
                    <a:pt x="122" y="368"/>
                    <a:pt x="128" y="369"/>
                  </a:cubicBezTo>
                  <a:cubicBezTo>
                    <a:pt x="131" y="369"/>
                    <a:pt x="134" y="370"/>
                    <a:pt x="136" y="371"/>
                  </a:cubicBezTo>
                  <a:cubicBezTo>
                    <a:pt x="138" y="372"/>
                    <a:pt x="140" y="373"/>
                    <a:pt x="141" y="375"/>
                  </a:cubicBezTo>
                  <a:cubicBezTo>
                    <a:pt x="142" y="377"/>
                    <a:pt x="143" y="378"/>
                    <a:pt x="143" y="380"/>
                  </a:cubicBezTo>
                  <a:cubicBezTo>
                    <a:pt x="144" y="381"/>
                    <a:pt x="144" y="384"/>
                    <a:pt x="144" y="387"/>
                  </a:cubicBezTo>
                  <a:cubicBezTo>
                    <a:pt x="142" y="403"/>
                    <a:pt x="142" y="403"/>
                    <a:pt x="142" y="403"/>
                  </a:cubicBezTo>
                  <a:cubicBezTo>
                    <a:pt x="107" y="401"/>
                    <a:pt x="107" y="401"/>
                    <a:pt x="107" y="401"/>
                  </a:cubicBezTo>
                  <a:close/>
                  <a:moveTo>
                    <a:pt x="128" y="362"/>
                  </a:moveTo>
                  <a:cubicBezTo>
                    <a:pt x="123" y="361"/>
                    <a:pt x="118" y="359"/>
                    <a:pt x="116" y="355"/>
                  </a:cubicBezTo>
                  <a:cubicBezTo>
                    <a:pt x="114" y="351"/>
                    <a:pt x="114" y="347"/>
                    <a:pt x="115" y="341"/>
                  </a:cubicBezTo>
                  <a:cubicBezTo>
                    <a:pt x="116" y="335"/>
                    <a:pt x="119" y="331"/>
                    <a:pt x="122" y="329"/>
                  </a:cubicBezTo>
                  <a:cubicBezTo>
                    <a:pt x="126" y="327"/>
                    <a:pt x="131" y="326"/>
                    <a:pt x="137" y="328"/>
                  </a:cubicBezTo>
                  <a:cubicBezTo>
                    <a:pt x="143" y="329"/>
                    <a:pt x="147" y="332"/>
                    <a:pt x="149" y="335"/>
                  </a:cubicBezTo>
                  <a:cubicBezTo>
                    <a:pt x="152" y="339"/>
                    <a:pt x="152" y="343"/>
                    <a:pt x="151" y="349"/>
                  </a:cubicBezTo>
                  <a:cubicBezTo>
                    <a:pt x="149" y="355"/>
                    <a:pt x="147" y="359"/>
                    <a:pt x="143" y="361"/>
                  </a:cubicBezTo>
                  <a:cubicBezTo>
                    <a:pt x="140" y="364"/>
                    <a:pt x="135" y="364"/>
                    <a:pt x="128" y="362"/>
                  </a:cubicBezTo>
                  <a:close/>
                  <a:moveTo>
                    <a:pt x="121" y="342"/>
                  </a:moveTo>
                  <a:cubicBezTo>
                    <a:pt x="122" y="339"/>
                    <a:pt x="123" y="337"/>
                    <a:pt x="125" y="336"/>
                  </a:cubicBezTo>
                  <a:cubicBezTo>
                    <a:pt x="128" y="335"/>
                    <a:pt x="131" y="335"/>
                    <a:pt x="135" y="336"/>
                  </a:cubicBezTo>
                  <a:cubicBezTo>
                    <a:pt x="139" y="337"/>
                    <a:pt x="142" y="338"/>
                    <a:pt x="143" y="340"/>
                  </a:cubicBezTo>
                  <a:cubicBezTo>
                    <a:pt x="145" y="342"/>
                    <a:pt x="145" y="345"/>
                    <a:pt x="145" y="348"/>
                  </a:cubicBezTo>
                  <a:cubicBezTo>
                    <a:pt x="144" y="351"/>
                    <a:pt x="142" y="353"/>
                    <a:pt x="140" y="354"/>
                  </a:cubicBezTo>
                  <a:cubicBezTo>
                    <a:pt x="138" y="355"/>
                    <a:pt x="135" y="355"/>
                    <a:pt x="130" y="354"/>
                  </a:cubicBezTo>
                  <a:cubicBezTo>
                    <a:pt x="126" y="353"/>
                    <a:pt x="124" y="352"/>
                    <a:pt x="122" y="350"/>
                  </a:cubicBezTo>
                  <a:cubicBezTo>
                    <a:pt x="121" y="348"/>
                    <a:pt x="120" y="345"/>
                    <a:pt x="121" y="342"/>
                  </a:cubicBezTo>
                  <a:close/>
                  <a:moveTo>
                    <a:pt x="124" y="314"/>
                  </a:moveTo>
                  <a:cubicBezTo>
                    <a:pt x="127" y="305"/>
                    <a:pt x="127" y="305"/>
                    <a:pt x="127" y="305"/>
                  </a:cubicBezTo>
                  <a:cubicBezTo>
                    <a:pt x="156" y="301"/>
                    <a:pt x="156" y="301"/>
                    <a:pt x="156" y="301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5" y="284"/>
                    <a:pt x="135" y="284"/>
                    <a:pt x="135" y="284"/>
                  </a:cubicBezTo>
                  <a:cubicBezTo>
                    <a:pt x="168" y="298"/>
                    <a:pt x="168" y="298"/>
                    <a:pt x="168" y="298"/>
                  </a:cubicBezTo>
                  <a:cubicBezTo>
                    <a:pt x="165" y="306"/>
                    <a:pt x="165" y="306"/>
                    <a:pt x="165" y="306"/>
                  </a:cubicBezTo>
                  <a:cubicBezTo>
                    <a:pt x="135" y="310"/>
                    <a:pt x="135" y="310"/>
                    <a:pt x="135" y="310"/>
                  </a:cubicBezTo>
                  <a:cubicBezTo>
                    <a:pt x="159" y="320"/>
                    <a:pt x="159" y="320"/>
                    <a:pt x="159" y="320"/>
                  </a:cubicBezTo>
                  <a:cubicBezTo>
                    <a:pt x="156" y="327"/>
                    <a:pt x="156" y="327"/>
                    <a:pt x="156" y="327"/>
                  </a:cubicBezTo>
                  <a:cubicBezTo>
                    <a:pt x="124" y="314"/>
                    <a:pt x="124" y="314"/>
                    <a:pt x="124" y="314"/>
                  </a:cubicBezTo>
                  <a:close/>
                  <a:moveTo>
                    <a:pt x="166" y="273"/>
                  </a:moveTo>
                  <a:cubicBezTo>
                    <a:pt x="160" y="269"/>
                    <a:pt x="160" y="269"/>
                    <a:pt x="160" y="269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87" y="265"/>
                    <a:pt x="187" y="265"/>
                    <a:pt x="187" y="265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8" y="281"/>
                    <a:pt x="176" y="283"/>
                    <a:pt x="175" y="284"/>
                  </a:cubicBezTo>
                  <a:cubicBezTo>
                    <a:pt x="174" y="286"/>
                    <a:pt x="172" y="286"/>
                    <a:pt x="171" y="287"/>
                  </a:cubicBezTo>
                  <a:cubicBezTo>
                    <a:pt x="168" y="288"/>
                    <a:pt x="166" y="288"/>
                    <a:pt x="164" y="288"/>
                  </a:cubicBezTo>
                  <a:cubicBezTo>
                    <a:pt x="161" y="287"/>
                    <a:pt x="159" y="286"/>
                    <a:pt x="156" y="284"/>
                  </a:cubicBezTo>
                  <a:cubicBezTo>
                    <a:pt x="151" y="281"/>
                    <a:pt x="147" y="278"/>
                    <a:pt x="146" y="274"/>
                  </a:cubicBezTo>
                  <a:cubicBezTo>
                    <a:pt x="145" y="270"/>
                    <a:pt x="146" y="265"/>
                    <a:pt x="149" y="260"/>
                  </a:cubicBezTo>
                  <a:cubicBezTo>
                    <a:pt x="157" y="247"/>
                    <a:pt x="157" y="247"/>
                    <a:pt x="157" y="247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54" y="264"/>
                    <a:pt x="154" y="264"/>
                    <a:pt x="154" y="264"/>
                  </a:cubicBezTo>
                  <a:cubicBezTo>
                    <a:pt x="153" y="266"/>
                    <a:pt x="152" y="268"/>
                    <a:pt x="153" y="271"/>
                  </a:cubicBezTo>
                  <a:cubicBezTo>
                    <a:pt x="154" y="273"/>
                    <a:pt x="156" y="275"/>
                    <a:pt x="160" y="277"/>
                  </a:cubicBezTo>
                  <a:cubicBezTo>
                    <a:pt x="163" y="279"/>
                    <a:pt x="166" y="280"/>
                    <a:pt x="168" y="280"/>
                  </a:cubicBezTo>
                  <a:cubicBezTo>
                    <a:pt x="170" y="279"/>
                    <a:pt x="172" y="278"/>
                    <a:pt x="174" y="276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1" y="264"/>
                    <a:pt x="171" y="264"/>
                    <a:pt x="171" y="264"/>
                  </a:cubicBezTo>
                  <a:cubicBezTo>
                    <a:pt x="166" y="273"/>
                    <a:pt x="166" y="273"/>
                    <a:pt x="166" y="273"/>
                  </a:cubicBezTo>
                  <a:close/>
                  <a:moveTo>
                    <a:pt x="197" y="199"/>
                  </a:moveTo>
                  <a:cubicBezTo>
                    <a:pt x="211" y="215"/>
                    <a:pt x="211" y="215"/>
                    <a:pt x="211" y="215"/>
                  </a:cubicBezTo>
                  <a:cubicBezTo>
                    <a:pt x="213" y="217"/>
                    <a:pt x="215" y="218"/>
                    <a:pt x="217" y="219"/>
                  </a:cubicBezTo>
                  <a:cubicBezTo>
                    <a:pt x="219" y="219"/>
                    <a:pt x="221" y="218"/>
                    <a:pt x="223" y="216"/>
                  </a:cubicBezTo>
                  <a:cubicBezTo>
                    <a:pt x="225" y="214"/>
                    <a:pt x="226" y="212"/>
                    <a:pt x="226" y="210"/>
                  </a:cubicBezTo>
                  <a:cubicBezTo>
                    <a:pt x="226" y="208"/>
                    <a:pt x="225" y="206"/>
                    <a:pt x="223" y="204"/>
                  </a:cubicBezTo>
                  <a:cubicBezTo>
                    <a:pt x="208" y="188"/>
                    <a:pt x="208" y="188"/>
                    <a:pt x="208" y="188"/>
                  </a:cubicBezTo>
                  <a:cubicBezTo>
                    <a:pt x="214" y="183"/>
                    <a:pt x="214" y="183"/>
                    <a:pt x="214" y="183"/>
                  </a:cubicBezTo>
                  <a:cubicBezTo>
                    <a:pt x="228" y="199"/>
                    <a:pt x="228" y="199"/>
                    <a:pt x="228" y="199"/>
                  </a:cubicBezTo>
                  <a:cubicBezTo>
                    <a:pt x="230" y="201"/>
                    <a:pt x="231" y="202"/>
                    <a:pt x="232" y="203"/>
                  </a:cubicBezTo>
                  <a:cubicBezTo>
                    <a:pt x="233" y="205"/>
                    <a:pt x="233" y="206"/>
                    <a:pt x="233" y="207"/>
                  </a:cubicBezTo>
                  <a:cubicBezTo>
                    <a:pt x="233" y="209"/>
                    <a:pt x="233" y="212"/>
                    <a:pt x="232" y="214"/>
                  </a:cubicBezTo>
                  <a:cubicBezTo>
                    <a:pt x="231" y="216"/>
                    <a:pt x="229" y="218"/>
                    <a:pt x="227" y="220"/>
                  </a:cubicBezTo>
                  <a:cubicBezTo>
                    <a:pt x="224" y="222"/>
                    <a:pt x="222" y="224"/>
                    <a:pt x="220" y="225"/>
                  </a:cubicBezTo>
                  <a:cubicBezTo>
                    <a:pt x="218" y="226"/>
                    <a:pt x="216" y="226"/>
                    <a:pt x="214" y="226"/>
                  </a:cubicBezTo>
                  <a:cubicBezTo>
                    <a:pt x="213" y="225"/>
                    <a:pt x="212" y="225"/>
                    <a:pt x="210" y="224"/>
                  </a:cubicBezTo>
                  <a:cubicBezTo>
                    <a:pt x="209" y="223"/>
                    <a:pt x="208" y="222"/>
                    <a:pt x="206" y="22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97" y="199"/>
                    <a:pt x="197" y="199"/>
                    <a:pt x="197" y="199"/>
                  </a:cubicBezTo>
                  <a:close/>
                  <a:moveTo>
                    <a:pt x="222" y="175"/>
                  </a:moveTo>
                  <a:cubicBezTo>
                    <a:pt x="230" y="170"/>
                    <a:pt x="230" y="170"/>
                    <a:pt x="230" y="170"/>
                  </a:cubicBezTo>
                  <a:cubicBezTo>
                    <a:pt x="256" y="183"/>
                    <a:pt x="256" y="183"/>
                    <a:pt x="256" y="183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68" y="187"/>
                    <a:pt x="268" y="187"/>
                    <a:pt x="268" y="187"/>
                  </a:cubicBezTo>
                  <a:cubicBezTo>
                    <a:pt x="261" y="192"/>
                    <a:pt x="261" y="192"/>
                    <a:pt x="261" y="192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49" y="200"/>
                    <a:pt x="249" y="200"/>
                    <a:pt x="249" y="200"/>
                  </a:cubicBezTo>
                  <a:cubicBezTo>
                    <a:pt x="243" y="205"/>
                    <a:pt x="243" y="205"/>
                    <a:pt x="243" y="205"/>
                  </a:cubicBezTo>
                  <a:cubicBezTo>
                    <a:pt x="222" y="175"/>
                    <a:pt x="222" y="175"/>
                    <a:pt x="222" y="175"/>
                  </a:cubicBezTo>
                  <a:close/>
                  <a:moveTo>
                    <a:pt x="282" y="180"/>
                  </a:moveTo>
                  <a:cubicBezTo>
                    <a:pt x="275" y="184"/>
                    <a:pt x="275" y="184"/>
                    <a:pt x="275" y="184"/>
                  </a:cubicBezTo>
                  <a:cubicBezTo>
                    <a:pt x="257" y="153"/>
                    <a:pt x="257" y="153"/>
                    <a:pt x="257" y="153"/>
                  </a:cubicBezTo>
                  <a:cubicBezTo>
                    <a:pt x="264" y="149"/>
                    <a:pt x="264" y="149"/>
                    <a:pt x="264" y="149"/>
                  </a:cubicBezTo>
                  <a:cubicBezTo>
                    <a:pt x="282" y="180"/>
                    <a:pt x="282" y="180"/>
                    <a:pt x="282" y="180"/>
                  </a:cubicBezTo>
                  <a:close/>
                  <a:moveTo>
                    <a:pt x="297" y="172"/>
                  </a:moveTo>
                  <a:cubicBezTo>
                    <a:pt x="268" y="146"/>
                    <a:pt x="268" y="146"/>
                    <a:pt x="268" y="146"/>
                  </a:cubicBezTo>
                  <a:cubicBezTo>
                    <a:pt x="276" y="142"/>
                    <a:pt x="276" y="142"/>
                    <a:pt x="276" y="142"/>
                  </a:cubicBezTo>
                  <a:cubicBezTo>
                    <a:pt x="297" y="162"/>
                    <a:pt x="297" y="162"/>
                    <a:pt x="297" y="162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297" y="172"/>
                    <a:pt x="297" y="172"/>
                    <a:pt x="297" y="172"/>
                  </a:cubicBezTo>
                  <a:close/>
                  <a:moveTo>
                    <a:pt x="325" y="130"/>
                  </a:moveTo>
                  <a:cubicBezTo>
                    <a:pt x="323" y="131"/>
                    <a:pt x="321" y="132"/>
                    <a:pt x="320" y="134"/>
                  </a:cubicBezTo>
                  <a:cubicBezTo>
                    <a:pt x="319" y="136"/>
                    <a:pt x="319" y="138"/>
                    <a:pt x="320" y="141"/>
                  </a:cubicBezTo>
                  <a:cubicBezTo>
                    <a:pt x="339" y="135"/>
                    <a:pt x="339" y="135"/>
                    <a:pt x="339" y="135"/>
                  </a:cubicBezTo>
                  <a:cubicBezTo>
                    <a:pt x="341" y="141"/>
                    <a:pt x="341" y="141"/>
                    <a:pt x="341" y="141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322" y="150"/>
                    <a:pt x="323" y="152"/>
                    <a:pt x="325" y="153"/>
                  </a:cubicBezTo>
                  <a:cubicBezTo>
                    <a:pt x="327" y="154"/>
                    <a:pt x="329" y="154"/>
                    <a:pt x="332" y="153"/>
                  </a:cubicBezTo>
                  <a:cubicBezTo>
                    <a:pt x="344" y="149"/>
                    <a:pt x="344" y="149"/>
                    <a:pt x="344" y="14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33" y="159"/>
                    <a:pt x="333" y="159"/>
                    <a:pt x="333" y="159"/>
                  </a:cubicBezTo>
                  <a:cubicBezTo>
                    <a:pt x="331" y="160"/>
                    <a:pt x="328" y="160"/>
                    <a:pt x="327" y="160"/>
                  </a:cubicBezTo>
                  <a:cubicBezTo>
                    <a:pt x="325" y="160"/>
                    <a:pt x="323" y="160"/>
                    <a:pt x="322" y="159"/>
                  </a:cubicBezTo>
                  <a:cubicBezTo>
                    <a:pt x="320" y="158"/>
                    <a:pt x="318" y="157"/>
                    <a:pt x="316" y="155"/>
                  </a:cubicBezTo>
                  <a:cubicBezTo>
                    <a:pt x="315" y="153"/>
                    <a:pt x="314" y="150"/>
                    <a:pt x="313" y="147"/>
                  </a:cubicBezTo>
                  <a:cubicBezTo>
                    <a:pt x="311" y="141"/>
                    <a:pt x="311" y="136"/>
                    <a:pt x="313" y="132"/>
                  </a:cubicBezTo>
                  <a:cubicBezTo>
                    <a:pt x="315" y="129"/>
                    <a:pt x="318" y="126"/>
                    <a:pt x="324" y="124"/>
                  </a:cubicBezTo>
                  <a:cubicBezTo>
                    <a:pt x="335" y="121"/>
                    <a:pt x="335" y="121"/>
                    <a:pt x="335" y="121"/>
                  </a:cubicBezTo>
                  <a:cubicBezTo>
                    <a:pt x="337" y="127"/>
                    <a:pt x="337" y="127"/>
                    <a:pt x="337" y="127"/>
                  </a:cubicBezTo>
                  <a:cubicBezTo>
                    <a:pt x="325" y="130"/>
                    <a:pt x="325" y="130"/>
                    <a:pt x="325" y="130"/>
                  </a:cubicBezTo>
                  <a:close/>
                  <a:moveTo>
                    <a:pt x="364" y="122"/>
                  </a:moveTo>
                  <a:cubicBezTo>
                    <a:pt x="364" y="122"/>
                    <a:pt x="364" y="122"/>
                    <a:pt x="364" y="122"/>
                  </a:cubicBezTo>
                  <a:cubicBezTo>
                    <a:pt x="367" y="122"/>
                    <a:pt x="368" y="122"/>
                    <a:pt x="369" y="123"/>
                  </a:cubicBezTo>
                  <a:cubicBezTo>
                    <a:pt x="370" y="123"/>
                    <a:pt x="371" y="124"/>
                    <a:pt x="371" y="126"/>
                  </a:cubicBezTo>
                  <a:cubicBezTo>
                    <a:pt x="371" y="128"/>
                    <a:pt x="371" y="129"/>
                    <a:pt x="370" y="130"/>
                  </a:cubicBezTo>
                  <a:cubicBezTo>
                    <a:pt x="369" y="130"/>
                    <a:pt x="368" y="131"/>
                    <a:pt x="365" y="131"/>
                  </a:cubicBezTo>
                  <a:cubicBezTo>
                    <a:pt x="356" y="133"/>
                    <a:pt x="356" y="133"/>
                    <a:pt x="356" y="133"/>
                  </a:cubicBezTo>
                  <a:cubicBezTo>
                    <a:pt x="355" y="124"/>
                    <a:pt x="355" y="124"/>
                    <a:pt x="355" y="124"/>
                  </a:cubicBezTo>
                  <a:cubicBezTo>
                    <a:pt x="364" y="122"/>
                    <a:pt x="364" y="122"/>
                    <a:pt x="364" y="122"/>
                  </a:cubicBezTo>
                  <a:close/>
                  <a:moveTo>
                    <a:pt x="347" y="118"/>
                  </a:moveTo>
                  <a:cubicBezTo>
                    <a:pt x="365" y="116"/>
                    <a:pt x="365" y="116"/>
                    <a:pt x="365" y="116"/>
                  </a:cubicBezTo>
                  <a:cubicBezTo>
                    <a:pt x="369" y="115"/>
                    <a:pt x="372" y="116"/>
                    <a:pt x="375" y="117"/>
                  </a:cubicBezTo>
                  <a:cubicBezTo>
                    <a:pt x="377" y="119"/>
                    <a:pt x="378" y="121"/>
                    <a:pt x="379" y="125"/>
                  </a:cubicBezTo>
                  <a:cubicBezTo>
                    <a:pt x="379" y="128"/>
                    <a:pt x="379" y="130"/>
                    <a:pt x="378" y="132"/>
                  </a:cubicBezTo>
                  <a:cubicBezTo>
                    <a:pt x="377" y="134"/>
                    <a:pt x="375" y="135"/>
                    <a:pt x="373" y="136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76" y="151"/>
                    <a:pt x="376" y="151"/>
                    <a:pt x="376" y="151"/>
                  </a:cubicBezTo>
                  <a:cubicBezTo>
                    <a:pt x="366" y="138"/>
                    <a:pt x="366" y="138"/>
                    <a:pt x="366" y="138"/>
                  </a:cubicBezTo>
                  <a:cubicBezTo>
                    <a:pt x="357" y="139"/>
                    <a:pt x="357" y="139"/>
                    <a:pt x="357" y="139"/>
                  </a:cubicBezTo>
                  <a:cubicBezTo>
                    <a:pt x="359" y="153"/>
                    <a:pt x="359" y="153"/>
                    <a:pt x="359" y="153"/>
                  </a:cubicBezTo>
                  <a:cubicBezTo>
                    <a:pt x="352" y="154"/>
                    <a:pt x="352" y="154"/>
                    <a:pt x="352" y="154"/>
                  </a:cubicBezTo>
                  <a:cubicBezTo>
                    <a:pt x="347" y="118"/>
                    <a:pt x="347" y="118"/>
                    <a:pt x="347" y="118"/>
                  </a:cubicBezTo>
                  <a:close/>
                  <a:moveTo>
                    <a:pt x="419" y="121"/>
                  </a:moveTo>
                  <a:cubicBezTo>
                    <a:pt x="401" y="121"/>
                    <a:pt x="401" y="121"/>
                    <a:pt x="401" y="121"/>
                  </a:cubicBezTo>
                  <a:cubicBezTo>
                    <a:pt x="399" y="121"/>
                    <a:pt x="397" y="121"/>
                    <a:pt x="396" y="122"/>
                  </a:cubicBezTo>
                  <a:cubicBezTo>
                    <a:pt x="395" y="123"/>
                    <a:pt x="395" y="124"/>
                    <a:pt x="395" y="125"/>
                  </a:cubicBezTo>
                  <a:cubicBezTo>
                    <a:pt x="395" y="127"/>
                    <a:pt x="395" y="128"/>
                    <a:pt x="396" y="128"/>
                  </a:cubicBezTo>
                  <a:cubicBezTo>
                    <a:pt x="397" y="129"/>
                    <a:pt x="398" y="129"/>
                    <a:pt x="399" y="129"/>
                  </a:cubicBezTo>
                  <a:cubicBezTo>
                    <a:pt x="409" y="129"/>
                    <a:pt x="409" y="129"/>
                    <a:pt x="409" y="129"/>
                  </a:cubicBezTo>
                  <a:cubicBezTo>
                    <a:pt x="413" y="130"/>
                    <a:pt x="416" y="130"/>
                    <a:pt x="418" y="132"/>
                  </a:cubicBezTo>
                  <a:cubicBezTo>
                    <a:pt x="420" y="134"/>
                    <a:pt x="420" y="136"/>
                    <a:pt x="420" y="140"/>
                  </a:cubicBezTo>
                  <a:cubicBezTo>
                    <a:pt x="420" y="144"/>
                    <a:pt x="419" y="146"/>
                    <a:pt x="417" y="148"/>
                  </a:cubicBezTo>
                  <a:cubicBezTo>
                    <a:pt x="415" y="150"/>
                    <a:pt x="412" y="150"/>
                    <a:pt x="408" y="150"/>
                  </a:cubicBezTo>
                  <a:cubicBezTo>
                    <a:pt x="388" y="150"/>
                    <a:pt x="388" y="150"/>
                    <a:pt x="388" y="150"/>
                  </a:cubicBezTo>
                  <a:cubicBezTo>
                    <a:pt x="388" y="144"/>
                    <a:pt x="388" y="144"/>
                    <a:pt x="388" y="144"/>
                  </a:cubicBezTo>
                  <a:cubicBezTo>
                    <a:pt x="407" y="144"/>
                    <a:pt x="407" y="144"/>
                    <a:pt x="407" y="144"/>
                  </a:cubicBezTo>
                  <a:cubicBezTo>
                    <a:pt x="409" y="144"/>
                    <a:pt x="410" y="144"/>
                    <a:pt x="411" y="143"/>
                  </a:cubicBezTo>
                  <a:cubicBezTo>
                    <a:pt x="412" y="142"/>
                    <a:pt x="413" y="141"/>
                    <a:pt x="413" y="140"/>
                  </a:cubicBezTo>
                  <a:cubicBezTo>
                    <a:pt x="413" y="139"/>
                    <a:pt x="412" y="137"/>
                    <a:pt x="411" y="137"/>
                  </a:cubicBezTo>
                  <a:cubicBezTo>
                    <a:pt x="411" y="136"/>
                    <a:pt x="409" y="136"/>
                    <a:pt x="407" y="136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5" y="136"/>
                    <a:pt x="392" y="135"/>
                    <a:pt x="390" y="133"/>
                  </a:cubicBezTo>
                  <a:cubicBezTo>
                    <a:pt x="388" y="131"/>
                    <a:pt x="387" y="129"/>
                    <a:pt x="387" y="125"/>
                  </a:cubicBezTo>
                  <a:cubicBezTo>
                    <a:pt x="387" y="121"/>
                    <a:pt x="388" y="119"/>
                    <a:pt x="390" y="117"/>
                  </a:cubicBezTo>
                  <a:cubicBezTo>
                    <a:pt x="392" y="115"/>
                    <a:pt x="395" y="114"/>
                    <a:pt x="400" y="114"/>
                  </a:cubicBezTo>
                  <a:cubicBezTo>
                    <a:pt x="419" y="115"/>
                    <a:pt x="419" y="115"/>
                    <a:pt x="419" y="115"/>
                  </a:cubicBezTo>
                  <a:cubicBezTo>
                    <a:pt x="419" y="121"/>
                    <a:pt x="419" y="121"/>
                    <a:pt x="419" y="121"/>
                  </a:cubicBezTo>
                  <a:close/>
                  <a:moveTo>
                    <a:pt x="433" y="152"/>
                  </a:moveTo>
                  <a:cubicBezTo>
                    <a:pt x="426" y="151"/>
                    <a:pt x="426" y="151"/>
                    <a:pt x="426" y="151"/>
                  </a:cubicBezTo>
                  <a:cubicBezTo>
                    <a:pt x="431" y="115"/>
                    <a:pt x="431" y="115"/>
                    <a:pt x="431" y="115"/>
                  </a:cubicBezTo>
                  <a:cubicBezTo>
                    <a:pt x="438" y="117"/>
                    <a:pt x="438" y="117"/>
                    <a:pt x="438" y="117"/>
                  </a:cubicBezTo>
                  <a:cubicBezTo>
                    <a:pt x="433" y="152"/>
                    <a:pt x="433" y="152"/>
                    <a:pt x="433" y="152"/>
                  </a:cubicBezTo>
                  <a:close/>
                  <a:moveTo>
                    <a:pt x="453" y="126"/>
                  </a:moveTo>
                  <a:cubicBezTo>
                    <a:pt x="442" y="124"/>
                    <a:pt x="442" y="124"/>
                    <a:pt x="442" y="124"/>
                  </a:cubicBezTo>
                  <a:cubicBezTo>
                    <a:pt x="443" y="118"/>
                    <a:pt x="443" y="118"/>
                    <a:pt x="443" y="118"/>
                  </a:cubicBezTo>
                  <a:cubicBezTo>
                    <a:pt x="473" y="123"/>
                    <a:pt x="473" y="123"/>
                    <a:pt x="473" y="123"/>
                  </a:cubicBezTo>
                  <a:cubicBezTo>
                    <a:pt x="472" y="129"/>
                    <a:pt x="472" y="129"/>
                    <a:pt x="472" y="129"/>
                  </a:cubicBezTo>
                  <a:cubicBezTo>
                    <a:pt x="461" y="127"/>
                    <a:pt x="461" y="127"/>
                    <a:pt x="461" y="127"/>
                  </a:cubicBezTo>
                  <a:cubicBezTo>
                    <a:pt x="456" y="156"/>
                    <a:pt x="456" y="156"/>
                    <a:pt x="456" y="156"/>
                  </a:cubicBezTo>
                  <a:cubicBezTo>
                    <a:pt x="448" y="155"/>
                    <a:pt x="448" y="155"/>
                    <a:pt x="448" y="155"/>
                  </a:cubicBezTo>
                  <a:cubicBezTo>
                    <a:pt x="453" y="126"/>
                    <a:pt x="453" y="126"/>
                    <a:pt x="453" y="126"/>
                  </a:cubicBezTo>
                  <a:close/>
                  <a:moveTo>
                    <a:pt x="477" y="124"/>
                  </a:moveTo>
                  <a:cubicBezTo>
                    <a:pt x="485" y="127"/>
                    <a:pt x="485" y="127"/>
                    <a:pt x="485" y="127"/>
                  </a:cubicBezTo>
                  <a:cubicBezTo>
                    <a:pt x="488" y="142"/>
                    <a:pt x="488" y="142"/>
                    <a:pt x="488" y="142"/>
                  </a:cubicBezTo>
                  <a:cubicBezTo>
                    <a:pt x="501" y="132"/>
                    <a:pt x="501" y="132"/>
                    <a:pt x="501" y="132"/>
                  </a:cubicBezTo>
                  <a:cubicBezTo>
                    <a:pt x="509" y="135"/>
                    <a:pt x="509" y="135"/>
                    <a:pt x="509" y="135"/>
                  </a:cubicBezTo>
                  <a:cubicBezTo>
                    <a:pt x="490" y="150"/>
                    <a:pt x="490" y="150"/>
                    <a:pt x="490" y="150"/>
                  </a:cubicBezTo>
                  <a:cubicBezTo>
                    <a:pt x="485" y="165"/>
                    <a:pt x="485" y="165"/>
                    <a:pt x="485" y="165"/>
                  </a:cubicBezTo>
                  <a:cubicBezTo>
                    <a:pt x="478" y="162"/>
                    <a:pt x="478" y="162"/>
                    <a:pt x="478" y="162"/>
                  </a:cubicBezTo>
                  <a:cubicBezTo>
                    <a:pt x="483" y="147"/>
                    <a:pt x="483" y="147"/>
                    <a:pt x="483" y="147"/>
                  </a:cubicBezTo>
                  <a:cubicBezTo>
                    <a:pt x="477" y="124"/>
                    <a:pt x="477" y="124"/>
                    <a:pt x="477" y="124"/>
                  </a:cubicBezTo>
                  <a:close/>
                  <a:moveTo>
                    <a:pt x="541" y="171"/>
                  </a:moveTo>
                  <a:cubicBezTo>
                    <a:pt x="545" y="166"/>
                    <a:pt x="548" y="163"/>
                    <a:pt x="552" y="162"/>
                  </a:cubicBezTo>
                  <a:cubicBezTo>
                    <a:pt x="557" y="161"/>
                    <a:pt x="561" y="162"/>
                    <a:pt x="566" y="166"/>
                  </a:cubicBezTo>
                  <a:cubicBezTo>
                    <a:pt x="571" y="169"/>
                    <a:pt x="574" y="173"/>
                    <a:pt x="574" y="177"/>
                  </a:cubicBezTo>
                  <a:cubicBezTo>
                    <a:pt x="575" y="181"/>
                    <a:pt x="574" y="186"/>
                    <a:pt x="570" y="191"/>
                  </a:cubicBezTo>
                  <a:cubicBezTo>
                    <a:pt x="567" y="196"/>
                    <a:pt x="563" y="200"/>
                    <a:pt x="559" y="200"/>
                  </a:cubicBezTo>
                  <a:cubicBezTo>
                    <a:pt x="555" y="201"/>
                    <a:pt x="550" y="200"/>
                    <a:pt x="545" y="197"/>
                  </a:cubicBezTo>
                  <a:cubicBezTo>
                    <a:pt x="540" y="193"/>
                    <a:pt x="538" y="190"/>
                    <a:pt x="537" y="185"/>
                  </a:cubicBezTo>
                  <a:cubicBezTo>
                    <a:pt x="536" y="181"/>
                    <a:pt x="538" y="176"/>
                    <a:pt x="541" y="171"/>
                  </a:cubicBezTo>
                  <a:close/>
                  <a:moveTo>
                    <a:pt x="563" y="171"/>
                  </a:moveTo>
                  <a:cubicBezTo>
                    <a:pt x="565" y="173"/>
                    <a:pt x="567" y="175"/>
                    <a:pt x="567" y="178"/>
                  </a:cubicBezTo>
                  <a:cubicBezTo>
                    <a:pt x="567" y="180"/>
                    <a:pt x="566" y="183"/>
                    <a:pt x="564" y="187"/>
                  </a:cubicBezTo>
                  <a:cubicBezTo>
                    <a:pt x="561" y="190"/>
                    <a:pt x="559" y="192"/>
                    <a:pt x="556" y="193"/>
                  </a:cubicBezTo>
                  <a:cubicBezTo>
                    <a:pt x="554" y="194"/>
                    <a:pt x="551" y="193"/>
                    <a:pt x="549" y="192"/>
                  </a:cubicBezTo>
                  <a:cubicBezTo>
                    <a:pt x="546" y="190"/>
                    <a:pt x="545" y="188"/>
                    <a:pt x="545" y="185"/>
                  </a:cubicBezTo>
                  <a:cubicBezTo>
                    <a:pt x="544" y="182"/>
                    <a:pt x="546" y="179"/>
                    <a:pt x="548" y="176"/>
                  </a:cubicBezTo>
                  <a:cubicBezTo>
                    <a:pt x="550" y="172"/>
                    <a:pt x="553" y="170"/>
                    <a:pt x="555" y="169"/>
                  </a:cubicBezTo>
                  <a:cubicBezTo>
                    <a:pt x="557" y="169"/>
                    <a:pt x="560" y="169"/>
                    <a:pt x="563" y="171"/>
                  </a:cubicBezTo>
                  <a:close/>
                  <a:moveTo>
                    <a:pt x="574" y="198"/>
                  </a:moveTo>
                  <a:cubicBezTo>
                    <a:pt x="577" y="194"/>
                    <a:pt x="580" y="192"/>
                    <a:pt x="581" y="191"/>
                  </a:cubicBezTo>
                  <a:cubicBezTo>
                    <a:pt x="583" y="189"/>
                    <a:pt x="585" y="189"/>
                    <a:pt x="587" y="188"/>
                  </a:cubicBezTo>
                  <a:cubicBezTo>
                    <a:pt x="589" y="188"/>
                    <a:pt x="591" y="189"/>
                    <a:pt x="593" y="190"/>
                  </a:cubicBezTo>
                  <a:cubicBezTo>
                    <a:pt x="595" y="191"/>
                    <a:pt x="597" y="192"/>
                    <a:pt x="600" y="195"/>
                  </a:cubicBezTo>
                  <a:cubicBezTo>
                    <a:pt x="608" y="202"/>
                    <a:pt x="608" y="202"/>
                    <a:pt x="608" y="202"/>
                  </a:cubicBezTo>
                  <a:cubicBezTo>
                    <a:pt x="604" y="207"/>
                    <a:pt x="604" y="207"/>
                    <a:pt x="604" y="207"/>
                  </a:cubicBezTo>
                  <a:cubicBezTo>
                    <a:pt x="595" y="199"/>
                    <a:pt x="595" y="199"/>
                    <a:pt x="595" y="199"/>
                  </a:cubicBezTo>
                  <a:cubicBezTo>
                    <a:pt x="593" y="197"/>
                    <a:pt x="591" y="196"/>
                    <a:pt x="589" y="196"/>
                  </a:cubicBezTo>
                  <a:cubicBezTo>
                    <a:pt x="587" y="196"/>
                    <a:pt x="585" y="197"/>
                    <a:pt x="583" y="199"/>
                  </a:cubicBezTo>
                  <a:cubicBezTo>
                    <a:pt x="599" y="213"/>
                    <a:pt x="599" y="213"/>
                    <a:pt x="599" y="213"/>
                  </a:cubicBezTo>
                  <a:cubicBezTo>
                    <a:pt x="595" y="218"/>
                    <a:pt x="595" y="218"/>
                    <a:pt x="595" y="218"/>
                  </a:cubicBezTo>
                  <a:cubicBezTo>
                    <a:pt x="579" y="204"/>
                    <a:pt x="579" y="204"/>
                    <a:pt x="579" y="204"/>
                  </a:cubicBezTo>
                  <a:cubicBezTo>
                    <a:pt x="569" y="215"/>
                    <a:pt x="569" y="215"/>
                    <a:pt x="569" y="215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74" y="198"/>
                    <a:pt x="574" y="198"/>
                    <a:pt x="574" y="198"/>
                  </a:cubicBezTo>
                  <a:close/>
                  <a:moveTo>
                    <a:pt x="641" y="254"/>
                  </a:moveTo>
                  <a:cubicBezTo>
                    <a:pt x="635" y="244"/>
                    <a:pt x="635" y="244"/>
                    <a:pt x="635" y="244"/>
                  </a:cubicBezTo>
                  <a:cubicBezTo>
                    <a:pt x="640" y="241"/>
                    <a:pt x="640" y="241"/>
                    <a:pt x="640" y="241"/>
                  </a:cubicBezTo>
                  <a:cubicBezTo>
                    <a:pt x="656" y="267"/>
                    <a:pt x="656" y="267"/>
                    <a:pt x="656" y="267"/>
                  </a:cubicBezTo>
                  <a:cubicBezTo>
                    <a:pt x="651" y="270"/>
                    <a:pt x="651" y="270"/>
                    <a:pt x="651" y="270"/>
                  </a:cubicBezTo>
                  <a:cubicBezTo>
                    <a:pt x="645" y="260"/>
                    <a:pt x="645" y="260"/>
                    <a:pt x="645" y="260"/>
                  </a:cubicBezTo>
                  <a:cubicBezTo>
                    <a:pt x="620" y="276"/>
                    <a:pt x="620" y="276"/>
                    <a:pt x="620" y="276"/>
                  </a:cubicBezTo>
                  <a:cubicBezTo>
                    <a:pt x="616" y="269"/>
                    <a:pt x="616" y="269"/>
                    <a:pt x="616" y="269"/>
                  </a:cubicBezTo>
                  <a:cubicBezTo>
                    <a:pt x="641" y="254"/>
                    <a:pt x="641" y="254"/>
                    <a:pt x="641" y="254"/>
                  </a:cubicBezTo>
                  <a:close/>
                  <a:moveTo>
                    <a:pt x="662" y="290"/>
                  </a:moveTo>
                  <a:cubicBezTo>
                    <a:pt x="660" y="287"/>
                    <a:pt x="659" y="286"/>
                    <a:pt x="657" y="285"/>
                  </a:cubicBezTo>
                  <a:cubicBezTo>
                    <a:pt x="655" y="284"/>
                    <a:pt x="653" y="285"/>
                    <a:pt x="651" y="286"/>
                  </a:cubicBezTo>
                  <a:cubicBezTo>
                    <a:pt x="659" y="305"/>
                    <a:pt x="659" y="305"/>
                    <a:pt x="659" y="305"/>
                  </a:cubicBezTo>
                  <a:cubicBezTo>
                    <a:pt x="654" y="307"/>
                    <a:pt x="654" y="307"/>
                    <a:pt x="654" y="307"/>
                  </a:cubicBezTo>
                  <a:cubicBezTo>
                    <a:pt x="645" y="288"/>
                    <a:pt x="645" y="288"/>
                    <a:pt x="645" y="288"/>
                  </a:cubicBezTo>
                  <a:cubicBezTo>
                    <a:pt x="642" y="290"/>
                    <a:pt x="641" y="291"/>
                    <a:pt x="640" y="293"/>
                  </a:cubicBezTo>
                  <a:cubicBezTo>
                    <a:pt x="639" y="295"/>
                    <a:pt x="639" y="297"/>
                    <a:pt x="641" y="300"/>
                  </a:cubicBezTo>
                  <a:cubicBezTo>
                    <a:pt x="646" y="311"/>
                    <a:pt x="646" y="311"/>
                    <a:pt x="646" y="311"/>
                  </a:cubicBezTo>
                  <a:cubicBezTo>
                    <a:pt x="640" y="313"/>
                    <a:pt x="640" y="313"/>
                    <a:pt x="640" y="313"/>
                  </a:cubicBezTo>
                  <a:cubicBezTo>
                    <a:pt x="635" y="302"/>
                    <a:pt x="635" y="302"/>
                    <a:pt x="635" y="302"/>
                  </a:cubicBezTo>
                  <a:cubicBezTo>
                    <a:pt x="634" y="299"/>
                    <a:pt x="633" y="297"/>
                    <a:pt x="633" y="296"/>
                  </a:cubicBezTo>
                  <a:cubicBezTo>
                    <a:pt x="633" y="294"/>
                    <a:pt x="633" y="292"/>
                    <a:pt x="633" y="291"/>
                  </a:cubicBezTo>
                  <a:cubicBezTo>
                    <a:pt x="634" y="288"/>
                    <a:pt x="635" y="286"/>
                    <a:pt x="637" y="284"/>
                  </a:cubicBezTo>
                  <a:cubicBezTo>
                    <a:pt x="638" y="283"/>
                    <a:pt x="641" y="281"/>
                    <a:pt x="644" y="280"/>
                  </a:cubicBezTo>
                  <a:cubicBezTo>
                    <a:pt x="649" y="277"/>
                    <a:pt x="654" y="276"/>
                    <a:pt x="658" y="277"/>
                  </a:cubicBezTo>
                  <a:cubicBezTo>
                    <a:pt x="662" y="279"/>
                    <a:pt x="665" y="282"/>
                    <a:pt x="667" y="287"/>
                  </a:cubicBezTo>
                  <a:cubicBezTo>
                    <a:pt x="672" y="298"/>
                    <a:pt x="672" y="298"/>
                    <a:pt x="672" y="298"/>
                  </a:cubicBezTo>
                  <a:cubicBezTo>
                    <a:pt x="667" y="301"/>
                    <a:pt x="667" y="301"/>
                    <a:pt x="667" y="301"/>
                  </a:cubicBezTo>
                  <a:cubicBezTo>
                    <a:pt x="662" y="290"/>
                    <a:pt x="662" y="290"/>
                    <a:pt x="662" y="290"/>
                  </a:cubicBezTo>
                  <a:close/>
                  <a:moveTo>
                    <a:pt x="675" y="325"/>
                  </a:moveTo>
                  <a:cubicBezTo>
                    <a:pt x="674" y="322"/>
                    <a:pt x="672" y="320"/>
                    <a:pt x="670" y="319"/>
                  </a:cubicBezTo>
                  <a:cubicBezTo>
                    <a:pt x="668" y="319"/>
                    <a:pt x="665" y="319"/>
                    <a:pt x="660" y="320"/>
                  </a:cubicBezTo>
                  <a:cubicBezTo>
                    <a:pt x="657" y="322"/>
                    <a:pt x="654" y="323"/>
                    <a:pt x="653" y="325"/>
                  </a:cubicBezTo>
                  <a:cubicBezTo>
                    <a:pt x="652" y="327"/>
                    <a:pt x="652" y="329"/>
                    <a:pt x="653" y="332"/>
                  </a:cubicBezTo>
                  <a:cubicBezTo>
                    <a:pt x="657" y="344"/>
                    <a:pt x="657" y="344"/>
                    <a:pt x="657" y="344"/>
                  </a:cubicBezTo>
                  <a:cubicBezTo>
                    <a:pt x="651" y="346"/>
                    <a:pt x="651" y="346"/>
                    <a:pt x="651" y="346"/>
                  </a:cubicBezTo>
                  <a:cubicBezTo>
                    <a:pt x="647" y="334"/>
                    <a:pt x="647" y="334"/>
                    <a:pt x="647" y="334"/>
                  </a:cubicBezTo>
                  <a:cubicBezTo>
                    <a:pt x="646" y="331"/>
                    <a:pt x="646" y="329"/>
                    <a:pt x="646" y="327"/>
                  </a:cubicBezTo>
                  <a:cubicBezTo>
                    <a:pt x="646" y="326"/>
                    <a:pt x="646" y="324"/>
                    <a:pt x="647" y="322"/>
                  </a:cubicBezTo>
                  <a:cubicBezTo>
                    <a:pt x="647" y="320"/>
                    <a:pt x="649" y="318"/>
                    <a:pt x="651" y="316"/>
                  </a:cubicBezTo>
                  <a:cubicBezTo>
                    <a:pt x="653" y="315"/>
                    <a:pt x="655" y="314"/>
                    <a:pt x="658" y="313"/>
                  </a:cubicBezTo>
                  <a:cubicBezTo>
                    <a:pt x="664" y="311"/>
                    <a:pt x="669" y="310"/>
                    <a:pt x="673" y="312"/>
                  </a:cubicBezTo>
                  <a:cubicBezTo>
                    <a:pt x="676" y="314"/>
                    <a:pt x="679" y="317"/>
                    <a:pt x="681" y="323"/>
                  </a:cubicBezTo>
                  <a:cubicBezTo>
                    <a:pt x="684" y="335"/>
                    <a:pt x="684" y="335"/>
                    <a:pt x="684" y="335"/>
                  </a:cubicBezTo>
                  <a:cubicBezTo>
                    <a:pt x="679" y="337"/>
                    <a:pt x="679" y="337"/>
                    <a:pt x="679" y="337"/>
                  </a:cubicBezTo>
                  <a:cubicBezTo>
                    <a:pt x="675" y="325"/>
                    <a:pt x="675" y="325"/>
                    <a:pt x="675" y="325"/>
                  </a:cubicBezTo>
                  <a:close/>
                  <a:moveTo>
                    <a:pt x="689" y="352"/>
                  </a:moveTo>
                  <a:cubicBezTo>
                    <a:pt x="675" y="354"/>
                    <a:pt x="675" y="354"/>
                    <a:pt x="675" y="354"/>
                  </a:cubicBezTo>
                  <a:cubicBezTo>
                    <a:pt x="677" y="368"/>
                    <a:pt x="677" y="368"/>
                    <a:pt x="677" y="368"/>
                  </a:cubicBezTo>
                  <a:cubicBezTo>
                    <a:pt x="691" y="365"/>
                    <a:pt x="691" y="365"/>
                    <a:pt x="691" y="365"/>
                  </a:cubicBezTo>
                  <a:cubicBezTo>
                    <a:pt x="692" y="373"/>
                    <a:pt x="692" y="373"/>
                    <a:pt x="692" y="373"/>
                  </a:cubicBezTo>
                  <a:cubicBezTo>
                    <a:pt x="658" y="379"/>
                    <a:pt x="658" y="379"/>
                    <a:pt x="658" y="379"/>
                  </a:cubicBezTo>
                  <a:cubicBezTo>
                    <a:pt x="656" y="372"/>
                    <a:pt x="656" y="372"/>
                    <a:pt x="656" y="372"/>
                  </a:cubicBezTo>
                  <a:cubicBezTo>
                    <a:pt x="671" y="369"/>
                    <a:pt x="671" y="369"/>
                    <a:pt x="671" y="369"/>
                  </a:cubicBezTo>
                  <a:cubicBezTo>
                    <a:pt x="669" y="355"/>
                    <a:pt x="669" y="355"/>
                    <a:pt x="669" y="355"/>
                  </a:cubicBezTo>
                  <a:cubicBezTo>
                    <a:pt x="654" y="358"/>
                    <a:pt x="654" y="358"/>
                    <a:pt x="654" y="358"/>
                  </a:cubicBezTo>
                  <a:cubicBezTo>
                    <a:pt x="653" y="351"/>
                    <a:pt x="653" y="351"/>
                    <a:pt x="653" y="351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9" y="352"/>
                    <a:pt x="689" y="352"/>
                    <a:pt x="689" y="352"/>
                  </a:cubicBezTo>
                  <a:close/>
                  <a:moveTo>
                    <a:pt x="695" y="386"/>
                  </a:moveTo>
                  <a:cubicBezTo>
                    <a:pt x="695" y="396"/>
                    <a:pt x="695" y="396"/>
                    <a:pt x="695" y="396"/>
                  </a:cubicBezTo>
                  <a:cubicBezTo>
                    <a:pt x="670" y="411"/>
                    <a:pt x="670" y="411"/>
                    <a:pt x="670" y="411"/>
                  </a:cubicBezTo>
                  <a:cubicBezTo>
                    <a:pt x="695" y="410"/>
                    <a:pt x="695" y="410"/>
                    <a:pt x="695" y="410"/>
                  </a:cubicBezTo>
                  <a:cubicBezTo>
                    <a:pt x="695" y="418"/>
                    <a:pt x="695" y="418"/>
                    <a:pt x="695" y="418"/>
                  </a:cubicBezTo>
                  <a:cubicBezTo>
                    <a:pt x="660" y="419"/>
                    <a:pt x="660" y="419"/>
                    <a:pt x="660" y="419"/>
                  </a:cubicBezTo>
                  <a:cubicBezTo>
                    <a:pt x="660" y="410"/>
                    <a:pt x="660" y="410"/>
                    <a:pt x="660" y="410"/>
                  </a:cubicBezTo>
                  <a:cubicBezTo>
                    <a:pt x="686" y="394"/>
                    <a:pt x="686" y="394"/>
                    <a:pt x="686" y="394"/>
                  </a:cubicBezTo>
                  <a:cubicBezTo>
                    <a:pt x="660" y="395"/>
                    <a:pt x="660" y="395"/>
                    <a:pt x="660" y="395"/>
                  </a:cubicBezTo>
                  <a:cubicBezTo>
                    <a:pt x="659" y="387"/>
                    <a:pt x="659" y="387"/>
                    <a:pt x="659" y="387"/>
                  </a:cubicBezTo>
                  <a:cubicBezTo>
                    <a:pt x="695" y="386"/>
                    <a:pt x="695" y="386"/>
                    <a:pt x="695" y="386"/>
                  </a:cubicBezTo>
                  <a:close/>
                  <a:moveTo>
                    <a:pt x="677" y="425"/>
                  </a:moveTo>
                  <a:cubicBezTo>
                    <a:pt x="683" y="426"/>
                    <a:pt x="688" y="428"/>
                    <a:pt x="690" y="431"/>
                  </a:cubicBezTo>
                  <a:cubicBezTo>
                    <a:pt x="693" y="434"/>
                    <a:pt x="694" y="439"/>
                    <a:pt x="693" y="445"/>
                  </a:cubicBezTo>
                  <a:cubicBezTo>
                    <a:pt x="692" y="451"/>
                    <a:pt x="690" y="455"/>
                    <a:pt x="687" y="458"/>
                  </a:cubicBezTo>
                  <a:cubicBezTo>
                    <a:pt x="684" y="460"/>
                    <a:pt x="679" y="461"/>
                    <a:pt x="673" y="460"/>
                  </a:cubicBezTo>
                  <a:cubicBezTo>
                    <a:pt x="667" y="459"/>
                    <a:pt x="662" y="457"/>
                    <a:pt x="660" y="454"/>
                  </a:cubicBezTo>
                  <a:cubicBezTo>
                    <a:pt x="657" y="451"/>
                    <a:pt x="656" y="446"/>
                    <a:pt x="657" y="440"/>
                  </a:cubicBezTo>
                  <a:cubicBezTo>
                    <a:pt x="657" y="434"/>
                    <a:pt x="659" y="430"/>
                    <a:pt x="663" y="427"/>
                  </a:cubicBezTo>
                  <a:cubicBezTo>
                    <a:pt x="666" y="425"/>
                    <a:pt x="671" y="424"/>
                    <a:pt x="677" y="425"/>
                  </a:cubicBezTo>
                  <a:close/>
                  <a:moveTo>
                    <a:pt x="687" y="444"/>
                  </a:moveTo>
                  <a:cubicBezTo>
                    <a:pt x="687" y="447"/>
                    <a:pt x="685" y="450"/>
                    <a:pt x="683" y="451"/>
                  </a:cubicBezTo>
                  <a:cubicBezTo>
                    <a:pt x="681" y="452"/>
                    <a:pt x="678" y="453"/>
                    <a:pt x="674" y="452"/>
                  </a:cubicBezTo>
                  <a:cubicBezTo>
                    <a:pt x="670" y="452"/>
                    <a:pt x="667" y="450"/>
                    <a:pt x="665" y="449"/>
                  </a:cubicBezTo>
                  <a:cubicBezTo>
                    <a:pt x="663" y="447"/>
                    <a:pt x="662" y="444"/>
                    <a:pt x="663" y="441"/>
                  </a:cubicBezTo>
                  <a:cubicBezTo>
                    <a:pt x="663" y="438"/>
                    <a:pt x="664" y="435"/>
                    <a:pt x="667" y="434"/>
                  </a:cubicBezTo>
                  <a:cubicBezTo>
                    <a:pt x="669" y="433"/>
                    <a:pt x="672" y="432"/>
                    <a:pt x="676" y="433"/>
                  </a:cubicBezTo>
                  <a:cubicBezTo>
                    <a:pt x="680" y="433"/>
                    <a:pt x="683" y="435"/>
                    <a:pt x="685" y="436"/>
                  </a:cubicBezTo>
                  <a:cubicBezTo>
                    <a:pt x="687" y="438"/>
                    <a:pt x="687" y="441"/>
                    <a:pt x="687" y="444"/>
                  </a:cubicBezTo>
                  <a:close/>
                  <a:moveTo>
                    <a:pt x="651" y="478"/>
                  </a:moveTo>
                  <a:cubicBezTo>
                    <a:pt x="652" y="474"/>
                    <a:pt x="653" y="472"/>
                    <a:pt x="654" y="471"/>
                  </a:cubicBezTo>
                  <a:cubicBezTo>
                    <a:pt x="655" y="469"/>
                    <a:pt x="656" y="468"/>
                    <a:pt x="658" y="467"/>
                  </a:cubicBezTo>
                  <a:cubicBezTo>
                    <a:pt x="659" y="466"/>
                    <a:pt x="661" y="466"/>
                    <a:pt x="662" y="465"/>
                  </a:cubicBezTo>
                  <a:cubicBezTo>
                    <a:pt x="664" y="465"/>
                    <a:pt x="666" y="466"/>
                    <a:pt x="669" y="466"/>
                  </a:cubicBezTo>
                  <a:cubicBezTo>
                    <a:pt x="689" y="471"/>
                    <a:pt x="689" y="471"/>
                    <a:pt x="689" y="471"/>
                  </a:cubicBezTo>
                  <a:cubicBezTo>
                    <a:pt x="687" y="478"/>
                    <a:pt x="687" y="478"/>
                    <a:pt x="687" y="478"/>
                  </a:cubicBezTo>
                  <a:cubicBezTo>
                    <a:pt x="667" y="474"/>
                    <a:pt x="667" y="474"/>
                    <a:pt x="667" y="474"/>
                  </a:cubicBezTo>
                  <a:cubicBezTo>
                    <a:pt x="665" y="473"/>
                    <a:pt x="664" y="473"/>
                    <a:pt x="663" y="473"/>
                  </a:cubicBezTo>
                  <a:cubicBezTo>
                    <a:pt x="662" y="473"/>
                    <a:pt x="661" y="473"/>
                    <a:pt x="661" y="473"/>
                  </a:cubicBezTo>
                  <a:cubicBezTo>
                    <a:pt x="660" y="474"/>
                    <a:pt x="659" y="475"/>
                    <a:pt x="658" y="475"/>
                  </a:cubicBezTo>
                  <a:cubicBezTo>
                    <a:pt x="658" y="476"/>
                    <a:pt x="657" y="478"/>
                    <a:pt x="657" y="480"/>
                  </a:cubicBezTo>
                  <a:cubicBezTo>
                    <a:pt x="655" y="488"/>
                    <a:pt x="655" y="488"/>
                    <a:pt x="655" y="488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651" y="478"/>
                    <a:pt x="651" y="478"/>
                    <a:pt x="651" y="478"/>
                  </a:cubicBezTo>
                  <a:close/>
                  <a:moveTo>
                    <a:pt x="667" y="494"/>
                  </a:moveTo>
                  <a:cubicBezTo>
                    <a:pt x="672" y="496"/>
                    <a:pt x="676" y="499"/>
                    <a:pt x="678" y="503"/>
                  </a:cubicBezTo>
                  <a:cubicBezTo>
                    <a:pt x="679" y="507"/>
                    <a:pt x="679" y="512"/>
                    <a:pt x="677" y="517"/>
                  </a:cubicBezTo>
                  <a:cubicBezTo>
                    <a:pt x="675" y="523"/>
                    <a:pt x="671" y="526"/>
                    <a:pt x="668" y="528"/>
                  </a:cubicBezTo>
                  <a:cubicBezTo>
                    <a:pt x="664" y="529"/>
                    <a:pt x="659" y="529"/>
                    <a:pt x="653" y="527"/>
                  </a:cubicBezTo>
                  <a:cubicBezTo>
                    <a:pt x="647" y="524"/>
                    <a:pt x="644" y="521"/>
                    <a:pt x="642" y="517"/>
                  </a:cubicBezTo>
                  <a:cubicBezTo>
                    <a:pt x="640" y="513"/>
                    <a:pt x="641" y="509"/>
                    <a:pt x="643" y="503"/>
                  </a:cubicBezTo>
                  <a:cubicBezTo>
                    <a:pt x="645" y="497"/>
                    <a:pt x="648" y="494"/>
                    <a:pt x="652" y="492"/>
                  </a:cubicBezTo>
                  <a:cubicBezTo>
                    <a:pt x="656" y="491"/>
                    <a:pt x="661" y="491"/>
                    <a:pt x="667" y="494"/>
                  </a:cubicBezTo>
                  <a:close/>
                  <a:moveTo>
                    <a:pt x="671" y="515"/>
                  </a:moveTo>
                  <a:cubicBezTo>
                    <a:pt x="670" y="518"/>
                    <a:pt x="668" y="520"/>
                    <a:pt x="666" y="520"/>
                  </a:cubicBezTo>
                  <a:cubicBezTo>
                    <a:pt x="663" y="521"/>
                    <a:pt x="660" y="521"/>
                    <a:pt x="656" y="519"/>
                  </a:cubicBezTo>
                  <a:cubicBezTo>
                    <a:pt x="652" y="517"/>
                    <a:pt x="650" y="516"/>
                    <a:pt x="649" y="513"/>
                  </a:cubicBezTo>
                  <a:cubicBezTo>
                    <a:pt x="647" y="511"/>
                    <a:pt x="647" y="508"/>
                    <a:pt x="648" y="505"/>
                  </a:cubicBezTo>
                  <a:cubicBezTo>
                    <a:pt x="650" y="502"/>
                    <a:pt x="651" y="500"/>
                    <a:pt x="654" y="500"/>
                  </a:cubicBezTo>
                  <a:cubicBezTo>
                    <a:pt x="656" y="499"/>
                    <a:pt x="660" y="500"/>
                    <a:pt x="664" y="501"/>
                  </a:cubicBezTo>
                  <a:cubicBezTo>
                    <a:pt x="667" y="503"/>
                    <a:pt x="670" y="505"/>
                    <a:pt x="671" y="507"/>
                  </a:cubicBezTo>
                  <a:cubicBezTo>
                    <a:pt x="672" y="509"/>
                    <a:pt x="672" y="512"/>
                    <a:pt x="671" y="515"/>
                  </a:cubicBezTo>
                  <a:close/>
                  <a:moveTo>
                    <a:pt x="641" y="544"/>
                  </a:moveTo>
                  <a:cubicBezTo>
                    <a:pt x="646" y="547"/>
                    <a:pt x="646" y="547"/>
                    <a:pt x="646" y="547"/>
                  </a:cubicBezTo>
                  <a:cubicBezTo>
                    <a:pt x="637" y="562"/>
                    <a:pt x="637" y="562"/>
                    <a:pt x="637" y="562"/>
                  </a:cubicBezTo>
                  <a:cubicBezTo>
                    <a:pt x="619" y="552"/>
                    <a:pt x="619" y="552"/>
                    <a:pt x="619" y="552"/>
                  </a:cubicBezTo>
                  <a:cubicBezTo>
                    <a:pt x="628" y="538"/>
                    <a:pt x="628" y="538"/>
                    <a:pt x="628" y="538"/>
                  </a:cubicBezTo>
                  <a:cubicBezTo>
                    <a:pt x="629" y="535"/>
                    <a:pt x="631" y="533"/>
                    <a:pt x="632" y="532"/>
                  </a:cubicBezTo>
                  <a:cubicBezTo>
                    <a:pt x="633" y="531"/>
                    <a:pt x="634" y="530"/>
                    <a:pt x="636" y="530"/>
                  </a:cubicBezTo>
                  <a:cubicBezTo>
                    <a:pt x="638" y="529"/>
                    <a:pt x="641" y="529"/>
                    <a:pt x="643" y="529"/>
                  </a:cubicBezTo>
                  <a:cubicBezTo>
                    <a:pt x="645" y="529"/>
                    <a:pt x="648" y="530"/>
                    <a:pt x="651" y="532"/>
                  </a:cubicBezTo>
                  <a:cubicBezTo>
                    <a:pt x="656" y="535"/>
                    <a:pt x="659" y="539"/>
                    <a:pt x="661" y="543"/>
                  </a:cubicBezTo>
                  <a:cubicBezTo>
                    <a:pt x="662" y="547"/>
                    <a:pt x="661" y="551"/>
                    <a:pt x="658" y="556"/>
                  </a:cubicBezTo>
                  <a:cubicBezTo>
                    <a:pt x="650" y="570"/>
                    <a:pt x="650" y="570"/>
                    <a:pt x="650" y="570"/>
                  </a:cubicBezTo>
                  <a:cubicBezTo>
                    <a:pt x="644" y="567"/>
                    <a:pt x="644" y="567"/>
                    <a:pt x="644" y="567"/>
                  </a:cubicBezTo>
                  <a:cubicBezTo>
                    <a:pt x="653" y="553"/>
                    <a:pt x="653" y="553"/>
                    <a:pt x="653" y="553"/>
                  </a:cubicBezTo>
                  <a:cubicBezTo>
                    <a:pt x="654" y="550"/>
                    <a:pt x="654" y="548"/>
                    <a:pt x="654" y="546"/>
                  </a:cubicBezTo>
                  <a:cubicBezTo>
                    <a:pt x="653" y="544"/>
                    <a:pt x="650" y="542"/>
                    <a:pt x="647" y="539"/>
                  </a:cubicBezTo>
                  <a:cubicBezTo>
                    <a:pt x="644" y="537"/>
                    <a:pt x="641" y="537"/>
                    <a:pt x="639" y="537"/>
                  </a:cubicBezTo>
                  <a:cubicBezTo>
                    <a:pt x="636" y="537"/>
                    <a:pt x="635" y="538"/>
                    <a:pt x="633" y="541"/>
                  </a:cubicBezTo>
                  <a:cubicBezTo>
                    <a:pt x="629" y="548"/>
                    <a:pt x="629" y="548"/>
                    <a:pt x="629" y="548"/>
                  </a:cubicBezTo>
                  <a:cubicBezTo>
                    <a:pt x="636" y="553"/>
                    <a:pt x="636" y="553"/>
                    <a:pt x="636" y="553"/>
                  </a:cubicBezTo>
                  <a:cubicBezTo>
                    <a:pt x="641" y="544"/>
                    <a:pt x="641" y="544"/>
                    <a:pt x="641" y="544"/>
                  </a:cubicBezTo>
                  <a:close/>
                  <a:moveTo>
                    <a:pt x="648" y="574"/>
                  </a:moveTo>
                  <a:cubicBezTo>
                    <a:pt x="643" y="581"/>
                    <a:pt x="643" y="581"/>
                    <a:pt x="643" y="581"/>
                  </a:cubicBezTo>
                  <a:cubicBezTo>
                    <a:pt x="627" y="580"/>
                    <a:pt x="627" y="580"/>
                    <a:pt x="627" y="580"/>
                  </a:cubicBezTo>
                  <a:cubicBezTo>
                    <a:pt x="632" y="595"/>
                    <a:pt x="632" y="595"/>
                    <a:pt x="632" y="595"/>
                  </a:cubicBezTo>
                  <a:cubicBezTo>
                    <a:pt x="627" y="602"/>
                    <a:pt x="627" y="602"/>
                    <a:pt x="627" y="602"/>
                  </a:cubicBezTo>
                  <a:cubicBezTo>
                    <a:pt x="619" y="579"/>
                    <a:pt x="619" y="579"/>
                    <a:pt x="619" y="579"/>
                  </a:cubicBezTo>
                  <a:cubicBezTo>
                    <a:pt x="607" y="570"/>
                    <a:pt x="607" y="570"/>
                    <a:pt x="607" y="570"/>
                  </a:cubicBezTo>
                  <a:cubicBezTo>
                    <a:pt x="611" y="564"/>
                    <a:pt x="611" y="564"/>
                    <a:pt x="611" y="564"/>
                  </a:cubicBezTo>
                  <a:cubicBezTo>
                    <a:pt x="624" y="573"/>
                    <a:pt x="624" y="573"/>
                    <a:pt x="624" y="573"/>
                  </a:cubicBezTo>
                  <a:cubicBezTo>
                    <a:pt x="648" y="574"/>
                    <a:pt x="648" y="574"/>
                    <a:pt x="648" y="574"/>
                  </a:cubicBezTo>
                  <a:close/>
                  <a:moveTo>
                    <a:pt x="264" y="535"/>
                  </a:moveTo>
                  <a:cubicBezTo>
                    <a:pt x="392" y="535"/>
                    <a:pt x="392" y="535"/>
                    <a:pt x="392" y="535"/>
                  </a:cubicBezTo>
                  <a:cubicBezTo>
                    <a:pt x="401" y="536"/>
                    <a:pt x="400" y="566"/>
                    <a:pt x="392" y="565"/>
                  </a:cubicBezTo>
                  <a:cubicBezTo>
                    <a:pt x="264" y="565"/>
                    <a:pt x="264" y="565"/>
                    <a:pt x="264" y="565"/>
                  </a:cubicBezTo>
                  <a:cubicBezTo>
                    <a:pt x="275" y="565"/>
                    <a:pt x="276" y="536"/>
                    <a:pt x="264" y="535"/>
                  </a:cubicBezTo>
                  <a:close/>
                  <a:moveTo>
                    <a:pt x="550" y="535"/>
                  </a:moveTo>
                  <a:cubicBezTo>
                    <a:pt x="538" y="536"/>
                    <a:pt x="539" y="565"/>
                    <a:pt x="550" y="565"/>
                  </a:cubicBezTo>
                  <a:cubicBezTo>
                    <a:pt x="421" y="565"/>
                    <a:pt x="421" y="565"/>
                    <a:pt x="421" y="565"/>
                  </a:cubicBezTo>
                  <a:cubicBezTo>
                    <a:pt x="413" y="566"/>
                    <a:pt x="412" y="536"/>
                    <a:pt x="421" y="535"/>
                  </a:cubicBezTo>
                  <a:cubicBezTo>
                    <a:pt x="550" y="535"/>
                    <a:pt x="550" y="535"/>
                    <a:pt x="550" y="535"/>
                  </a:cubicBezTo>
                  <a:close/>
                  <a:moveTo>
                    <a:pt x="495" y="212"/>
                  </a:moveTo>
                  <a:cubicBezTo>
                    <a:pt x="495" y="260"/>
                    <a:pt x="495" y="260"/>
                    <a:pt x="495" y="260"/>
                  </a:cubicBezTo>
                  <a:cubicBezTo>
                    <a:pt x="481" y="257"/>
                    <a:pt x="469" y="266"/>
                    <a:pt x="462" y="280"/>
                  </a:cubicBezTo>
                  <a:cubicBezTo>
                    <a:pt x="462" y="449"/>
                    <a:pt x="462" y="449"/>
                    <a:pt x="462" y="449"/>
                  </a:cubicBezTo>
                  <a:cubicBezTo>
                    <a:pt x="493" y="439"/>
                    <a:pt x="510" y="421"/>
                    <a:pt x="516" y="396"/>
                  </a:cubicBezTo>
                  <a:cubicBezTo>
                    <a:pt x="519" y="389"/>
                    <a:pt x="519" y="377"/>
                    <a:pt x="514" y="358"/>
                  </a:cubicBezTo>
                  <a:cubicBezTo>
                    <a:pt x="501" y="332"/>
                    <a:pt x="486" y="324"/>
                    <a:pt x="477" y="327"/>
                  </a:cubicBezTo>
                  <a:cubicBezTo>
                    <a:pt x="477" y="278"/>
                    <a:pt x="477" y="278"/>
                    <a:pt x="477" y="278"/>
                  </a:cubicBezTo>
                  <a:cubicBezTo>
                    <a:pt x="516" y="281"/>
                    <a:pt x="552" y="305"/>
                    <a:pt x="562" y="357"/>
                  </a:cubicBezTo>
                  <a:cubicBezTo>
                    <a:pt x="570" y="390"/>
                    <a:pt x="562" y="422"/>
                    <a:pt x="545" y="449"/>
                  </a:cubicBezTo>
                  <a:cubicBezTo>
                    <a:pt x="523" y="472"/>
                    <a:pt x="499" y="491"/>
                    <a:pt x="462" y="497"/>
                  </a:cubicBezTo>
                  <a:cubicBezTo>
                    <a:pt x="462" y="514"/>
                    <a:pt x="462" y="514"/>
                    <a:pt x="462" y="514"/>
                  </a:cubicBezTo>
                  <a:cubicBezTo>
                    <a:pt x="413" y="514"/>
                    <a:pt x="413" y="514"/>
                    <a:pt x="413" y="514"/>
                  </a:cubicBezTo>
                  <a:cubicBezTo>
                    <a:pt x="413" y="274"/>
                    <a:pt x="413" y="274"/>
                    <a:pt x="413" y="274"/>
                  </a:cubicBezTo>
                  <a:cubicBezTo>
                    <a:pt x="425" y="233"/>
                    <a:pt x="453" y="213"/>
                    <a:pt x="495" y="212"/>
                  </a:cubicBezTo>
                  <a:close/>
                  <a:moveTo>
                    <a:pt x="316" y="212"/>
                  </a:moveTo>
                  <a:cubicBezTo>
                    <a:pt x="358" y="213"/>
                    <a:pt x="386" y="233"/>
                    <a:pt x="398" y="274"/>
                  </a:cubicBezTo>
                  <a:cubicBezTo>
                    <a:pt x="398" y="514"/>
                    <a:pt x="398" y="514"/>
                    <a:pt x="398" y="514"/>
                  </a:cubicBezTo>
                  <a:cubicBezTo>
                    <a:pt x="349" y="514"/>
                    <a:pt x="349" y="514"/>
                    <a:pt x="349" y="514"/>
                  </a:cubicBezTo>
                  <a:cubicBezTo>
                    <a:pt x="349" y="497"/>
                    <a:pt x="349" y="497"/>
                    <a:pt x="349" y="497"/>
                  </a:cubicBezTo>
                  <a:cubicBezTo>
                    <a:pt x="312" y="491"/>
                    <a:pt x="288" y="472"/>
                    <a:pt x="267" y="449"/>
                  </a:cubicBezTo>
                  <a:cubicBezTo>
                    <a:pt x="249" y="422"/>
                    <a:pt x="241" y="390"/>
                    <a:pt x="249" y="357"/>
                  </a:cubicBezTo>
                  <a:cubicBezTo>
                    <a:pt x="259" y="305"/>
                    <a:pt x="295" y="281"/>
                    <a:pt x="334" y="278"/>
                  </a:cubicBezTo>
                  <a:cubicBezTo>
                    <a:pt x="334" y="327"/>
                    <a:pt x="334" y="327"/>
                    <a:pt x="334" y="327"/>
                  </a:cubicBezTo>
                  <a:cubicBezTo>
                    <a:pt x="325" y="324"/>
                    <a:pt x="310" y="332"/>
                    <a:pt x="297" y="358"/>
                  </a:cubicBezTo>
                  <a:cubicBezTo>
                    <a:pt x="292" y="377"/>
                    <a:pt x="292" y="389"/>
                    <a:pt x="295" y="396"/>
                  </a:cubicBezTo>
                  <a:cubicBezTo>
                    <a:pt x="302" y="421"/>
                    <a:pt x="318" y="439"/>
                    <a:pt x="349" y="449"/>
                  </a:cubicBezTo>
                  <a:cubicBezTo>
                    <a:pt x="349" y="280"/>
                    <a:pt x="349" y="280"/>
                    <a:pt x="349" y="280"/>
                  </a:cubicBezTo>
                  <a:cubicBezTo>
                    <a:pt x="343" y="266"/>
                    <a:pt x="330" y="257"/>
                    <a:pt x="316" y="260"/>
                  </a:cubicBezTo>
                  <a:cubicBezTo>
                    <a:pt x="316" y="212"/>
                    <a:pt x="316" y="212"/>
                    <a:pt x="316" y="212"/>
                  </a:cubicBezTo>
                  <a:close/>
                  <a:moveTo>
                    <a:pt x="249" y="587"/>
                  </a:moveTo>
                  <a:cubicBezTo>
                    <a:pt x="567" y="587"/>
                    <a:pt x="567" y="587"/>
                    <a:pt x="567" y="587"/>
                  </a:cubicBezTo>
                  <a:cubicBezTo>
                    <a:pt x="567" y="615"/>
                    <a:pt x="567" y="615"/>
                    <a:pt x="567" y="615"/>
                  </a:cubicBezTo>
                  <a:cubicBezTo>
                    <a:pt x="249" y="615"/>
                    <a:pt x="249" y="615"/>
                    <a:pt x="249" y="615"/>
                  </a:cubicBezTo>
                  <a:lnTo>
                    <a:pt x="249" y="58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eform 13">
            <a:extLst>
              <a:ext uri="{FF2B5EF4-FFF2-40B4-BE49-F238E27FC236}">
                <a16:creationId xmlns:a16="http://schemas.microsoft.com/office/drawing/2014/main" id="{63221700-4AB0-4B62-A8D1-2C2B9D98B91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7372" y="290382"/>
            <a:ext cx="7064723" cy="6005561"/>
          </a:xfrm>
          <a:custGeom>
            <a:avLst/>
            <a:gdLst>
              <a:gd name="T0" fmla="*/ 1288 w 1288"/>
              <a:gd name="T1" fmla="*/ 196 h 1096"/>
              <a:gd name="T2" fmla="*/ 920 w 1288"/>
              <a:gd name="T3" fmla="*/ 4 h 1096"/>
              <a:gd name="T4" fmla="*/ 428 w 1288"/>
              <a:gd name="T5" fmla="*/ 196 h 1096"/>
              <a:gd name="T6" fmla="*/ 188 w 1288"/>
              <a:gd name="T7" fmla="*/ 284 h 1096"/>
              <a:gd name="T8" fmla="*/ 24 w 1288"/>
              <a:gd name="T9" fmla="*/ 652 h 1096"/>
              <a:gd name="T10" fmla="*/ 544 w 1288"/>
              <a:gd name="T11" fmla="*/ 948 h 1096"/>
              <a:gd name="T12" fmla="*/ 748 w 1288"/>
              <a:gd name="T13" fmla="*/ 1080 h 1096"/>
              <a:gd name="T14" fmla="*/ 1288 w 1288"/>
              <a:gd name="T15" fmla="*/ 976 h 1096"/>
              <a:gd name="T16" fmla="*/ 1288 w 1288"/>
              <a:gd name="T17" fmla="*/ 1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8" h="1096">
                <a:moveTo>
                  <a:pt x="1288" y="196"/>
                </a:moveTo>
                <a:cubicBezTo>
                  <a:pt x="1288" y="196"/>
                  <a:pt x="1088" y="8"/>
                  <a:pt x="920" y="4"/>
                </a:cubicBezTo>
                <a:cubicBezTo>
                  <a:pt x="752" y="0"/>
                  <a:pt x="564" y="164"/>
                  <a:pt x="428" y="196"/>
                </a:cubicBezTo>
                <a:cubicBezTo>
                  <a:pt x="292" y="228"/>
                  <a:pt x="268" y="228"/>
                  <a:pt x="188" y="284"/>
                </a:cubicBezTo>
                <a:cubicBezTo>
                  <a:pt x="108" y="340"/>
                  <a:pt x="0" y="468"/>
                  <a:pt x="24" y="652"/>
                </a:cubicBezTo>
                <a:cubicBezTo>
                  <a:pt x="48" y="836"/>
                  <a:pt x="160" y="928"/>
                  <a:pt x="544" y="948"/>
                </a:cubicBezTo>
                <a:cubicBezTo>
                  <a:pt x="684" y="968"/>
                  <a:pt x="648" y="1064"/>
                  <a:pt x="748" y="1080"/>
                </a:cubicBezTo>
                <a:cubicBezTo>
                  <a:pt x="848" y="1096"/>
                  <a:pt x="1176" y="1040"/>
                  <a:pt x="1288" y="976"/>
                </a:cubicBezTo>
                <a:lnTo>
                  <a:pt x="1288" y="196"/>
                </a:lnTo>
                <a:close/>
              </a:path>
            </a:pathLst>
          </a:custGeom>
          <a:blipFill>
            <a:blip r:embed="rId2"/>
            <a:srcRect/>
            <a:stretch>
              <a:fillRect l="-25587" r="-2558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5A6CD0F1-D0BD-4CFF-8DD6-8574C64AB70F}"/>
              </a:ext>
            </a:extLst>
          </p:cNvPr>
          <p:cNvSpPr txBox="1"/>
          <p:nvPr userDrawn="1"/>
        </p:nvSpPr>
        <p:spPr>
          <a:xfrm>
            <a:off x="3204358" y="899760"/>
            <a:ext cx="8739687" cy="3771877"/>
          </a:xfrm>
          <a:custGeom>
            <a:avLst/>
            <a:gdLst/>
            <a:ahLst/>
            <a:cxnLst/>
            <a:rect l="l" t="t" r="r" b="b"/>
            <a:pathLst>
              <a:path w="1939472" h="837038">
                <a:moveTo>
                  <a:pt x="1698613" y="123914"/>
                </a:moveTo>
                <a:cubicBezTo>
                  <a:pt x="1689987" y="123914"/>
                  <a:pt x="1681029" y="128144"/>
                  <a:pt x="1671740" y="136604"/>
                </a:cubicBezTo>
                <a:cubicBezTo>
                  <a:pt x="1662451" y="145064"/>
                  <a:pt x="1657806" y="167872"/>
                  <a:pt x="1657806" y="205030"/>
                </a:cubicBezTo>
                <a:lnTo>
                  <a:pt x="1657806" y="355816"/>
                </a:lnTo>
                <a:cubicBezTo>
                  <a:pt x="1657806" y="389656"/>
                  <a:pt x="1662202" y="410557"/>
                  <a:pt x="1670993" y="418519"/>
                </a:cubicBezTo>
                <a:cubicBezTo>
                  <a:pt x="1679785" y="426481"/>
                  <a:pt x="1688826" y="430462"/>
                  <a:pt x="1698115" y="430462"/>
                </a:cubicBezTo>
                <a:cubicBezTo>
                  <a:pt x="1712049" y="430462"/>
                  <a:pt x="1722251" y="425403"/>
                  <a:pt x="1728720" y="415284"/>
                </a:cubicBezTo>
                <a:cubicBezTo>
                  <a:pt x="1735189" y="405166"/>
                  <a:pt x="1738424" y="385343"/>
                  <a:pt x="1738424" y="355816"/>
                </a:cubicBezTo>
                <a:lnTo>
                  <a:pt x="1738424" y="210006"/>
                </a:lnTo>
                <a:cubicBezTo>
                  <a:pt x="1738424" y="174508"/>
                  <a:pt x="1735355" y="151284"/>
                  <a:pt x="1729218" y="140336"/>
                </a:cubicBezTo>
                <a:cubicBezTo>
                  <a:pt x="1723080" y="129388"/>
                  <a:pt x="1712878" y="123914"/>
                  <a:pt x="1698613" y="123914"/>
                </a:cubicBezTo>
                <a:close/>
                <a:moveTo>
                  <a:pt x="761181" y="123914"/>
                </a:moveTo>
                <a:cubicBezTo>
                  <a:pt x="746252" y="123914"/>
                  <a:pt x="736382" y="129637"/>
                  <a:pt x="731572" y="141082"/>
                </a:cubicBezTo>
                <a:cubicBezTo>
                  <a:pt x="726761" y="152528"/>
                  <a:pt x="724356" y="178986"/>
                  <a:pt x="724356" y="220457"/>
                </a:cubicBezTo>
                <a:lnTo>
                  <a:pt x="724356" y="613596"/>
                </a:lnTo>
                <a:cubicBezTo>
                  <a:pt x="724356" y="660374"/>
                  <a:pt x="726595" y="688574"/>
                  <a:pt x="731074" y="698195"/>
                </a:cubicBezTo>
                <a:cubicBezTo>
                  <a:pt x="735553" y="707816"/>
                  <a:pt x="745257" y="712627"/>
                  <a:pt x="760186" y="712627"/>
                </a:cubicBezTo>
                <a:cubicBezTo>
                  <a:pt x="775115" y="712627"/>
                  <a:pt x="784902" y="706987"/>
                  <a:pt x="789547" y="695707"/>
                </a:cubicBezTo>
                <a:cubicBezTo>
                  <a:pt x="794192" y="684427"/>
                  <a:pt x="796514" y="659047"/>
                  <a:pt x="796514" y="619567"/>
                </a:cubicBezTo>
                <a:lnTo>
                  <a:pt x="796514" y="220457"/>
                </a:lnTo>
                <a:cubicBezTo>
                  <a:pt x="796514" y="177659"/>
                  <a:pt x="794441" y="150869"/>
                  <a:pt x="790294" y="140087"/>
                </a:cubicBezTo>
                <a:cubicBezTo>
                  <a:pt x="786147" y="129305"/>
                  <a:pt x="776442" y="123914"/>
                  <a:pt x="761181" y="123914"/>
                </a:cubicBezTo>
                <a:close/>
                <a:moveTo>
                  <a:pt x="1257826" y="15427"/>
                </a:moveTo>
                <a:lnTo>
                  <a:pt x="1376265" y="15427"/>
                </a:lnTo>
                <a:lnTo>
                  <a:pt x="1376265" y="821113"/>
                </a:lnTo>
                <a:lnTo>
                  <a:pt x="1175217" y="821113"/>
                </a:lnTo>
                <a:lnTo>
                  <a:pt x="1175217" y="389158"/>
                </a:lnTo>
                <a:cubicBezTo>
                  <a:pt x="1175217" y="326787"/>
                  <a:pt x="1173724" y="289297"/>
                  <a:pt x="1170738" y="276690"/>
                </a:cubicBezTo>
                <a:cubicBezTo>
                  <a:pt x="1167752" y="264083"/>
                  <a:pt x="1159541" y="254545"/>
                  <a:pt x="1146104" y="248076"/>
                </a:cubicBezTo>
                <a:cubicBezTo>
                  <a:pt x="1132668" y="241607"/>
                  <a:pt x="1102726" y="238372"/>
                  <a:pt x="1056280" y="238372"/>
                </a:cubicBezTo>
                <a:lnTo>
                  <a:pt x="1036374" y="238372"/>
                </a:lnTo>
                <a:lnTo>
                  <a:pt x="1036374" y="144442"/>
                </a:lnTo>
                <a:cubicBezTo>
                  <a:pt x="1133580" y="123520"/>
                  <a:pt x="1207398" y="80515"/>
                  <a:pt x="1257826" y="15427"/>
                </a:cubicBezTo>
                <a:close/>
                <a:moveTo>
                  <a:pt x="1689655" y="0"/>
                </a:moveTo>
                <a:cubicBezTo>
                  <a:pt x="1743401" y="0"/>
                  <a:pt x="1787525" y="7465"/>
                  <a:pt x="1822028" y="22394"/>
                </a:cubicBezTo>
                <a:cubicBezTo>
                  <a:pt x="1856532" y="37324"/>
                  <a:pt x="1883239" y="58805"/>
                  <a:pt x="1902149" y="86839"/>
                </a:cubicBezTo>
                <a:cubicBezTo>
                  <a:pt x="1921060" y="114873"/>
                  <a:pt x="1932008" y="144317"/>
                  <a:pt x="1934994" y="175171"/>
                </a:cubicBezTo>
                <a:cubicBezTo>
                  <a:pt x="1937979" y="206025"/>
                  <a:pt x="1939472" y="265742"/>
                  <a:pt x="1939472" y="354323"/>
                </a:cubicBezTo>
                <a:lnTo>
                  <a:pt x="1939472" y="466293"/>
                </a:lnTo>
                <a:cubicBezTo>
                  <a:pt x="1939472" y="562172"/>
                  <a:pt x="1938145" y="626285"/>
                  <a:pt x="1935491" y="658632"/>
                </a:cubicBezTo>
                <a:cubicBezTo>
                  <a:pt x="1932837" y="690979"/>
                  <a:pt x="1921308" y="721584"/>
                  <a:pt x="1900905" y="750448"/>
                </a:cubicBezTo>
                <a:cubicBezTo>
                  <a:pt x="1880502" y="779311"/>
                  <a:pt x="1852882" y="800959"/>
                  <a:pt x="1818047" y="815390"/>
                </a:cubicBezTo>
                <a:cubicBezTo>
                  <a:pt x="1783212" y="829822"/>
                  <a:pt x="1742903" y="837038"/>
                  <a:pt x="1697120" y="837038"/>
                </a:cubicBezTo>
                <a:cubicBezTo>
                  <a:pt x="1640388" y="837038"/>
                  <a:pt x="1594025" y="827914"/>
                  <a:pt x="1558028" y="809667"/>
                </a:cubicBezTo>
                <a:cubicBezTo>
                  <a:pt x="1522032" y="791420"/>
                  <a:pt x="1496154" y="765709"/>
                  <a:pt x="1480396" y="732532"/>
                </a:cubicBezTo>
                <a:cubicBezTo>
                  <a:pt x="1464637" y="699356"/>
                  <a:pt x="1456758" y="657554"/>
                  <a:pt x="1456758" y="607126"/>
                </a:cubicBezTo>
                <a:lnTo>
                  <a:pt x="1657806" y="607126"/>
                </a:lnTo>
                <a:cubicBezTo>
                  <a:pt x="1657806" y="644615"/>
                  <a:pt x="1658303" y="668253"/>
                  <a:pt x="1659299" y="678040"/>
                </a:cubicBezTo>
                <a:cubicBezTo>
                  <a:pt x="1660294" y="687827"/>
                  <a:pt x="1664358" y="696039"/>
                  <a:pt x="1671491" y="702674"/>
                </a:cubicBezTo>
                <a:cubicBezTo>
                  <a:pt x="1678624" y="709309"/>
                  <a:pt x="1688328" y="712627"/>
                  <a:pt x="1700603" y="712627"/>
                </a:cubicBezTo>
                <a:cubicBezTo>
                  <a:pt x="1710888" y="712627"/>
                  <a:pt x="1719348" y="709475"/>
                  <a:pt x="1725983" y="703171"/>
                </a:cubicBezTo>
                <a:cubicBezTo>
                  <a:pt x="1732618" y="696868"/>
                  <a:pt x="1736351" y="688740"/>
                  <a:pt x="1737180" y="678787"/>
                </a:cubicBezTo>
                <a:cubicBezTo>
                  <a:pt x="1738009" y="668834"/>
                  <a:pt x="1738424" y="648762"/>
                  <a:pt x="1738424" y="618572"/>
                </a:cubicBezTo>
                <a:lnTo>
                  <a:pt x="1738424" y="490180"/>
                </a:lnTo>
                <a:cubicBezTo>
                  <a:pt x="1728471" y="511744"/>
                  <a:pt x="1713542" y="527918"/>
                  <a:pt x="1693636" y="538700"/>
                </a:cubicBezTo>
                <a:cubicBezTo>
                  <a:pt x="1673730" y="549482"/>
                  <a:pt x="1649014" y="554874"/>
                  <a:pt x="1619487" y="554874"/>
                </a:cubicBezTo>
                <a:cubicBezTo>
                  <a:pt x="1582662" y="554874"/>
                  <a:pt x="1550149" y="544921"/>
                  <a:pt x="1521949" y="525015"/>
                </a:cubicBezTo>
                <a:cubicBezTo>
                  <a:pt x="1493749" y="505109"/>
                  <a:pt x="1475834" y="481222"/>
                  <a:pt x="1468203" y="453354"/>
                </a:cubicBezTo>
                <a:cubicBezTo>
                  <a:pt x="1460573" y="425486"/>
                  <a:pt x="1456758" y="387831"/>
                  <a:pt x="1456758" y="340389"/>
                </a:cubicBezTo>
                <a:lnTo>
                  <a:pt x="1456758" y="276193"/>
                </a:lnTo>
                <a:cubicBezTo>
                  <a:pt x="1456758" y="219793"/>
                  <a:pt x="1458997" y="177825"/>
                  <a:pt x="1463476" y="150289"/>
                </a:cubicBezTo>
                <a:cubicBezTo>
                  <a:pt x="1467955" y="122753"/>
                  <a:pt x="1479483" y="97290"/>
                  <a:pt x="1498062" y="73901"/>
                </a:cubicBezTo>
                <a:cubicBezTo>
                  <a:pt x="1516641" y="50511"/>
                  <a:pt x="1542352" y="32347"/>
                  <a:pt x="1575197" y="19408"/>
                </a:cubicBezTo>
                <a:cubicBezTo>
                  <a:pt x="1608041" y="6470"/>
                  <a:pt x="1646194" y="0"/>
                  <a:pt x="1689655" y="0"/>
                </a:cubicBezTo>
                <a:close/>
                <a:moveTo>
                  <a:pt x="756703" y="0"/>
                </a:moveTo>
                <a:cubicBezTo>
                  <a:pt x="800827" y="0"/>
                  <a:pt x="840307" y="7714"/>
                  <a:pt x="875142" y="23141"/>
                </a:cubicBezTo>
                <a:cubicBezTo>
                  <a:pt x="909977" y="38568"/>
                  <a:pt x="936020" y="57395"/>
                  <a:pt x="953272" y="79623"/>
                </a:cubicBezTo>
                <a:cubicBezTo>
                  <a:pt x="970524" y="101851"/>
                  <a:pt x="982218" y="126900"/>
                  <a:pt x="988356" y="154768"/>
                </a:cubicBezTo>
                <a:cubicBezTo>
                  <a:pt x="994493" y="182636"/>
                  <a:pt x="997562" y="227092"/>
                  <a:pt x="997562" y="288136"/>
                </a:cubicBezTo>
                <a:lnTo>
                  <a:pt x="997562" y="556864"/>
                </a:lnTo>
                <a:cubicBezTo>
                  <a:pt x="997562" y="617908"/>
                  <a:pt x="994245" y="662365"/>
                  <a:pt x="987609" y="690233"/>
                </a:cubicBezTo>
                <a:cubicBezTo>
                  <a:pt x="980974" y="718101"/>
                  <a:pt x="967206" y="744144"/>
                  <a:pt x="946305" y="768363"/>
                </a:cubicBezTo>
                <a:cubicBezTo>
                  <a:pt x="925404" y="792582"/>
                  <a:pt x="900190" y="809999"/>
                  <a:pt x="870663" y="820615"/>
                </a:cubicBezTo>
                <a:cubicBezTo>
                  <a:pt x="841136" y="831232"/>
                  <a:pt x="808126" y="836540"/>
                  <a:pt x="771632" y="836540"/>
                </a:cubicBezTo>
                <a:cubicBezTo>
                  <a:pt x="723526" y="836540"/>
                  <a:pt x="683549" y="830983"/>
                  <a:pt x="651700" y="819869"/>
                </a:cubicBezTo>
                <a:cubicBezTo>
                  <a:pt x="619851" y="808755"/>
                  <a:pt x="594471" y="791420"/>
                  <a:pt x="575560" y="767865"/>
                </a:cubicBezTo>
                <a:cubicBezTo>
                  <a:pt x="556650" y="744310"/>
                  <a:pt x="543213" y="719511"/>
                  <a:pt x="535251" y="693467"/>
                </a:cubicBezTo>
                <a:cubicBezTo>
                  <a:pt x="527289" y="667424"/>
                  <a:pt x="523308" y="626037"/>
                  <a:pt x="523308" y="569305"/>
                </a:cubicBezTo>
                <a:lnTo>
                  <a:pt x="523308" y="288136"/>
                </a:lnTo>
                <a:cubicBezTo>
                  <a:pt x="523308" y="214153"/>
                  <a:pt x="529694" y="158749"/>
                  <a:pt x="542467" y="121923"/>
                </a:cubicBezTo>
                <a:cubicBezTo>
                  <a:pt x="555240" y="85098"/>
                  <a:pt x="580620" y="55571"/>
                  <a:pt x="618606" y="33343"/>
                </a:cubicBezTo>
                <a:cubicBezTo>
                  <a:pt x="656593" y="11114"/>
                  <a:pt x="702625" y="0"/>
                  <a:pt x="756703" y="0"/>
                </a:cubicBezTo>
                <a:close/>
                <a:moveTo>
                  <a:pt x="217470" y="0"/>
                </a:moveTo>
                <a:cubicBezTo>
                  <a:pt x="297425" y="0"/>
                  <a:pt x="357889" y="19823"/>
                  <a:pt x="398862" y="59469"/>
                </a:cubicBezTo>
                <a:cubicBezTo>
                  <a:pt x="439834" y="99114"/>
                  <a:pt x="460321" y="149294"/>
                  <a:pt x="460321" y="210006"/>
                </a:cubicBezTo>
                <a:cubicBezTo>
                  <a:pt x="460321" y="256121"/>
                  <a:pt x="448791" y="304890"/>
                  <a:pt x="425731" y="356313"/>
                </a:cubicBezTo>
                <a:cubicBezTo>
                  <a:pt x="402670" y="407737"/>
                  <a:pt x="334738" y="516887"/>
                  <a:pt x="221934" y="683763"/>
                </a:cubicBezTo>
                <a:lnTo>
                  <a:pt x="442406" y="683763"/>
                </a:lnTo>
                <a:lnTo>
                  <a:pt x="442406" y="821113"/>
                </a:lnTo>
                <a:lnTo>
                  <a:pt x="0" y="821113"/>
                </a:lnTo>
                <a:lnTo>
                  <a:pt x="124" y="706157"/>
                </a:lnTo>
                <a:cubicBezTo>
                  <a:pt x="131171" y="491839"/>
                  <a:pt x="209052" y="359216"/>
                  <a:pt x="233768" y="308291"/>
                </a:cubicBezTo>
                <a:cubicBezTo>
                  <a:pt x="258485" y="257365"/>
                  <a:pt x="270843" y="217637"/>
                  <a:pt x="270843" y="189105"/>
                </a:cubicBezTo>
                <a:cubicBezTo>
                  <a:pt x="270843" y="167209"/>
                  <a:pt x="267105" y="150869"/>
                  <a:pt x="259630" y="140087"/>
                </a:cubicBezTo>
                <a:cubicBezTo>
                  <a:pt x="252155" y="129305"/>
                  <a:pt x="240777" y="123914"/>
                  <a:pt x="225495" y="123914"/>
                </a:cubicBezTo>
                <a:cubicBezTo>
                  <a:pt x="210213" y="123914"/>
                  <a:pt x="198835" y="129885"/>
                  <a:pt x="191360" y="141829"/>
                </a:cubicBezTo>
                <a:cubicBezTo>
                  <a:pt x="183885" y="153772"/>
                  <a:pt x="180147" y="177493"/>
                  <a:pt x="180147" y="212992"/>
                </a:cubicBezTo>
                <a:lnTo>
                  <a:pt x="180147" y="289629"/>
                </a:lnTo>
                <a:lnTo>
                  <a:pt x="0" y="289629"/>
                </a:lnTo>
                <a:lnTo>
                  <a:pt x="0" y="260268"/>
                </a:lnTo>
                <a:cubicBezTo>
                  <a:pt x="0" y="215149"/>
                  <a:pt x="2322" y="179567"/>
                  <a:pt x="6967" y="153524"/>
                </a:cubicBezTo>
                <a:cubicBezTo>
                  <a:pt x="11612" y="127480"/>
                  <a:pt x="23057" y="101851"/>
                  <a:pt x="41304" y="76638"/>
                </a:cubicBezTo>
                <a:cubicBezTo>
                  <a:pt x="59551" y="51424"/>
                  <a:pt x="83272" y="32347"/>
                  <a:pt x="112468" y="19408"/>
                </a:cubicBezTo>
                <a:cubicBezTo>
                  <a:pt x="141663" y="6470"/>
                  <a:pt x="176664" y="0"/>
                  <a:pt x="217470" y="0"/>
                </a:cubicBezTo>
                <a:close/>
              </a:path>
            </a:pathLst>
          </a:custGeom>
          <a:solidFill>
            <a:schemeClr val="tx1">
              <a:alpha val="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zh-CN" altLang="en-US" sz="8000" dirty="0">
              <a:latin typeface="Impact" panose="020B0806030902050204" pitchFamily="34" charset="0"/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09165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215401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919130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B82FADB-B37B-4065-99DB-F3C62FA2B699}" type="datetime1">
              <a:rPr lang="zh-CN" altLang="en-US" smtClean="0"/>
              <a:t>2019/3/22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广东工业大学专属答辩</a:t>
            </a:r>
            <a:r>
              <a:rPr lang="en-US" altLang="zh-CN"/>
              <a:t>PPT</a:t>
            </a:r>
            <a:r>
              <a:rPr lang="zh-CN" altLang="en-US"/>
              <a:t>模板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g"/><Relationship Id="rId4" Type="http://schemas.openxmlformats.org/officeDocument/2006/relationships/image" Target="../media/image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4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0.emf"/><Relationship Id="rId11" Type="http://schemas.openxmlformats.org/officeDocument/2006/relationships/image" Target="../media/image15.jpeg"/><Relationship Id="rId5" Type="http://schemas.openxmlformats.org/officeDocument/2006/relationships/hyperlink" Target="https://www.islide.cc/" TargetMode="External"/><Relationship Id="rId10" Type="http://schemas.openxmlformats.org/officeDocument/2006/relationships/image" Target="../media/image14.jpe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副标题 13">
            <a:extLst>
              <a:ext uri="{FF2B5EF4-FFF2-40B4-BE49-F238E27FC236}">
                <a16:creationId xmlns:a16="http://schemas.microsoft.com/office/drawing/2014/main" id="{D749628D-D95A-4B3E-8F80-C9806A3738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</a:rPr>
              <a:t>团结 勤奋 求是 创新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广东工业大学专属答辩</a:t>
            </a:r>
            <a:r>
              <a:rPr lang="en-US" altLang="zh-CN" dirty="0">
                <a:solidFill>
                  <a:schemeClr val="accent1"/>
                </a:solidFill>
              </a:rPr>
              <a:t>PPT</a:t>
            </a:r>
            <a:r>
              <a:rPr lang="zh-CN" altLang="en-US" dirty="0">
                <a:solidFill>
                  <a:schemeClr val="accent1"/>
                </a:solidFill>
              </a:rPr>
              <a:t>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答辩人：蔡徐坤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19.03.20</a:t>
            </a:r>
            <a:endParaRPr lang="en-US" altLang="en-US" dirty="0"/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BFA52ABB-359F-43D6-9717-B0D3697BC15F}"/>
              </a:ext>
            </a:extLst>
          </p:cNvPr>
          <p:cNvSpPr/>
          <p:nvPr/>
        </p:nvSpPr>
        <p:spPr>
          <a:xfrm>
            <a:off x="669925" y="4070498"/>
            <a:ext cx="2668361" cy="473925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3"/>
              </a:gs>
              <a:gs pos="48000">
                <a:schemeClr val="accent3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i="1" dirty="0"/>
              <a:t>Subtitle here</a:t>
            </a:r>
          </a:p>
        </p:txBody>
      </p:sp>
      <p:grpSp>
        <p:nvGrpSpPr>
          <p:cNvPr id="17" name="676fecc8-5938-4c2a-98aa-ea8df12395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EE48B6E-4095-41DC-AF12-76D3168A948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73100" y="550863"/>
            <a:ext cx="1445260" cy="392199"/>
            <a:chOff x="2647449" y="2492374"/>
            <a:chExt cx="6897103" cy="1871663"/>
          </a:xfrm>
        </p:grpSpPr>
        <p:sp>
          <p:nvSpPr>
            <p:cNvPr id="18" name="íšľíḑe">
              <a:extLst>
                <a:ext uri="{FF2B5EF4-FFF2-40B4-BE49-F238E27FC236}">
                  <a16:creationId xmlns:a16="http://schemas.microsoft.com/office/drawing/2014/main" id="{1998EF3E-8AED-4A8F-9E9A-B7826E76E27A}"/>
                </a:ext>
              </a:extLst>
            </p:cNvPr>
            <p:cNvSpPr/>
            <p:nvPr userDrawn="1"/>
          </p:nvSpPr>
          <p:spPr bwMode="auto">
            <a:xfrm>
              <a:off x="4864297" y="2650172"/>
              <a:ext cx="4625464" cy="1089247"/>
            </a:xfrm>
            <a:custGeom>
              <a:avLst/>
              <a:gdLst>
                <a:gd name="T0" fmla="*/ 1846 w 2033"/>
                <a:gd name="T1" fmla="*/ 379 h 478"/>
                <a:gd name="T2" fmla="*/ 1836 w 2033"/>
                <a:gd name="T3" fmla="*/ 368 h 478"/>
                <a:gd name="T4" fmla="*/ 1932 w 2033"/>
                <a:gd name="T5" fmla="*/ 256 h 478"/>
                <a:gd name="T6" fmla="*/ 1958 w 2033"/>
                <a:gd name="T7" fmla="*/ 124 h 478"/>
                <a:gd name="T8" fmla="*/ 1868 w 2033"/>
                <a:gd name="T9" fmla="*/ 215 h 478"/>
                <a:gd name="T10" fmla="*/ 1814 w 2033"/>
                <a:gd name="T11" fmla="*/ 242 h 478"/>
                <a:gd name="T12" fmla="*/ 1796 w 2033"/>
                <a:gd name="T13" fmla="*/ 130 h 478"/>
                <a:gd name="T14" fmla="*/ 1834 w 2033"/>
                <a:gd name="T15" fmla="*/ 154 h 478"/>
                <a:gd name="T16" fmla="*/ 1859 w 2033"/>
                <a:gd name="T17" fmla="*/ 124 h 478"/>
                <a:gd name="T18" fmla="*/ 1944 w 2033"/>
                <a:gd name="T19" fmla="*/ 46 h 478"/>
                <a:gd name="T20" fmla="*/ 2022 w 2033"/>
                <a:gd name="T21" fmla="*/ 84 h 478"/>
                <a:gd name="T22" fmla="*/ 1892 w 2033"/>
                <a:gd name="T23" fmla="*/ 315 h 478"/>
                <a:gd name="T24" fmla="*/ 1927 w 2033"/>
                <a:gd name="T25" fmla="*/ 338 h 478"/>
                <a:gd name="T26" fmla="*/ 2 w 2033"/>
                <a:gd name="T27" fmla="*/ 449 h 478"/>
                <a:gd name="T28" fmla="*/ 236 w 2033"/>
                <a:gd name="T29" fmla="*/ 99 h 478"/>
                <a:gd name="T30" fmla="*/ 119 w 2033"/>
                <a:gd name="T31" fmla="*/ 112 h 478"/>
                <a:gd name="T32" fmla="*/ 276 w 2033"/>
                <a:gd name="T33" fmla="*/ 88 h 478"/>
                <a:gd name="T34" fmla="*/ 237 w 2033"/>
                <a:gd name="T35" fmla="*/ 157 h 478"/>
                <a:gd name="T36" fmla="*/ 341 w 2033"/>
                <a:gd name="T37" fmla="*/ 184 h 478"/>
                <a:gd name="T38" fmla="*/ 308 w 2033"/>
                <a:gd name="T39" fmla="*/ 295 h 478"/>
                <a:gd name="T40" fmla="*/ 253 w 2033"/>
                <a:gd name="T41" fmla="*/ 338 h 478"/>
                <a:gd name="T42" fmla="*/ 133 w 2033"/>
                <a:gd name="T43" fmla="*/ 427 h 478"/>
                <a:gd name="T44" fmla="*/ 154 w 2033"/>
                <a:gd name="T45" fmla="*/ 285 h 478"/>
                <a:gd name="T46" fmla="*/ 1171 w 2033"/>
                <a:gd name="T47" fmla="*/ 371 h 478"/>
                <a:gd name="T48" fmla="*/ 1168 w 2033"/>
                <a:gd name="T49" fmla="*/ 314 h 478"/>
                <a:gd name="T50" fmla="*/ 1220 w 2033"/>
                <a:gd name="T51" fmla="*/ 245 h 478"/>
                <a:gd name="T52" fmla="*/ 1055 w 2033"/>
                <a:gd name="T53" fmla="*/ 234 h 478"/>
                <a:gd name="T54" fmla="*/ 1168 w 2033"/>
                <a:gd name="T55" fmla="*/ 165 h 478"/>
                <a:gd name="T56" fmla="*/ 1198 w 2033"/>
                <a:gd name="T57" fmla="*/ 87 h 478"/>
                <a:gd name="T58" fmla="*/ 1204 w 2033"/>
                <a:gd name="T59" fmla="*/ 161 h 478"/>
                <a:gd name="T60" fmla="*/ 1283 w 2033"/>
                <a:gd name="T61" fmla="*/ 170 h 478"/>
                <a:gd name="T62" fmla="*/ 1235 w 2033"/>
                <a:gd name="T63" fmla="*/ 256 h 478"/>
                <a:gd name="T64" fmla="*/ 1220 w 2033"/>
                <a:gd name="T65" fmla="*/ 318 h 478"/>
                <a:gd name="T66" fmla="*/ 405 w 2033"/>
                <a:gd name="T67" fmla="*/ 412 h 478"/>
                <a:gd name="T68" fmla="*/ 434 w 2033"/>
                <a:gd name="T69" fmla="*/ 422 h 478"/>
                <a:gd name="T70" fmla="*/ 574 w 2033"/>
                <a:gd name="T71" fmla="*/ 413 h 478"/>
                <a:gd name="T72" fmla="*/ 578 w 2033"/>
                <a:gd name="T73" fmla="*/ 255 h 478"/>
                <a:gd name="T74" fmla="*/ 638 w 2033"/>
                <a:gd name="T75" fmla="*/ 104 h 478"/>
                <a:gd name="T76" fmla="*/ 466 w 2033"/>
                <a:gd name="T77" fmla="*/ 159 h 478"/>
                <a:gd name="T78" fmla="*/ 535 w 2033"/>
                <a:gd name="T79" fmla="*/ 201 h 478"/>
                <a:gd name="T80" fmla="*/ 499 w 2033"/>
                <a:gd name="T81" fmla="*/ 257 h 478"/>
                <a:gd name="T82" fmla="*/ 556 w 2033"/>
                <a:gd name="T83" fmla="*/ 225 h 478"/>
                <a:gd name="T84" fmla="*/ 531 w 2033"/>
                <a:gd name="T85" fmla="*/ 386 h 478"/>
                <a:gd name="T86" fmla="*/ 1609 w 2033"/>
                <a:gd name="T87" fmla="*/ 256 h 478"/>
                <a:gd name="T88" fmla="*/ 1562 w 2033"/>
                <a:gd name="T89" fmla="*/ 107 h 478"/>
                <a:gd name="T90" fmla="*/ 1556 w 2033"/>
                <a:gd name="T91" fmla="*/ 279 h 478"/>
                <a:gd name="T92" fmla="*/ 324 w 2033"/>
                <a:gd name="T93" fmla="*/ 382 h 478"/>
                <a:gd name="T94" fmla="*/ 1283 w 2033"/>
                <a:gd name="T95" fmla="*/ 389 h 478"/>
                <a:gd name="T96" fmla="*/ 1184 w 2033"/>
                <a:gd name="T97" fmla="*/ 385 h 478"/>
                <a:gd name="T98" fmla="*/ 731 w 2033"/>
                <a:gd name="T99" fmla="*/ 348 h 478"/>
                <a:gd name="T100" fmla="*/ 913 w 2033"/>
                <a:gd name="T101" fmla="*/ 256 h 478"/>
                <a:gd name="T102" fmla="*/ 838 w 2033"/>
                <a:gd name="T103" fmla="*/ 191 h 478"/>
                <a:gd name="T104" fmla="*/ 957 w 2033"/>
                <a:gd name="T105" fmla="*/ 243 h 478"/>
                <a:gd name="T106" fmla="*/ 875 w 2033"/>
                <a:gd name="T107" fmla="*/ 347 h 478"/>
                <a:gd name="T108" fmla="*/ 229 w 2033"/>
                <a:gd name="T109" fmla="*/ 334 h 478"/>
                <a:gd name="T110" fmla="*/ 208 w 2033"/>
                <a:gd name="T111" fmla="*/ 302 h 478"/>
                <a:gd name="T112" fmla="*/ 190 w 2033"/>
                <a:gd name="T113" fmla="*/ 339 h 478"/>
                <a:gd name="T114" fmla="*/ 651 w 2033"/>
                <a:gd name="T115" fmla="*/ 339 h 478"/>
                <a:gd name="T116" fmla="*/ 149 w 2033"/>
                <a:gd name="T117" fmla="*/ 244 h 478"/>
                <a:gd name="T118" fmla="*/ 1847 w 2033"/>
                <a:gd name="T119" fmla="*/ 174 h 478"/>
                <a:gd name="T120" fmla="*/ 1907 w 2033"/>
                <a:gd name="T121" fmla="*/ 189 h 478"/>
                <a:gd name="T122" fmla="*/ 583 w 2033"/>
                <a:gd name="T123" fmla="*/ 131 h 478"/>
                <a:gd name="T124" fmla="*/ 209 w 2033"/>
                <a:gd name="T125" fmla="*/ 19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3" h="478">
                  <a:moveTo>
                    <a:pt x="1888" y="478"/>
                  </a:moveTo>
                  <a:cubicBezTo>
                    <a:pt x="1854" y="462"/>
                    <a:pt x="1854" y="462"/>
                    <a:pt x="1854" y="462"/>
                  </a:cubicBezTo>
                  <a:cubicBezTo>
                    <a:pt x="1854" y="462"/>
                    <a:pt x="1854" y="462"/>
                    <a:pt x="1854" y="462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18" y="275"/>
                    <a:pt x="1918" y="275"/>
                    <a:pt x="1918" y="275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863" y="283"/>
                    <a:pt x="1863" y="283"/>
                    <a:pt x="1863" y="283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64" y="262"/>
                    <a:pt x="1864" y="262"/>
                    <a:pt x="1864" y="262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4" y="126"/>
                    <a:pt x="1954" y="126"/>
                    <a:pt x="1954" y="126"/>
                  </a:cubicBezTo>
                  <a:cubicBezTo>
                    <a:pt x="1952" y="128"/>
                    <a:pt x="1952" y="128"/>
                    <a:pt x="1952" y="128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39" y="50"/>
                    <a:pt x="1939" y="50"/>
                    <a:pt x="1939" y="50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6" y="144"/>
                    <a:pt x="2006" y="144"/>
                    <a:pt x="2006" y="144"/>
                  </a:cubicBezTo>
                  <a:cubicBezTo>
                    <a:pt x="2003" y="142"/>
                    <a:pt x="2003" y="142"/>
                    <a:pt x="2003" y="142"/>
                  </a:cubicBezTo>
                  <a:cubicBezTo>
                    <a:pt x="1971" y="194"/>
                    <a:pt x="1971" y="194"/>
                    <a:pt x="1971" y="194"/>
                  </a:cubicBezTo>
                  <a:cubicBezTo>
                    <a:pt x="1967" y="195"/>
                    <a:pt x="1967" y="195"/>
                    <a:pt x="1967" y="195"/>
                  </a:cubicBezTo>
                  <a:cubicBezTo>
                    <a:pt x="1950" y="219"/>
                    <a:pt x="1950" y="219"/>
                    <a:pt x="1950" y="219"/>
                  </a:cubicBezTo>
                  <a:cubicBezTo>
                    <a:pt x="1948" y="221"/>
                    <a:pt x="1948" y="221"/>
                    <a:pt x="1948" y="221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89" y="478"/>
                    <a:pt x="1889" y="478"/>
                    <a:pt x="1889" y="478"/>
                  </a:cubicBezTo>
                  <a:lnTo>
                    <a:pt x="1888" y="478"/>
                  </a:lnTo>
                  <a:close/>
                  <a:moveTo>
                    <a:pt x="19" y="460"/>
                  </a:moveTo>
                  <a:cubicBezTo>
                    <a:pt x="16" y="460"/>
                    <a:pt x="16" y="460"/>
                    <a:pt x="16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5" y="288"/>
                    <a:pt x="95" y="288"/>
                    <a:pt x="96" y="288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7" y="288"/>
                    <a:pt x="98" y="287"/>
                    <a:pt x="98" y="287"/>
                  </a:cubicBezTo>
                  <a:cubicBezTo>
                    <a:pt x="98" y="287"/>
                    <a:pt x="98" y="287"/>
                    <a:pt x="98" y="287"/>
                  </a:cubicBezTo>
                  <a:cubicBezTo>
                    <a:pt x="99" y="287"/>
                    <a:pt x="99" y="286"/>
                    <a:pt x="99" y="285"/>
                  </a:cubicBezTo>
                  <a:cubicBezTo>
                    <a:pt x="99" y="285"/>
                    <a:pt x="99" y="285"/>
                    <a:pt x="99" y="285"/>
                  </a:cubicBezTo>
                  <a:cubicBezTo>
                    <a:pt x="101" y="283"/>
                    <a:pt x="103" y="282"/>
                    <a:pt x="10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05" y="279"/>
                    <a:pt x="105" y="279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7" y="277"/>
                    <a:pt x="108" y="276"/>
                    <a:pt x="109" y="275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13" y="268"/>
                    <a:pt x="117" y="261"/>
                    <a:pt x="121" y="254"/>
                  </a:cubicBezTo>
                  <a:cubicBezTo>
                    <a:pt x="121" y="254"/>
                    <a:pt x="121" y="254"/>
                    <a:pt x="121" y="254"/>
                  </a:cubicBezTo>
                  <a:cubicBezTo>
                    <a:pt x="120" y="254"/>
                    <a:pt x="120" y="254"/>
                    <a:pt x="119" y="254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9" y="184"/>
                    <a:pt x="219" y="184"/>
                    <a:pt x="219" y="184"/>
                  </a:cubicBezTo>
                  <a:cubicBezTo>
                    <a:pt x="219" y="181"/>
                    <a:pt x="219" y="181"/>
                    <a:pt x="219" y="181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189" y="384"/>
                    <a:pt x="189" y="384"/>
                    <a:pt x="189" y="384"/>
                  </a:cubicBezTo>
                  <a:cubicBezTo>
                    <a:pt x="185" y="386"/>
                    <a:pt x="185" y="386"/>
                    <a:pt x="185" y="386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1"/>
                    <a:pt x="182" y="350"/>
                    <a:pt x="181" y="349"/>
                  </a:cubicBezTo>
                  <a:cubicBezTo>
                    <a:pt x="181" y="349"/>
                    <a:pt x="181" y="349"/>
                    <a:pt x="181" y="349"/>
                  </a:cubicBezTo>
                  <a:cubicBezTo>
                    <a:pt x="181" y="348"/>
                    <a:pt x="181" y="346"/>
                    <a:pt x="180" y="345"/>
                  </a:cubicBezTo>
                  <a:cubicBezTo>
                    <a:pt x="180" y="345"/>
                    <a:pt x="180" y="345"/>
                    <a:pt x="180" y="345"/>
                  </a:cubicBezTo>
                  <a:cubicBezTo>
                    <a:pt x="179" y="341"/>
                    <a:pt x="178" y="338"/>
                    <a:pt x="177" y="334"/>
                  </a:cubicBezTo>
                  <a:cubicBezTo>
                    <a:pt x="177" y="334"/>
                    <a:pt x="177" y="334"/>
                    <a:pt x="177" y="334"/>
                  </a:cubicBezTo>
                  <a:cubicBezTo>
                    <a:pt x="177" y="326"/>
                    <a:pt x="178" y="319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80" y="308"/>
                    <a:pt x="181" y="304"/>
                    <a:pt x="182" y="300"/>
                  </a:cubicBezTo>
                  <a:cubicBezTo>
                    <a:pt x="182" y="300"/>
                    <a:pt x="182" y="300"/>
                    <a:pt x="182" y="300"/>
                  </a:cubicBezTo>
                  <a:cubicBezTo>
                    <a:pt x="184" y="297"/>
                    <a:pt x="185" y="293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9" y="287"/>
                    <a:pt x="191" y="283"/>
                    <a:pt x="193" y="280"/>
                  </a:cubicBezTo>
                  <a:cubicBezTo>
                    <a:pt x="193" y="280"/>
                    <a:pt x="193" y="280"/>
                    <a:pt x="193" y="280"/>
                  </a:cubicBezTo>
                  <a:cubicBezTo>
                    <a:pt x="195" y="276"/>
                    <a:pt x="197" y="273"/>
                    <a:pt x="199" y="269"/>
                  </a:cubicBezTo>
                  <a:cubicBezTo>
                    <a:pt x="199" y="269"/>
                    <a:pt x="199" y="269"/>
                    <a:pt x="199" y="26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194" y="268"/>
                    <a:pt x="181" y="276"/>
                    <a:pt x="168" y="284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3" y="288"/>
                    <a:pt x="160" y="289"/>
                    <a:pt x="154" y="285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3" y="285"/>
                    <a:pt x="152" y="285"/>
                    <a:pt x="151" y="285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0" y="285"/>
                    <a:pt x="150" y="284"/>
                    <a:pt x="149" y="283"/>
                  </a:cubicBezTo>
                  <a:cubicBezTo>
                    <a:pt x="149" y="283"/>
                    <a:pt x="149" y="283"/>
                    <a:pt x="149" y="283"/>
                  </a:cubicBezTo>
                  <a:cubicBezTo>
                    <a:pt x="148" y="283"/>
                    <a:pt x="147" y="282"/>
                    <a:pt x="146" y="282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5" y="281"/>
                    <a:pt x="145" y="280"/>
                    <a:pt x="145" y="279"/>
                  </a:cubicBezTo>
                  <a:cubicBezTo>
                    <a:pt x="145" y="279"/>
                    <a:pt x="145" y="279"/>
                    <a:pt x="145" y="279"/>
                  </a:cubicBezTo>
                  <a:cubicBezTo>
                    <a:pt x="142" y="278"/>
                    <a:pt x="140" y="276"/>
                    <a:pt x="138" y="274"/>
                  </a:cubicBezTo>
                  <a:cubicBezTo>
                    <a:pt x="138" y="274"/>
                    <a:pt x="138" y="274"/>
                    <a:pt x="138" y="274"/>
                  </a:cubicBezTo>
                  <a:cubicBezTo>
                    <a:pt x="138" y="274"/>
                    <a:pt x="137" y="273"/>
                    <a:pt x="136" y="273"/>
                  </a:cubicBezTo>
                  <a:cubicBezTo>
                    <a:pt x="136" y="273"/>
                    <a:pt x="136" y="273"/>
                    <a:pt x="136" y="273"/>
                  </a:cubicBezTo>
                  <a:cubicBezTo>
                    <a:pt x="136" y="273"/>
                    <a:pt x="135" y="273"/>
                    <a:pt x="134" y="272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3" y="272"/>
                    <a:pt x="133" y="272"/>
                    <a:pt x="132" y="271"/>
                  </a:cubicBezTo>
                  <a:cubicBezTo>
                    <a:pt x="132" y="271"/>
                    <a:pt x="132" y="271"/>
                    <a:pt x="132" y="271"/>
                  </a:cubicBezTo>
                  <a:cubicBezTo>
                    <a:pt x="132" y="271"/>
                    <a:pt x="131" y="270"/>
                    <a:pt x="131" y="269"/>
                  </a:cubicBezTo>
                  <a:cubicBezTo>
                    <a:pt x="131" y="269"/>
                    <a:pt x="131" y="269"/>
                    <a:pt x="131" y="269"/>
                  </a:cubicBezTo>
                  <a:cubicBezTo>
                    <a:pt x="130" y="270"/>
                    <a:pt x="129" y="270"/>
                    <a:pt x="128" y="270"/>
                  </a:cubicBezTo>
                  <a:cubicBezTo>
                    <a:pt x="128" y="270"/>
                    <a:pt x="128" y="270"/>
                    <a:pt x="128" y="270"/>
                  </a:cubicBezTo>
                  <a:cubicBezTo>
                    <a:pt x="127" y="271"/>
                    <a:pt x="126" y="271"/>
                    <a:pt x="126" y="271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5" y="272"/>
                    <a:pt x="125" y="273"/>
                    <a:pt x="125" y="273"/>
                  </a:cubicBezTo>
                  <a:cubicBezTo>
                    <a:pt x="125" y="273"/>
                    <a:pt x="125" y="273"/>
                    <a:pt x="125" y="273"/>
                  </a:cubicBezTo>
                  <a:cubicBezTo>
                    <a:pt x="124" y="274"/>
                    <a:pt x="124" y="274"/>
                    <a:pt x="123" y="275"/>
                  </a:cubicBezTo>
                  <a:cubicBezTo>
                    <a:pt x="123" y="275"/>
                    <a:pt x="123" y="275"/>
                    <a:pt x="123" y="275"/>
                  </a:cubicBezTo>
                  <a:cubicBezTo>
                    <a:pt x="123" y="276"/>
                    <a:pt x="123" y="277"/>
                    <a:pt x="122" y="278"/>
                  </a:cubicBezTo>
                  <a:cubicBezTo>
                    <a:pt x="122" y="278"/>
                    <a:pt x="122" y="278"/>
                    <a:pt x="122" y="278"/>
                  </a:cubicBezTo>
                  <a:cubicBezTo>
                    <a:pt x="122" y="279"/>
                    <a:pt x="122" y="279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0" y="280"/>
                    <a:pt x="119" y="281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19" y="281"/>
                    <a:pt x="119" y="281"/>
                    <a:pt x="118" y="281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20" y="459"/>
                    <a:pt x="20" y="459"/>
                    <a:pt x="20" y="459"/>
                  </a:cubicBezTo>
                  <a:lnTo>
                    <a:pt x="19" y="460"/>
                  </a:lnTo>
                  <a:close/>
                  <a:moveTo>
                    <a:pt x="1093" y="454"/>
                  </a:moveTo>
                  <a:cubicBezTo>
                    <a:pt x="1090" y="452"/>
                    <a:pt x="1090" y="452"/>
                    <a:pt x="1090" y="452"/>
                  </a:cubicBezTo>
                  <a:cubicBezTo>
                    <a:pt x="1090" y="452"/>
                    <a:pt x="1090" y="452"/>
                    <a:pt x="1090" y="452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2" y="223"/>
                    <a:pt x="1221" y="222"/>
                    <a:pt x="1218" y="220"/>
                  </a:cubicBezTo>
                  <a:cubicBezTo>
                    <a:pt x="1218" y="220"/>
                    <a:pt x="1218" y="220"/>
                    <a:pt x="1218" y="220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8" y="101"/>
                    <a:pt x="1178" y="101"/>
                    <a:pt x="1178" y="101"/>
                  </a:cubicBezTo>
                  <a:cubicBezTo>
                    <a:pt x="1178" y="99"/>
                    <a:pt x="1178" y="99"/>
                    <a:pt x="1178" y="99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44" y="229"/>
                    <a:pt x="1237" y="234"/>
                    <a:pt x="1237" y="235"/>
                  </a:cubicBezTo>
                  <a:cubicBezTo>
                    <a:pt x="1237" y="235"/>
                    <a:pt x="1237" y="235"/>
                    <a:pt x="1237" y="235"/>
                  </a:cubicBezTo>
                  <a:cubicBezTo>
                    <a:pt x="1237" y="236"/>
                    <a:pt x="1237" y="236"/>
                    <a:pt x="1237" y="236"/>
                  </a:cubicBezTo>
                  <a:cubicBezTo>
                    <a:pt x="1234" y="239"/>
                    <a:pt x="1234" y="239"/>
                    <a:pt x="1234" y="239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096" y="454"/>
                    <a:pt x="1096" y="454"/>
                    <a:pt x="1096" y="454"/>
                  </a:cubicBezTo>
                  <a:lnTo>
                    <a:pt x="1093" y="454"/>
                  </a:lnTo>
                  <a:close/>
                  <a:moveTo>
                    <a:pt x="425" y="424"/>
                  </a:moveTo>
                  <a:cubicBezTo>
                    <a:pt x="422" y="424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5" y="424"/>
                    <a:pt x="425" y="424"/>
                    <a:pt x="425" y="424"/>
                  </a:cubicBezTo>
                  <a:close/>
                  <a:moveTo>
                    <a:pt x="1686" y="419"/>
                  </a:moveTo>
                  <a:cubicBezTo>
                    <a:pt x="1683" y="419"/>
                    <a:pt x="1683" y="419"/>
                    <a:pt x="1683" y="419"/>
                  </a:cubicBezTo>
                  <a:cubicBezTo>
                    <a:pt x="1683" y="419"/>
                    <a:pt x="1683" y="419"/>
                    <a:pt x="1683" y="419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6" y="419"/>
                    <a:pt x="1686" y="419"/>
                    <a:pt x="1686" y="419"/>
                  </a:cubicBezTo>
                  <a:close/>
                  <a:moveTo>
                    <a:pt x="573" y="412"/>
                  </a:moveTo>
                  <a:cubicBezTo>
                    <a:pt x="574" y="413"/>
                    <a:pt x="574" y="413"/>
                    <a:pt x="574" y="413"/>
                  </a:cubicBezTo>
                  <a:cubicBezTo>
                    <a:pt x="574" y="413"/>
                    <a:pt x="574" y="413"/>
                    <a:pt x="574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66" y="20"/>
                    <a:pt x="566" y="20"/>
                    <a:pt x="566" y="20"/>
                  </a:cubicBezTo>
                  <a:cubicBezTo>
                    <a:pt x="561" y="19"/>
                    <a:pt x="561" y="19"/>
                    <a:pt x="561" y="19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412"/>
                    <a:pt x="571" y="412"/>
                    <a:pt x="571" y="412"/>
                  </a:cubicBezTo>
                  <a:lnTo>
                    <a:pt x="573" y="412"/>
                  </a:lnTo>
                  <a:close/>
                  <a:moveTo>
                    <a:pt x="1446" y="406"/>
                  </a:moveTo>
                  <a:cubicBezTo>
                    <a:pt x="1469" y="399"/>
                    <a:pt x="1469" y="399"/>
                    <a:pt x="1469" y="399"/>
                  </a:cubicBezTo>
                  <a:cubicBezTo>
                    <a:pt x="1469" y="399"/>
                    <a:pt x="1469" y="399"/>
                    <a:pt x="1469" y="399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590" y="251"/>
                    <a:pt x="1590" y="251"/>
                    <a:pt x="1590" y="251"/>
                  </a:cubicBezTo>
                  <a:cubicBezTo>
                    <a:pt x="1586" y="249"/>
                    <a:pt x="1586" y="249"/>
                    <a:pt x="1586" y="249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38"/>
                    <a:pt x="1607" y="134"/>
                    <a:pt x="1607" y="131"/>
                  </a:cubicBezTo>
                  <a:cubicBezTo>
                    <a:pt x="1607" y="131"/>
                    <a:pt x="1607" y="131"/>
                    <a:pt x="1607" y="131"/>
                  </a:cubicBezTo>
                  <a:cubicBezTo>
                    <a:pt x="1605" y="123"/>
                    <a:pt x="1605" y="122"/>
                    <a:pt x="1601" y="114"/>
                  </a:cubicBezTo>
                  <a:cubicBezTo>
                    <a:pt x="1601" y="114"/>
                    <a:pt x="1601" y="114"/>
                    <a:pt x="1601" y="114"/>
                  </a:cubicBezTo>
                  <a:cubicBezTo>
                    <a:pt x="1599" y="112"/>
                    <a:pt x="1597" y="109"/>
                    <a:pt x="1595" y="106"/>
                  </a:cubicBezTo>
                  <a:cubicBezTo>
                    <a:pt x="1595" y="106"/>
                    <a:pt x="1595" y="106"/>
                    <a:pt x="1595" y="106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4" y="80"/>
                    <a:pt x="1554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6" y="120"/>
                    <a:pt x="1566" y="125"/>
                    <a:pt x="1567" y="130"/>
                  </a:cubicBezTo>
                  <a:cubicBezTo>
                    <a:pt x="1567" y="130"/>
                    <a:pt x="1567" y="130"/>
                    <a:pt x="1567" y="130"/>
                  </a:cubicBezTo>
                  <a:cubicBezTo>
                    <a:pt x="1571" y="145"/>
                    <a:pt x="1574" y="143"/>
                    <a:pt x="1572" y="160"/>
                  </a:cubicBezTo>
                  <a:cubicBezTo>
                    <a:pt x="1572" y="160"/>
                    <a:pt x="1572" y="160"/>
                    <a:pt x="1572" y="160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2" y="406"/>
                    <a:pt x="1442" y="406"/>
                    <a:pt x="1442" y="406"/>
                  </a:cubicBezTo>
                  <a:lnTo>
                    <a:pt x="1446" y="406"/>
                  </a:lnTo>
                  <a:close/>
                  <a:moveTo>
                    <a:pt x="303" y="401"/>
                  </a:moveTo>
                  <a:cubicBezTo>
                    <a:pt x="312" y="401"/>
                    <a:pt x="312" y="401"/>
                    <a:pt x="312" y="401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3" y="401"/>
                    <a:pt x="303" y="401"/>
                    <a:pt x="303" y="401"/>
                  </a:cubicBezTo>
                  <a:close/>
                  <a:moveTo>
                    <a:pt x="1278" y="393"/>
                  </a:moveTo>
                  <a:cubicBezTo>
                    <a:pt x="1278" y="392"/>
                    <a:pt x="1278" y="392"/>
                    <a:pt x="1278" y="392"/>
                  </a:cubicBezTo>
                  <a:cubicBezTo>
                    <a:pt x="1278" y="392"/>
                    <a:pt x="1278" y="392"/>
                    <a:pt x="1278" y="392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8" y="393"/>
                    <a:pt x="1278" y="393"/>
                    <a:pt x="1278" y="393"/>
                  </a:cubicBezTo>
                  <a:close/>
                  <a:moveTo>
                    <a:pt x="1179" y="386"/>
                  </a:moveTo>
                  <a:cubicBezTo>
                    <a:pt x="1179" y="386"/>
                    <a:pt x="1179" y="386"/>
                    <a:pt x="1179" y="386"/>
                  </a:cubicBezTo>
                  <a:cubicBezTo>
                    <a:pt x="1179" y="386"/>
                    <a:pt x="1179" y="386"/>
                    <a:pt x="1179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9" y="386"/>
                    <a:pt x="1179" y="386"/>
                    <a:pt x="1179" y="386"/>
                  </a:cubicBezTo>
                  <a:close/>
                  <a:moveTo>
                    <a:pt x="778" y="381"/>
                  </a:moveTo>
                  <a:cubicBezTo>
                    <a:pt x="728" y="357"/>
                    <a:pt x="728" y="357"/>
                    <a:pt x="728" y="357"/>
                  </a:cubicBezTo>
                  <a:cubicBezTo>
                    <a:pt x="728" y="357"/>
                    <a:pt x="728" y="357"/>
                    <a:pt x="728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5" y="349"/>
                    <a:pt x="864" y="349"/>
                    <a:pt x="864" y="350"/>
                  </a:cubicBezTo>
                  <a:cubicBezTo>
                    <a:pt x="864" y="350"/>
                    <a:pt x="864" y="350"/>
                    <a:pt x="864" y="350"/>
                  </a:cubicBezTo>
                  <a:cubicBezTo>
                    <a:pt x="860" y="352"/>
                    <a:pt x="859" y="351"/>
                    <a:pt x="855" y="353"/>
                  </a:cubicBezTo>
                  <a:cubicBezTo>
                    <a:pt x="855" y="353"/>
                    <a:pt x="855" y="353"/>
                    <a:pt x="855" y="353"/>
                  </a:cubicBezTo>
                  <a:cubicBezTo>
                    <a:pt x="855" y="353"/>
                    <a:pt x="854" y="353"/>
                    <a:pt x="853" y="353"/>
                  </a:cubicBezTo>
                  <a:cubicBezTo>
                    <a:pt x="853" y="354"/>
                    <a:pt x="852" y="355"/>
                    <a:pt x="851" y="355"/>
                  </a:cubicBezTo>
                  <a:cubicBezTo>
                    <a:pt x="850" y="356"/>
                    <a:pt x="850" y="357"/>
                    <a:pt x="849" y="358"/>
                  </a:cubicBezTo>
                  <a:cubicBezTo>
                    <a:pt x="849" y="358"/>
                    <a:pt x="849" y="358"/>
                    <a:pt x="849" y="358"/>
                  </a:cubicBezTo>
                  <a:cubicBezTo>
                    <a:pt x="848" y="358"/>
                    <a:pt x="848" y="358"/>
                    <a:pt x="847" y="358"/>
                  </a:cubicBezTo>
                  <a:cubicBezTo>
                    <a:pt x="847" y="358"/>
                    <a:pt x="847" y="358"/>
                    <a:pt x="847" y="358"/>
                  </a:cubicBezTo>
                  <a:cubicBezTo>
                    <a:pt x="844" y="359"/>
                    <a:pt x="842" y="359"/>
                    <a:pt x="839" y="360"/>
                  </a:cubicBezTo>
                  <a:cubicBezTo>
                    <a:pt x="839" y="360"/>
                    <a:pt x="839" y="360"/>
                    <a:pt x="839" y="360"/>
                  </a:cubicBezTo>
                  <a:cubicBezTo>
                    <a:pt x="838" y="360"/>
                    <a:pt x="836" y="360"/>
                    <a:pt x="835" y="360"/>
                  </a:cubicBezTo>
                  <a:cubicBezTo>
                    <a:pt x="835" y="360"/>
                    <a:pt x="835" y="360"/>
                    <a:pt x="835" y="360"/>
                  </a:cubicBezTo>
                  <a:cubicBezTo>
                    <a:pt x="835" y="360"/>
                    <a:pt x="834" y="361"/>
                    <a:pt x="833" y="361"/>
                  </a:cubicBezTo>
                  <a:cubicBezTo>
                    <a:pt x="833" y="361"/>
                    <a:pt x="833" y="361"/>
                    <a:pt x="833" y="361"/>
                  </a:cubicBezTo>
                  <a:cubicBezTo>
                    <a:pt x="833" y="361"/>
                    <a:pt x="833" y="361"/>
                    <a:pt x="832" y="362"/>
                  </a:cubicBezTo>
                  <a:cubicBezTo>
                    <a:pt x="832" y="362"/>
                    <a:pt x="832" y="362"/>
                    <a:pt x="832" y="362"/>
                  </a:cubicBezTo>
                  <a:cubicBezTo>
                    <a:pt x="831" y="362"/>
                    <a:pt x="830" y="363"/>
                    <a:pt x="829" y="364"/>
                  </a:cubicBezTo>
                  <a:cubicBezTo>
                    <a:pt x="829" y="364"/>
                    <a:pt x="829" y="364"/>
                    <a:pt x="829" y="364"/>
                  </a:cubicBezTo>
                  <a:cubicBezTo>
                    <a:pt x="829" y="364"/>
                    <a:pt x="828" y="364"/>
                    <a:pt x="828" y="364"/>
                  </a:cubicBezTo>
                  <a:cubicBezTo>
                    <a:pt x="828" y="364"/>
                    <a:pt x="828" y="364"/>
                    <a:pt x="828" y="364"/>
                  </a:cubicBezTo>
                  <a:cubicBezTo>
                    <a:pt x="825" y="364"/>
                    <a:pt x="822" y="365"/>
                    <a:pt x="820" y="365"/>
                  </a:cubicBezTo>
                  <a:cubicBezTo>
                    <a:pt x="820" y="365"/>
                    <a:pt x="820" y="365"/>
                    <a:pt x="820" y="365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1" y="381"/>
                    <a:pt x="781" y="381"/>
                    <a:pt x="781" y="381"/>
                  </a:cubicBezTo>
                  <a:lnTo>
                    <a:pt x="778" y="381"/>
                  </a:lnTo>
                  <a:close/>
                  <a:moveTo>
                    <a:pt x="200" y="359"/>
                  </a:moveTo>
                  <a:cubicBezTo>
                    <a:pt x="204" y="360"/>
                    <a:pt x="204" y="360"/>
                    <a:pt x="204" y="360"/>
                  </a:cubicBezTo>
                  <a:cubicBezTo>
                    <a:pt x="204" y="360"/>
                    <a:pt x="204" y="360"/>
                    <a:pt x="204" y="360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5" y="347"/>
                    <a:pt x="226" y="346"/>
                    <a:pt x="227" y="345"/>
                  </a:cubicBezTo>
                  <a:cubicBezTo>
                    <a:pt x="227" y="345"/>
                    <a:pt x="227" y="345"/>
                    <a:pt x="227" y="345"/>
                  </a:cubicBezTo>
                  <a:cubicBezTo>
                    <a:pt x="227" y="344"/>
                    <a:pt x="227" y="343"/>
                    <a:pt x="227" y="342"/>
                  </a:cubicBezTo>
                  <a:cubicBezTo>
                    <a:pt x="227" y="342"/>
                    <a:pt x="227" y="342"/>
                    <a:pt x="227" y="342"/>
                  </a:cubicBezTo>
                  <a:cubicBezTo>
                    <a:pt x="227" y="341"/>
                    <a:pt x="227" y="340"/>
                    <a:pt x="227" y="339"/>
                  </a:cubicBezTo>
                  <a:cubicBezTo>
                    <a:pt x="227" y="339"/>
                    <a:pt x="227" y="339"/>
                    <a:pt x="227" y="339"/>
                  </a:cubicBezTo>
                  <a:cubicBezTo>
                    <a:pt x="227" y="338"/>
                    <a:pt x="227" y="338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6"/>
                    <a:pt x="228" y="335"/>
                    <a:pt x="229" y="334"/>
                  </a:cubicBezTo>
                  <a:cubicBezTo>
                    <a:pt x="229" y="334"/>
                    <a:pt x="229" y="334"/>
                    <a:pt x="229" y="334"/>
                  </a:cubicBezTo>
                  <a:cubicBezTo>
                    <a:pt x="229" y="333"/>
                    <a:pt x="229" y="332"/>
                    <a:pt x="229" y="331"/>
                  </a:cubicBezTo>
                  <a:cubicBezTo>
                    <a:pt x="229" y="331"/>
                    <a:pt x="229" y="331"/>
                    <a:pt x="229" y="331"/>
                  </a:cubicBezTo>
                  <a:cubicBezTo>
                    <a:pt x="229" y="330"/>
                    <a:pt x="229" y="329"/>
                    <a:pt x="230" y="328"/>
                  </a:cubicBezTo>
                  <a:cubicBezTo>
                    <a:pt x="230" y="328"/>
                    <a:pt x="230" y="328"/>
                    <a:pt x="230" y="328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4"/>
                    <a:pt x="229" y="324"/>
                    <a:pt x="229" y="323"/>
                  </a:cubicBezTo>
                  <a:cubicBezTo>
                    <a:pt x="229" y="323"/>
                    <a:pt x="229" y="323"/>
                    <a:pt x="229" y="323"/>
                  </a:cubicBezTo>
                  <a:cubicBezTo>
                    <a:pt x="228" y="323"/>
                    <a:pt x="227" y="323"/>
                    <a:pt x="225" y="324"/>
                  </a:cubicBezTo>
                  <a:cubicBezTo>
                    <a:pt x="225" y="324"/>
                    <a:pt x="225" y="324"/>
                    <a:pt x="225" y="324"/>
                  </a:cubicBezTo>
                  <a:cubicBezTo>
                    <a:pt x="225" y="324"/>
                    <a:pt x="224" y="324"/>
                    <a:pt x="224" y="324"/>
                  </a:cubicBezTo>
                  <a:cubicBezTo>
                    <a:pt x="224" y="324"/>
                    <a:pt x="224" y="324"/>
                    <a:pt x="224" y="324"/>
                  </a:cubicBezTo>
                  <a:cubicBezTo>
                    <a:pt x="223" y="324"/>
                    <a:pt x="221" y="324"/>
                    <a:pt x="220" y="324"/>
                  </a:cubicBezTo>
                  <a:cubicBezTo>
                    <a:pt x="220" y="324"/>
                    <a:pt x="220" y="324"/>
                    <a:pt x="220" y="324"/>
                  </a:cubicBezTo>
                  <a:cubicBezTo>
                    <a:pt x="220" y="324"/>
                    <a:pt x="219" y="324"/>
                    <a:pt x="218" y="324"/>
                  </a:cubicBezTo>
                  <a:cubicBezTo>
                    <a:pt x="218" y="324"/>
                    <a:pt x="218" y="324"/>
                    <a:pt x="218" y="324"/>
                  </a:cubicBezTo>
                  <a:cubicBezTo>
                    <a:pt x="217" y="325"/>
                    <a:pt x="216" y="325"/>
                    <a:pt x="215" y="325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4" y="325"/>
                    <a:pt x="214" y="325"/>
                    <a:pt x="213" y="325"/>
                  </a:cubicBezTo>
                  <a:cubicBezTo>
                    <a:pt x="213" y="325"/>
                    <a:pt x="213" y="325"/>
                    <a:pt x="213" y="325"/>
                  </a:cubicBezTo>
                  <a:cubicBezTo>
                    <a:pt x="212" y="325"/>
                    <a:pt x="211" y="325"/>
                    <a:pt x="211" y="325"/>
                  </a:cubicBezTo>
                  <a:cubicBezTo>
                    <a:pt x="211" y="325"/>
                    <a:pt x="211" y="325"/>
                    <a:pt x="211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4"/>
                    <a:pt x="209" y="323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1"/>
                    <a:pt x="210" y="321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19"/>
                    <a:pt x="210" y="319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3" y="316"/>
                    <a:pt x="213" y="316"/>
                  </a:cubicBezTo>
                  <a:cubicBezTo>
                    <a:pt x="213" y="316"/>
                    <a:pt x="213" y="316"/>
                    <a:pt x="213" y="316"/>
                  </a:cubicBezTo>
                  <a:cubicBezTo>
                    <a:pt x="213" y="316"/>
                    <a:pt x="214" y="316"/>
                    <a:pt x="214" y="316"/>
                  </a:cubicBezTo>
                  <a:cubicBezTo>
                    <a:pt x="214" y="316"/>
                    <a:pt x="214" y="316"/>
                    <a:pt x="214" y="316"/>
                  </a:cubicBezTo>
                  <a:cubicBezTo>
                    <a:pt x="215" y="316"/>
                    <a:pt x="215" y="316"/>
                    <a:pt x="216" y="315"/>
                  </a:cubicBezTo>
                  <a:cubicBezTo>
                    <a:pt x="216" y="315"/>
                    <a:pt x="216" y="315"/>
                    <a:pt x="216" y="315"/>
                  </a:cubicBezTo>
                  <a:cubicBezTo>
                    <a:pt x="217" y="315"/>
                    <a:pt x="218" y="315"/>
                    <a:pt x="218" y="315"/>
                  </a:cubicBezTo>
                  <a:cubicBezTo>
                    <a:pt x="218" y="315"/>
                    <a:pt x="218" y="315"/>
                    <a:pt x="218" y="315"/>
                  </a:cubicBezTo>
                  <a:cubicBezTo>
                    <a:pt x="219" y="315"/>
                    <a:pt x="220" y="314"/>
                    <a:pt x="220" y="313"/>
                  </a:cubicBezTo>
                  <a:cubicBezTo>
                    <a:pt x="220" y="313"/>
                    <a:pt x="220" y="313"/>
                    <a:pt x="220" y="313"/>
                  </a:cubicBezTo>
                  <a:cubicBezTo>
                    <a:pt x="221" y="313"/>
                    <a:pt x="221" y="313"/>
                    <a:pt x="221" y="312"/>
                  </a:cubicBezTo>
                  <a:cubicBezTo>
                    <a:pt x="221" y="312"/>
                    <a:pt x="221" y="312"/>
                    <a:pt x="221" y="312"/>
                  </a:cubicBezTo>
                  <a:cubicBezTo>
                    <a:pt x="223" y="312"/>
                    <a:pt x="224" y="312"/>
                    <a:pt x="225" y="311"/>
                  </a:cubicBezTo>
                  <a:cubicBezTo>
                    <a:pt x="225" y="311"/>
                    <a:pt x="225" y="311"/>
                    <a:pt x="225" y="311"/>
                  </a:cubicBezTo>
                  <a:cubicBezTo>
                    <a:pt x="225" y="311"/>
                    <a:pt x="225" y="311"/>
                    <a:pt x="225" y="310"/>
                  </a:cubicBezTo>
                  <a:cubicBezTo>
                    <a:pt x="225" y="310"/>
                    <a:pt x="225" y="310"/>
                    <a:pt x="225" y="310"/>
                  </a:cubicBezTo>
                  <a:cubicBezTo>
                    <a:pt x="227" y="310"/>
                    <a:pt x="228" y="309"/>
                    <a:pt x="229" y="309"/>
                  </a:cubicBezTo>
                  <a:cubicBezTo>
                    <a:pt x="229" y="309"/>
                    <a:pt x="229" y="309"/>
                    <a:pt x="229" y="309"/>
                  </a:cubicBezTo>
                  <a:cubicBezTo>
                    <a:pt x="229" y="308"/>
                    <a:pt x="229" y="307"/>
                    <a:pt x="229" y="307"/>
                  </a:cubicBezTo>
                  <a:cubicBezTo>
                    <a:pt x="229" y="307"/>
                    <a:pt x="229" y="307"/>
                    <a:pt x="229" y="307"/>
                  </a:cubicBezTo>
                  <a:cubicBezTo>
                    <a:pt x="229" y="306"/>
                    <a:pt x="229" y="306"/>
                    <a:pt x="230" y="305"/>
                  </a:cubicBezTo>
                  <a:cubicBezTo>
                    <a:pt x="230" y="305"/>
                    <a:pt x="230" y="305"/>
                    <a:pt x="230" y="305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09" y="302"/>
                    <a:pt x="208" y="302"/>
                    <a:pt x="208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6" y="302"/>
                    <a:pt x="206" y="302"/>
                    <a:pt x="206" y="301"/>
                  </a:cubicBezTo>
                  <a:cubicBezTo>
                    <a:pt x="206" y="301"/>
                    <a:pt x="206" y="301"/>
                    <a:pt x="206" y="301"/>
                  </a:cubicBezTo>
                  <a:cubicBezTo>
                    <a:pt x="206" y="301"/>
                    <a:pt x="206" y="300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8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6"/>
                    <a:pt x="206" y="295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207" y="294"/>
                    <a:pt x="208" y="292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1" y="292"/>
                    <a:pt x="200" y="293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8" y="295"/>
                    <a:pt x="197" y="296"/>
                    <a:pt x="195" y="297"/>
                  </a:cubicBezTo>
                  <a:cubicBezTo>
                    <a:pt x="195" y="297"/>
                    <a:pt x="195" y="297"/>
                    <a:pt x="195" y="297"/>
                  </a:cubicBezTo>
                  <a:cubicBezTo>
                    <a:pt x="194" y="299"/>
                    <a:pt x="194" y="300"/>
                    <a:pt x="193" y="301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92" y="304"/>
                    <a:pt x="192" y="307"/>
                    <a:pt x="191" y="310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1" y="312"/>
                    <a:pt x="190" y="315"/>
                    <a:pt x="190" y="317"/>
                  </a:cubicBezTo>
                  <a:cubicBezTo>
                    <a:pt x="190" y="317"/>
                    <a:pt x="190" y="317"/>
                    <a:pt x="190" y="317"/>
                  </a:cubicBezTo>
                  <a:cubicBezTo>
                    <a:pt x="189" y="320"/>
                    <a:pt x="189" y="322"/>
                    <a:pt x="189" y="324"/>
                  </a:cubicBezTo>
                  <a:cubicBezTo>
                    <a:pt x="189" y="324"/>
                    <a:pt x="189" y="324"/>
                    <a:pt x="189" y="324"/>
                  </a:cubicBezTo>
                  <a:cubicBezTo>
                    <a:pt x="189" y="327"/>
                    <a:pt x="189" y="330"/>
                    <a:pt x="190" y="332"/>
                  </a:cubicBezTo>
                  <a:cubicBezTo>
                    <a:pt x="190" y="332"/>
                    <a:pt x="190" y="332"/>
                    <a:pt x="190" y="332"/>
                  </a:cubicBezTo>
                  <a:cubicBezTo>
                    <a:pt x="190" y="335"/>
                    <a:pt x="190" y="337"/>
                    <a:pt x="190" y="339"/>
                  </a:cubicBezTo>
                  <a:cubicBezTo>
                    <a:pt x="190" y="339"/>
                    <a:pt x="190" y="339"/>
                    <a:pt x="190" y="339"/>
                  </a:cubicBezTo>
                  <a:cubicBezTo>
                    <a:pt x="191" y="342"/>
                    <a:pt x="192" y="344"/>
                    <a:pt x="193" y="346"/>
                  </a:cubicBezTo>
                  <a:cubicBezTo>
                    <a:pt x="193" y="346"/>
                    <a:pt x="193" y="346"/>
                    <a:pt x="193" y="346"/>
                  </a:cubicBezTo>
                  <a:cubicBezTo>
                    <a:pt x="194" y="349"/>
                    <a:pt x="194" y="351"/>
                    <a:pt x="195" y="353"/>
                  </a:cubicBezTo>
                  <a:cubicBezTo>
                    <a:pt x="195" y="353"/>
                    <a:pt x="195" y="353"/>
                    <a:pt x="195" y="353"/>
                  </a:cubicBezTo>
                  <a:cubicBezTo>
                    <a:pt x="200" y="359"/>
                    <a:pt x="200" y="359"/>
                    <a:pt x="200" y="359"/>
                  </a:cubicBezTo>
                  <a:close/>
                  <a:moveTo>
                    <a:pt x="634" y="347"/>
                  </a:moveTo>
                  <a:cubicBezTo>
                    <a:pt x="633" y="347"/>
                    <a:pt x="633" y="347"/>
                    <a:pt x="633" y="347"/>
                  </a:cubicBezTo>
                  <a:cubicBezTo>
                    <a:pt x="633" y="347"/>
                    <a:pt x="633" y="347"/>
                    <a:pt x="633" y="347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5" y="347"/>
                    <a:pt x="635" y="347"/>
                    <a:pt x="635" y="347"/>
                  </a:cubicBezTo>
                  <a:lnTo>
                    <a:pt x="634" y="347"/>
                  </a:lnTo>
                  <a:close/>
                  <a:moveTo>
                    <a:pt x="137" y="267"/>
                  </a:moveTo>
                  <a:cubicBezTo>
                    <a:pt x="181" y="255"/>
                    <a:pt x="181" y="255"/>
                    <a:pt x="181" y="255"/>
                  </a:cubicBezTo>
                  <a:cubicBezTo>
                    <a:pt x="181" y="255"/>
                    <a:pt x="181" y="255"/>
                    <a:pt x="181" y="255"/>
                  </a:cubicBezTo>
                  <a:cubicBezTo>
                    <a:pt x="186" y="253"/>
                    <a:pt x="191" y="251"/>
                    <a:pt x="196" y="250"/>
                  </a:cubicBezTo>
                  <a:cubicBezTo>
                    <a:pt x="196" y="250"/>
                    <a:pt x="196" y="250"/>
                    <a:pt x="196" y="250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4" y="256"/>
                    <a:pt x="133" y="258"/>
                    <a:pt x="132" y="260"/>
                  </a:cubicBezTo>
                  <a:cubicBezTo>
                    <a:pt x="132" y="260"/>
                    <a:pt x="132" y="260"/>
                    <a:pt x="132" y="260"/>
                  </a:cubicBezTo>
                  <a:cubicBezTo>
                    <a:pt x="132" y="262"/>
                    <a:pt x="131" y="263"/>
                    <a:pt x="131" y="265"/>
                  </a:cubicBezTo>
                  <a:cubicBezTo>
                    <a:pt x="131" y="265"/>
                    <a:pt x="131" y="265"/>
                    <a:pt x="131" y="265"/>
                  </a:cubicBezTo>
                  <a:cubicBezTo>
                    <a:pt x="133" y="265"/>
                    <a:pt x="135" y="266"/>
                    <a:pt x="137" y="267"/>
                  </a:cubicBezTo>
                  <a:close/>
                  <a:moveTo>
                    <a:pt x="576" y="207"/>
                  </a:moveTo>
                  <a:cubicBezTo>
                    <a:pt x="581" y="167"/>
                    <a:pt x="581" y="167"/>
                    <a:pt x="581" y="167"/>
                  </a:cubicBezTo>
                  <a:cubicBezTo>
                    <a:pt x="581" y="167"/>
                    <a:pt x="581" y="167"/>
                    <a:pt x="581" y="167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6" y="207"/>
                    <a:pt x="576" y="207"/>
                    <a:pt x="576" y="207"/>
                  </a:cubicBezTo>
                  <a:close/>
                  <a:moveTo>
                    <a:pt x="1844" y="194"/>
                  </a:moveTo>
                  <a:cubicBezTo>
                    <a:pt x="1845" y="193"/>
                    <a:pt x="1845" y="193"/>
                    <a:pt x="1845" y="193"/>
                  </a:cubicBezTo>
                  <a:cubicBezTo>
                    <a:pt x="1845" y="193"/>
                    <a:pt x="1845" y="193"/>
                    <a:pt x="1845" y="193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2" y="194"/>
                    <a:pt x="1842" y="194"/>
                    <a:pt x="1842" y="194"/>
                  </a:cubicBezTo>
                  <a:lnTo>
                    <a:pt x="1844" y="194"/>
                  </a:lnTo>
                  <a:close/>
                  <a:moveTo>
                    <a:pt x="1916" y="194"/>
                  </a:moveTo>
                  <a:cubicBezTo>
                    <a:pt x="1918" y="191"/>
                    <a:pt x="1918" y="191"/>
                    <a:pt x="1918" y="191"/>
                  </a:cubicBezTo>
                  <a:cubicBezTo>
                    <a:pt x="1918" y="191"/>
                    <a:pt x="1918" y="191"/>
                    <a:pt x="1918" y="191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4" y="194"/>
                    <a:pt x="1914" y="194"/>
                    <a:pt x="1914" y="194"/>
                  </a:cubicBezTo>
                  <a:lnTo>
                    <a:pt x="1916" y="194"/>
                  </a:lnTo>
                  <a:close/>
                  <a:moveTo>
                    <a:pt x="1879" y="168"/>
                  </a:moveTo>
                  <a:cubicBezTo>
                    <a:pt x="1881" y="168"/>
                    <a:pt x="1881" y="168"/>
                    <a:pt x="1881" y="168"/>
                  </a:cubicBezTo>
                  <a:cubicBezTo>
                    <a:pt x="1881" y="168"/>
                    <a:pt x="1881" y="168"/>
                    <a:pt x="1881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7" y="168"/>
                    <a:pt x="1877" y="168"/>
                    <a:pt x="1877" y="168"/>
                  </a:cubicBezTo>
                  <a:lnTo>
                    <a:pt x="1879" y="168"/>
                  </a:lnTo>
                  <a:close/>
                  <a:moveTo>
                    <a:pt x="583" y="131"/>
                  </a:moveTo>
                  <a:cubicBezTo>
                    <a:pt x="583" y="130"/>
                    <a:pt x="583" y="130"/>
                    <a:pt x="583" y="130"/>
                  </a:cubicBezTo>
                  <a:cubicBezTo>
                    <a:pt x="583" y="130"/>
                    <a:pt x="583" y="130"/>
                    <a:pt x="583" y="130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4" y="131"/>
                    <a:pt x="584" y="131"/>
                    <a:pt x="584" y="131"/>
                  </a:cubicBezTo>
                  <a:lnTo>
                    <a:pt x="583" y="131"/>
                  </a:lnTo>
                  <a:close/>
                  <a:moveTo>
                    <a:pt x="1853" y="121"/>
                  </a:moveTo>
                  <a:cubicBezTo>
                    <a:pt x="1854" y="121"/>
                    <a:pt x="1854" y="121"/>
                    <a:pt x="1854" y="121"/>
                  </a:cubicBezTo>
                  <a:lnTo>
                    <a:pt x="1853" y="121"/>
                  </a:lnTo>
                  <a:close/>
                  <a:moveTo>
                    <a:pt x="196" y="69"/>
                  </a:moveTo>
                  <a:cubicBezTo>
                    <a:pt x="202" y="68"/>
                    <a:pt x="202" y="68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8"/>
                    <a:pt x="196" y="68"/>
                    <a:pt x="196" y="68"/>
                  </a:cubicBezTo>
                  <a:cubicBezTo>
                    <a:pt x="196" y="68"/>
                    <a:pt x="196" y="68"/>
                    <a:pt x="196" y="68"/>
                  </a:cubicBezTo>
                  <a:lnTo>
                    <a:pt x="196" y="69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ṧlíḓê">
              <a:extLst>
                <a:ext uri="{FF2B5EF4-FFF2-40B4-BE49-F238E27FC236}">
                  <a16:creationId xmlns:a16="http://schemas.microsoft.com/office/drawing/2014/main" id="{B2880E5C-07A6-419D-907F-098F459E7883}"/>
                </a:ext>
              </a:extLst>
            </p:cNvPr>
            <p:cNvSpPr/>
            <p:nvPr userDrawn="1"/>
          </p:nvSpPr>
          <p:spPr bwMode="auto">
            <a:xfrm>
              <a:off x="4816081" y="4076932"/>
              <a:ext cx="4728471" cy="131499"/>
            </a:xfrm>
            <a:custGeom>
              <a:avLst/>
              <a:gdLst>
                <a:gd name="T0" fmla="*/ 28 w 2078"/>
                <a:gd name="T1" fmla="*/ 9 h 58"/>
                <a:gd name="T2" fmla="*/ 38 w 2078"/>
                <a:gd name="T3" fmla="*/ 57 h 58"/>
                <a:gd name="T4" fmla="*/ 111 w 2078"/>
                <a:gd name="T5" fmla="*/ 2 h 58"/>
                <a:gd name="T6" fmla="*/ 87 w 2078"/>
                <a:gd name="T7" fmla="*/ 2 h 58"/>
                <a:gd name="T8" fmla="*/ 111 w 2078"/>
                <a:gd name="T9" fmla="*/ 2 h 58"/>
                <a:gd name="T10" fmla="*/ 176 w 2078"/>
                <a:gd name="T11" fmla="*/ 2 h 58"/>
                <a:gd name="T12" fmla="*/ 169 w 2078"/>
                <a:gd name="T13" fmla="*/ 12 h 58"/>
                <a:gd name="T14" fmla="*/ 253 w 2078"/>
                <a:gd name="T15" fmla="*/ 45 h 58"/>
                <a:gd name="T16" fmla="*/ 226 w 2078"/>
                <a:gd name="T17" fmla="*/ 11 h 58"/>
                <a:gd name="T18" fmla="*/ 324 w 2078"/>
                <a:gd name="T19" fmla="*/ 48 h 58"/>
                <a:gd name="T20" fmla="*/ 311 w 2078"/>
                <a:gd name="T21" fmla="*/ 0 h 58"/>
                <a:gd name="T22" fmla="*/ 314 w 2078"/>
                <a:gd name="T23" fmla="*/ 27 h 58"/>
                <a:gd name="T24" fmla="*/ 395 w 2078"/>
                <a:gd name="T25" fmla="*/ 48 h 58"/>
                <a:gd name="T26" fmla="*/ 396 w 2078"/>
                <a:gd name="T27" fmla="*/ 2 h 58"/>
                <a:gd name="T28" fmla="*/ 443 w 2078"/>
                <a:gd name="T29" fmla="*/ 30 h 58"/>
                <a:gd name="T30" fmla="*/ 470 w 2078"/>
                <a:gd name="T31" fmla="*/ 9 h 58"/>
                <a:gd name="T32" fmla="*/ 535 w 2078"/>
                <a:gd name="T33" fmla="*/ 2 h 58"/>
                <a:gd name="T34" fmla="*/ 550 w 2078"/>
                <a:gd name="T35" fmla="*/ 57 h 58"/>
                <a:gd name="T36" fmla="*/ 600 w 2078"/>
                <a:gd name="T37" fmla="*/ 30 h 58"/>
                <a:gd name="T38" fmla="*/ 614 w 2078"/>
                <a:gd name="T39" fmla="*/ 58 h 58"/>
                <a:gd name="T40" fmla="*/ 627 w 2078"/>
                <a:gd name="T41" fmla="*/ 37 h 58"/>
                <a:gd name="T42" fmla="*/ 692 w 2078"/>
                <a:gd name="T43" fmla="*/ 32 h 58"/>
                <a:gd name="T44" fmla="*/ 728 w 2078"/>
                <a:gd name="T45" fmla="*/ 2 h 58"/>
                <a:gd name="T46" fmla="*/ 790 w 2078"/>
                <a:gd name="T47" fmla="*/ 45 h 58"/>
                <a:gd name="T48" fmla="*/ 763 w 2078"/>
                <a:gd name="T49" fmla="*/ 11 h 58"/>
                <a:gd name="T50" fmla="*/ 836 w 2078"/>
                <a:gd name="T51" fmla="*/ 57 h 58"/>
                <a:gd name="T52" fmla="*/ 882 w 2078"/>
                <a:gd name="T53" fmla="*/ 45 h 58"/>
                <a:gd name="T54" fmla="*/ 964 w 2078"/>
                <a:gd name="T55" fmla="*/ 57 h 58"/>
                <a:gd name="T56" fmla="*/ 939 w 2078"/>
                <a:gd name="T57" fmla="*/ 24 h 58"/>
                <a:gd name="T58" fmla="*/ 998 w 2078"/>
                <a:gd name="T59" fmla="*/ 11 h 58"/>
                <a:gd name="T60" fmla="*/ 998 w 2078"/>
                <a:gd name="T61" fmla="*/ 35 h 58"/>
                <a:gd name="T62" fmla="*/ 1027 w 2078"/>
                <a:gd name="T63" fmla="*/ 42 h 58"/>
                <a:gd name="T64" fmla="*/ 987 w 2078"/>
                <a:gd name="T65" fmla="*/ 57 h 58"/>
                <a:gd name="T66" fmla="*/ 1068 w 2078"/>
                <a:gd name="T67" fmla="*/ 34 h 58"/>
                <a:gd name="T68" fmla="*/ 1070 w 2078"/>
                <a:gd name="T69" fmla="*/ 58 h 58"/>
                <a:gd name="T70" fmla="*/ 1080 w 2078"/>
                <a:gd name="T71" fmla="*/ 18 h 58"/>
                <a:gd name="T72" fmla="*/ 1127 w 2078"/>
                <a:gd name="T73" fmla="*/ 2 h 58"/>
                <a:gd name="T74" fmla="*/ 1190 w 2078"/>
                <a:gd name="T75" fmla="*/ 11 h 58"/>
                <a:gd name="T76" fmla="*/ 1236 w 2078"/>
                <a:gd name="T77" fmla="*/ 39 h 58"/>
                <a:gd name="T78" fmla="*/ 1224 w 2078"/>
                <a:gd name="T79" fmla="*/ 39 h 58"/>
                <a:gd name="T80" fmla="*/ 1315 w 2078"/>
                <a:gd name="T81" fmla="*/ 58 h 58"/>
                <a:gd name="T82" fmla="*/ 1375 w 2078"/>
                <a:gd name="T83" fmla="*/ 57 h 58"/>
                <a:gd name="T84" fmla="*/ 1399 w 2078"/>
                <a:gd name="T85" fmla="*/ 11 h 58"/>
                <a:gd name="T86" fmla="*/ 1448 w 2078"/>
                <a:gd name="T87" fmla="*/ 11 h 58"/>
                <a:gd name="T88" fmla="*/ 1431 w 2078"/>
                <a:gd name="T89" fmla="*/ 2 h 58"/>
                <a:gd name="T90" fmla="*/ 1507 w 2078"/>
                <a:gd name="T91" fmla="*/ 33 h 58"/>
                <a:gd name="T92" fmla="*/ 1531 w 2078"/>
                <a:gd name="T93" fmla="*/ 2 h 58"/>
                <a:gd name="T94" fmla="*/ 1576 w 2078"/>
                <a:gd name="T95" fmla="*/ 58 h 58"/>
                <a:gd name="T96" fmla="*/ 1586 w 2078"/>
                <a:gd name="T97" fmla="*/ 20 h 58"/>
                <a:gd name="T98" fmla="*/ 1664 w 2078"/>
                <a:gd name="T99" fmla="*/ 57 h 58"/>
                <a:gd name="T100" fmla="*/ 1620 w 2078"/>
                <a:gd name="T101" fmla="*/ 2 h 58"/>
                <a:gd name="T102" fmla="*/ 1726 w 2078"/>
                <a:gd name="T103" fmla="*/ 45 h 58"/>
                <a:gd name="T104" fmla="*/ 1698 w 2078"/>
                <a:gd name="T105" fmla="*/ 11 h 58"/>
                <a:gd name="T106" fmla="*/ 1784 w 2078"/>
                <a:gd name="T107" fmla="*/ 0 h 58"/>
                <a:gd name="T108" fmla="*/ 1771 w 2078"/>
                <a:gd name="T109" fmla="*/ 30 h 58"/>
                <a:gd name="T110" fmla="*/ 1833 w 2078"/>
                <a:gd name="T111" fmla="*/ 2 h 58"/>
                <a:gd name="T112" fmla="*/ 1886 w 2078"/>
                <a:gd name="T113" fmla="*/ 30 h 58"/>
                <a:gd name="T114" fmla="*/ 1913 w 2078"/>
                <a:gd name="T115" fmla="*/ 9 h 58"/>
                <a:gd name="T116" fmla="*/ 1986 w 2078"/>
                <a:gd name="T117" fmla="*/ 9 h 58"/>
                <a:gd name="T118" fmla="*/ 1997 w 2078"/>
                <a:gd name="T119" fmla="*/ 57 h 58"/>
                <a:gd name="T120" fmla="*/ 2048 w 2078"/>
                <a:gd name="T121" fmla="*/ 57 h 58"/>
                <a:gd name="T122" fmla="*/ 2043 w 2078"/>
                <a:gd name="T123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78" h="58">
                  <a:moveTo>
                    <a:pt x="38" y="37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8" y="48"/>
                  </a:cubicBezTo>
                  <a:cubicBezTo>
                    <a:pt x="34" y="49"/>
                    <a:pt x="30" y="50"/>
                    <a:pt x="28" y="50"/>
                  </a:cubicBezTo>
                  <a:cubicBezTo>
                    <a:pt x="18" y="49"/>
                    <a:pt x="12" y="43"/>
                    <a:pt x="12" y="30"/>
                  </a:cubicBezTo>
                  <a:cubicBezTo>
                    <a:pt x="12" y="16"/>
                    <a:pt x="18" y="9"/>
                    <a:pt x="28" y="9"/>
                  </a:cubicBezTo>
                  <a:cubicBezTo>
                    <a:pt x="35" y="9"/>
                    <a:pt x="38" y="12"/>
                    <a:pt x="3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6"/>
                    <a:pt x="43" y="0"/>
                    <a:pt x="25" y="0"/>
                  </a:cubicBezTo>
                  <a:cubicBezTo>
                    <a:pt x="9" y="2"/>
                    <a:pt x="0" y="11"/>
                    <a:pt x="0" y="30"/>
                  </a:cubicBezTo>
                  <a:cubicBezTo>
                    <a:pt x="0" y="47"/>
                    <a:pt x="9" y="57"/>
                    <a:pt x="25" y="58"/>
                  </a:cubicBezTo>
                  <a:cubicBezTo>
                    <a:pt x="31" y="58"/>
                    <a:pt x="35" y="58"/>
                    <a:pt x="38" y="57"/>
                  </a:cubicBezTo>
                  <a:cubicBezTo>
                    <a:pt x="42" y="57"/>
                    <a:pt x="46" y="57"/>
                    <a:pt x="50" y="5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111" y="2"/>
                  </a:moveTo>
                  <a:cubicBezTo>
                    <a:pt x="111" y="32"/>
                    <a:pt x="111" y="32"/>
                    <a:pt x="111" y="32"/>
                  </a:cubicBezTo>
                  <a:cubicBezTo>
                    <a:pt x="111" y="39"/>
                    <a:pt x="110" y="43"/>
                    <a:pt x="108" y="45"/>
                  </a:cubicBezTo>
                  <a:cubicBezTo>
                    <a:pt x="107" y="48"/>
                    <a:pt x="103" y="50"/>
                    <a:pt x="99" y="50"/>
                  </a:cubicBezTo>
                  <a:cubicBezTo>
                    <a:pt x="94" y="50"/>
                    <a:pt x="91" y="48"/>
                    <a:pt x="89" y="45"/>
                  </a:cubicBezTo>
                  <a:cubicBezTo>
                    <a:pt x="87" y="43"/>
                    <a:pt x="87" y="39"/>
                    <a:pt x="87" y="3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50"/>
                    <a:pt x="83" y="57"/>
                    <a:pt x="99" y="58"/>
                  </a:cubicBezTo>
                  <a:cubicBezTo>
                    <a:pt x="114" y="57"/>
                    <a:pt x="122" y="50"/>
                    <a:pt x="123" y="36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11" y="2"/>
                    <a:pt x="111" y="2"/>
                    <a:pt x="111" y="2"/>
                  </a:cubicBezTo>
                  <a:close/>
                  <a:moveTo>
                    <a:pt x="154" y="57"/>
                  </a:moveTo>
                  <a:cubicBezTo>
                    <a:pt x="158" y="45"/>
                    <a:pt x="158" y="45"/>
                    <a:pt x="158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96" y="57"/>
                    <a:pt x="196" y="57"/>
                    <a:pt x="196" y="57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43" y="57"/>
                    <a:pt x="143" y="57"/>
                    <a:pt x="143" y="57"/>
                  </a:cubicBezTo>
                  <a:cubicBezTo>
                    <a:pt x="154" y="57"/>
                    <a:pt x="154" y="57"/>
                    <a:pt x="154" y="57"/>
                  </a:cubicBezTo>
                  <a:close/>
                  <a:moveTo>
                    <a:pt x="161" y="36"/>
                  </a:moveTo>
                  <a:cubicBezTo>
                    <a:pt x="169" y="12"/>
                    <a:pt x="169" y="12"/>
                    <a:pt x="169" y="12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77" y="36"/>
                    <a:pt x="177" y="36"/>
                    <a:pt x="177" y="36"/>
                  </a:cubicBezTo>
                  <a:cubicBezTo>
                    <a:pt x="161" y="36"/>
                    <a:pt x="161" y="36"/>
                    <a:pt x="161" y="36"/>
                  </a:cubicBezTo>
                  <a:close/>
                  <a:moveTo>
                    <a:pt x="264" y="57"/>
                  </a:moveTo>
                  <a:cubicBezTo>
                    <a:pt x="264" y="2"/>
                    <a:pt x="264" y="2"/>
                    <a:pt x="264" y="2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32" y="2"/>
                    <a:pt x="232" y="2"/>
                    <a:pt x="232" y="2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226" y="57"/>
                    <a:pt x="226" y="57"/>
                    <a:pt x="226" y="57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48" y="57"/>
                    <a:pt x="248" y="57"/>
                    <a:pt x="248" y="57"/>
                  </a:cubicBezTo>
                  <a:cubicBezTo>
                    <a:pt x="264" y="57"/>
                    <a:pt x="264" y="57"/>
                    <a:pt x="264" y="57"/>
                  </a:cubicBezTo>
                  <a:close/>
                  <a:moveTo>
                    <a:pt x="324" y="37"/>
                  </a:moveTo>
                  <a:cubicBezTo>
                    <a:pt x="324" y="48"/>
                    <a:pt x="324" y="48"/>
                    <a:pt x="324" y="48"/>
                  </a:cubicBezTo>
                  <a:cubicBezTo>
                    <a:pt x="324" y="49"/>
                    <a:pt x="323" y="49"/>
                    <a:pt x="324" y="48"/>
                  </a:cubicBezTo>
                  <a:cubicBezTo>
                    <a:pt x="320" y="49"/>
                    <a:pt x="316" y="50"/>
                    <a:pt x="313" y="50"/>
                  </a:cubicBezTo>
                  <a:cubicBezTo>
                    <a:pt x="303" y="49"/>
                    <a:pt x="298" y="43"/>
                    <a:pt x="298" y="30"/>
                  </a:cubicBezTo>
                  <a:cubicBezTo>
                    <a:pt x="298" y="16"/>
                    <a:pt x="303" y="9"/>
                    <a:pt x="313" y="9"/>
                  </a:cubicBezTo>
                  <a:cubicBezTo>
                    <a:pt x="321" y="9"/>
                    <a:pt x="324" y="12"/>
                    <a:pt x="324" y="18"/>
                  </a:cubicBezTo>
                  <a:cubicBezTo>
                    <a:pt x="337" y="18"/>
                    <a:pt x="337" y="18"/>
                    <a:pt x="337" y="18"/>
                  </a:cubicBezTo>
                  <a:cubicBezTo>
                    <a:pt x="337" y="6"/>
                    <a:pt x="328" y="0"/>
                    <a:pt x="311" y="0"/>
                  </a:cubicBezTo>
                  <a:cubicBezTo>
                    <a:pt x="294" y="2"/>
                    <a:pt x="286" y="11"/>
                    <a:pt x="286" y="30"/>
                  </a:cubicBezTo>
                  <a:cubicBezTo>
                    <a:pt x="286" y="47"/>
                    <a:pt x="294" y="57"/>
                    <a:pt x="311" y="58"/>
                  </a:cubicBezTo>
                  <a:cubicBezTo>
                    <a:pt x="316" y="58"/>
                    <a:pt x="320" y="58"/>
                    <a:pt x="324" y="57"/>
                  </a:cubicBezTo>
                  <a:cubicBezTo>
                    <a:pt x="328" y="57"/>
                    <a:pt x="332" y="57"/>
                    <a:pt x="336" y="55"/>
                  </a:cubicBezTo>
                  <a:cubicBezTo>
                    <a:pt x="336" y="27"/>
                    <a:pt x="336" y="27"/>
                    <a:pt x="336" y="27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24" y="37"/>
                    <a:pt x="324" y="37"/>
                    <a:pt x="324" y="37"/>
                  </a:cubicBezTo>
                  <a:close/>
                  <a:moveTo>
                    <a:pt x="388" y="11"/>
                  </a:moveTo>
                  <a:cubicBezTo>
                    <a:pt x="395" y="11"/>
                    <a:pt x="395" y="11"/>
                    <a:pt x="395" y="11"/>
                  </a:cubicBezTo>
                  <a:cubicBezTo>
                    <a:pt x="405" y="11"/>
                    <a:pt x="411" y="17"/>
                    <a:pt x="411" y="30"/>
                  </a:cubicBezTo>
                  <a:cubicBezTo>
                    <a:pt x="411" y="42"/>
                    <a:pt x="405" y="48"/>
                    <a:pt x="395" y="48"/>
                  </a:cubicBezTo>
                  <a:cubicBezTo>
                    <a:pt x="388" y="48"/>
                    <a:pt x="388" y="48"/>
                    <a:pt x="388" y="48"/>
                  </a:cubicBezTo>
                  <a:cubicBezTo>
                    <a:pt x="388" y="11"/>
                    <a:pt x="388" y="11"/>
                    <a:pt x="388" y="11"/>
                  </a:cubicBezTo>
                  <a:close/>
                  <a:moveTo>
                    <a:pt x="377" y="57"/>
                  </a:moveTo>
                  <a:cubicBezTo>
                    <a:pt x="396" y="57"/>
                    <a:pt x="396" y="57"/>
                    <a:pt x="396" y="57"/>
                  </a:cubicBezTo>
                  <a:cubicBezTo>
                    <a:pt x="414" y="57"/>
                    <a:pt x="423" y="48"/>
                    <a:pt x="423" y="30"/>
                  </a:cubicBezTo>
                  <a:cubicBezTo>
                    <a:pt x="423" y="11"/>
                    <a:pt x="414" y="2"/>
                    <a:pt x="396" y="2"/>
                  </a:cubicBezTo>
                  <a:cubicBezTo>
                    <a:pt x="377" y="2"/>
                    <a:pt x="377" y="2"/>
                    <a:pt x="377" y="2"/>
                  </a:cubicBezTo>
                  <a:cubicBezTo>
                    <a:pt x="377" y="57"/>
                    <a:pt x="377" y="57"/>
                    <a:pt x="377" y="57"/>
                  </a:cubicBezTo>
                  <a:close/>
                  <a:moveTo>
                    <a:pt x="470" y="58"/>
                  </a:moveTo>
                  <a:cubicBezTo>
                    <a:pt x="486" y="57"/>
                    <a:pt x="495" y="48"/>
                    <a:pt x="495" y="30"/>
                  </a:cubicBezTo>
                  <a:cubicBezTo>
                    <a:pt x="495" y="11"/>
                    <a:pt x="486" y="1"/>
                    <a:pt x="470" y="0"/>
                  </a:cubicBezTo>
                  <a:cubicBezTo>
                    <a:pt x="453" y="1"/>
                    <a:pt x="444" y="11"/>
                    <a:pt x="443" y="30"/>
                  </a:cubicBezTo>
                  <a:cubicBezTo>
                    <a:pt x="444" y="48"/>
                    <a:pt x="452" y="57"/>
                    <a:pt x="470" y="58"/>
                  </a:cubicBezTo>
                  <a:close/>
                  <a:moveTo>
                    <a:pt x="470" y="9"/>
                  </a:moveTo>
                  <a:cubicBezTo>
                    <a:pt x="479" y="9"/>
                    <a:pt x="483" y="16"/>
                    <a:pt x="483" y="30"/>
                  </a:cubicBezTo>
                  <a:cubicBezTo>
                    <a:pt x="483" y="43"/>
                    <a:pt x="479" y="50"/>
                    <a:pt x="470" y="50"/>
                  </a:cubicBezTo>
                  <a:cubicBezTo>
                    <a:pt x="460" y="50"/>
                    <a:pt x="456" y="43"/>
                    <a:pt x="456" y="30"/>
                  </a:cubicBezTo>
                  <a:cubicBezTo>
                    <a:pt x="456" y="16"/>
                    <a:pt x="460" y="9"/>
                    <a:pt x="470" y="9"/>
                  </a:cubicBezTo>
                  <a:close/>
                  <a:moveTo>
                    <a:pt x="567" y="57"/>
                  </a:moveTo>
                  <a:cubicBezTo>
                    <a:pt x="567" y="2"/>
                    <a:pt x="567" y="2"/>
                    <a:pt x="567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528" y="57"/>
                    <a:pt x="528" y="57"/>
                    <a:pt x="528" y="57"/>
                  </a:cubicBezTo>
                  <a:cubicBezTo>
                    <a:pt x="528" y="11"/>
                    <a:pt x="528" y="11"/>
                    <a:pt x="528" y="11"/>
                  </a:cubicBezTo>
                  <a:cubicBezTo>
                    <a:pt x="529" y="11"/>
                    <a:pt x="529" y="11"/>
                    <a:pt x="529" y="11"/>
                  </a:cubicBezTo>
                  <a:cubicBezTo>
                    <a:pt x="550" y="57"/>
                    <a:pt x="550" y="57"/>
                    <a:pt x="550" y="57"/>
                  </a:cubicBezTo>
                  <a:cubicBezTo>
                    <a:pt x="567" y="57"/>
                    <a:pt x="567" y="57"/>
                    <a:pt x="567" y="57"/>
                  </a:cubicBezTo>
                  <a:close/>
                  <a:moveTo>
                    <a:pt x="627" y="37"/>
                  </a:moveTo>
                  <a:cubicBezTo>
                    <a:pt x="627" y="48"/>
                    <a:pt x="627" y="48"/>
                    <a:pt x="627" y="48"/>
                  </a:cubicBezTo>
                  <a:cubicBezTo>
                    <a:pt x="626" y="49"/>
                    <a:pt x="626" y="49"/>
                    <a:pt x="626" y="48"/>
                  </a:cubicBezTo>
                  <a:cubicBezTo>
                    <a:pt x="622" y="49"/>
                    <a:pt x="619" y="50"/>
                    <a:pt x="616" y="50"/>
                  </a:cubicBezTo>
                  <a:cubicBezTo>
                    <a:pt x="606" y="49"/>
                    <a:pt x="601" y="43"/>
                    <a:pt x="600" y="30"/>
                  </a:cubicBezTo>
                  <a:cubicBezTo>
                    <a:pt x="601" y="16"/>
                    <a:pt x="606" y="9"/>
                    <a:pt x="616" y="9"/>
                  </a:cubicBezTo>
                  <a:cubicBezTo>
                    <a:pt x="623" y="9"/>
                    <a:pt x="627" y="12"/>
                    <a:pt x="627" y="18"/>
                  </a:cubicBezTo>
                  <a:cubicBezTo>
                    <a:pt x="639" y="18"/>
                    <a:pt x="639" y="18"/>
                    <a:pt x="639" y="18"/>
                  </a:cubicBezTo>
                  <a:cubicBezTo>
                    <a:pt x="639" y="6"/>
                    <a:pt x="631" y="0"/>
                    <a:pt x="614" y="0"/>
                  </a:cubicBezTo>
                  <a:cubicBezTo>
                    <a:pt x="597" y="2"/>
                    <a:pt x="588" y="11"/>
                    <a:pt x="588" y="30"/>
                  </a:cubicBezTo>
                  <a:cubicBezTo>
                    <a:pt x="588" y="47"/>
                    <a:pt x="597" y="57"/>
                    <a:pt x="614" y="58"/>
                  </a:cubicBezTo>
                  <a:cubicBezTo>
                    <a:pt x="619" y="58"/>
                    <a:pt x="623" y="58"/>
                    <a:pt x="626" y="57"/>
                  </a:cubicBezTo>
                  <a:cubicBezTo>
                    <a:pt x="630" y="57"/>
                    <a:pt x="634" y="57"/>
                    <a:pt x="638" y="55"/>
                  </a:cubicBezTo>
                  <a:cubicBezTo>
                    <a:pt x="638" y="27"/>
                    <a:pt x="638" y="27"/>
                    <a:pt x="638" y="27"/>
                  </a:cubicBezTo>
                  <a:cubicBezTo>
                    <a:pt x="616" y="27"/>
                    <a:pt x="616" y="27"/>
                    <a:pt x="616" y="27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27" y="37"/>
                    <a:pt x="627" y="37"/>
                    <a:pt x="627" y="37"/>
                  </a:cubicBezTo>
                  <a:close/>
                  <a:moveTo>
                    <a:pt x="716" y="2"/>
                  </a:moveTo>
                  <a:cubicBezTo>
                    <a:pt x="716" y="32"/>
                    <a:pt x="716" y="32"/>
                    <a:pt x="716" y="32"/>
                  </a:cubicBezTo>
                  <a:cubicBezTo>
                    <a:pt x="716" y="39"/>
                    <a:pt x="715" y="43"/>
                    <a:pt x="713" y="45"/>
                  </a:cubicBezTo>
                  <a:cubicBezTo>
                    <a:pt x="712" y="48"/>
                    <a:pt x="708" y="50"/>
                    <a:pt x="704" y="50"/>
                  </a:cubicBezTo>
                  <a:cubicBezTo>
                    <a:pt x="699" y="50"/>
                    <a:pt x="696" y="48"/>
                    <a:pt x="694" y="45"/>
                  </a:cubicBezTo>
                  <a:cubicBezTo>
                    <a:pt x="692" y="43"/>
                    <a:pt x="692" y="39"/>
                    <a:pt x="692" y="32"/>
                  </a:cubicBezTo>
                  <a:cubicBezTo>
                    <a:pt x="692" y="2"/>
                    <a:pt x="692" y="2"/>
                    <a:pt x="692" y="2"/>
                  </a:cubicBezTo>
                  <a:cubicBezTo>
                    <a:pt x="680" y="2"/>
                    <a:pt x="680" y="2"/>
                    <a:pt x="680" y="2"/>
                  </a:cubicBezTo>
                  <a:cubicBezTo>
                    <a:pt x="680" y="36"/>
                    <a:pt x="680" y="36"/>
                    <a:pt x="680" y="36"/>
                  </a:cubicBezTo>
                  <a:cubicBezTo>
                    <a:pt x="680" y="50"/>
                    <a:pt x="688" y="57"/>
                    <a:pt x="704" y="58"/>
                  </a:cubicBezTo>
                  <a:cubicBezTo>
                    <a:pt x="719" y="57"/>
                    <a:pt x="727" y="50"/>
                    <a:pt x="728" y="36"/>
                  </a:cubicBezTo>
                  <a:cubicBezTo>
                    <a:pt x="728" y="2"/>
                    <a:pt x="728" y="2"/>
                    <a:pt x="728" y="2"/>
                  </a:cubicBezTo>
                  <a:cubicBezTo>
                    <a:pt x="716" y="2"/>
                    <a:pt x="716" y="2"/>
                    <a:pt x="716" y="2"/>
                  </a:cubicBezTo>
                  <a:close/>
                  <a:moveTo>
                    <a:pt x="801" y="57"/>
                  </a:moveTo>
                  <a:cubicBezTo>
                    <a:pt x="801" y="2"/>
                    <a:pt x="801" y="2"/>
                    <a:pt x="801" y="2"/>
                  </a:cubicBezTo>
                  <a:cubicBezTo>
                    <a:pt x="790" y="2"/>
                    <a:pt x="790" y="2"/>
                    <a:pt x="790" y="2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52" y="2"/>
                    <a:pt x="752" y="2"/>
                    <a:pt x="752" y="2"/>
                  </a:cubicBezTo>
                  <a:cubicBezTo>
                    <a:pt x="752" y="57"/>
                    <a:pt x="752" y="57"/>
                    <a:pt x="752" y="57"/>
                  </a:cubicBezTo>
                  <a:cubicBezTo>
                    <a:pt x="763" y="57"/>
                    <a:pt x="763" y="57"/>
                    <a:pt x="763" y="57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84" y="57"/>
                    <a:pt x="784" y="57"/>
                    <a:pt x="784" y="57"/>
                  </a:cubicBezTo>
                  <a:cubicBezTo>
                    <a:pt x="801" y="57"/>
                    <a:pt x="801" y="57"/>
                    <a:pt x="801" y="57"/>
                  </a:cubicBezTo>
                  <a:close/>
                  <a:moveTo>
                    <a:pt x="836" y="2"/>
                  </a:moveTo>
                  <a:cubicBezTo>
                    <a:pt x="824" y="2"/>
                    <a:pt x="824" y="2"/>
                    <a:pt x="824" y="2"/>
                  </a:cubicBezTo>
                  <a:cubicBezTo>
                    <a:pt x="824" y="57"/>
                    <a:pt x="824" y="57"/>
                    <a:pt x="824" y="57"/>
                  </a:cubicBezTo>
                  <a:cubicBezTo>
                    <a:pt x="836" y="57"/>
                    <a:pt x="836" y="57"/>
                    <a:pt x="836" y="57"/>
                  </a:cubicBezTo>
                  <a:cubicBezTo>
                    <a:pt x="836" y="2"/>
                    <a:pt x="836" y="2"/>
                    <a:pt x="836" y="2"/>
                  </a:cubicBezTo>
                  <a:close/>
                  <a:moveTo>
                    <a:pt x="875" y="57"/>
                  </a:moveTo>
                  <a:cubicBezTo>
                    <a:pt x="888" y="57"/>
                    <a:pt x="888" y="57"/>
                    <a:pt x="888" y="57"/>
                  </a:cubicBezTo>
                  <a:cubicBezTo>
                    <a:pt x="908" y="2"/>
                    <a:pt x="908" y="2"/>
                    <a:pt x="908" y="2"/>
                  </a:cubicBezTo>
                  <a:cubicBezTo>
                    <a:pt x="896" y="2"/>
                    <a:pt x="896" y="2"/>
                    <a:pt x="896" y="2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68" y="2"/>
                    <a:pt x="868" y="2"/>
                    <a:pt x="868" y="2"/>
                  </a:cubicBezTo>
                  <a:cubicBezTo>
                    <a:pt x="855" y="2"/>
                    <a:pt x="855" y="2"/>
                    <a:pt x="855" y="2"/>
                  </a:cubicBezTo>
                  <a:cubicBezTo>
                    <a:pt x="875" y="57"/>
                    <a:pt x="875" y="57"/>
                    <a:pt x="875" y="57"/>
                  </a:cubicBezTo>
                  <a:close/>
                  <a:moveTo>
                    <a:pt x="927" y="57"/>
                  </a:moveTo>
                  <a:cubicBezTo>
                    <a:pt x="964" y="57"/>
                    <a:pt x="964" y="57"/>
                    <a:pt x="964" y="57"/>
                  </a:cubicBezTo>
                  <a:cubicBezTo>
                    <a:pt x="964" y="48"/>
                    <a:pt x="964" y="48"/>
                    <a:pt x="964" y="48"/>
                  </a:cubicBezTo>
                  <a:cubicBezTo>
                    <a:pt x="939" y="48"/>
                    <a:pt x="939" y="48"/>
                    <a:pt x="939" y="48"/>
                  </a:cubicBezTo>
                  <a:cubicBezTo>
                    <a:pt x="939" y="33"/>
                    <a:pt x="939" y="33"/>
                    <a:pt x="939" y="33"/>
                  </a:cubicBezTo>
                  <a:cubicBezTo>
                    <a:pt x="962" y="33"/>
                    <a:pt x="962" y="33"/>
                    <a:pt x="962" y="33"/>
                  </a:cubicBezTo>
                  <a:cubicBezTo>
                    <a:pt x="962" y="24"/>
                    <a:pt x="962" y="24"/>
                    <a:pt x="962" y="24"/>
                  </a:cubicBezTo>
                  <a:cubicBezTo>
                    <a:pt x="939" y="24"/>
                    <a:pt x="939" y="24"/>
                    <a:pt x="939" y="24"/>
                  </a:cubicBezTo>
                  <a:cubicBezTo>
                    <a:pt x="939" y="11"/>
                    <a:pt x="939" y="11"/>
                    <a:pt x="939" y="11"/>
                  </a:cubicBezTo>
                  <a:cubicBezTo>
                    <a:pt x="963" y="11"/>
                    <a:pt x="963" y="11"/>
                    <a:pt x="963" y="11"/>
                  </a:cubicBezTo>
                  <a:cubicBezTo>
                    <a:pt x="963" y="2"/>
                    <a:pt x="963" y="2"/>
                    <a:pt x="963" y="2"/>
                  </a:cubicBezTo>
                  <a:cubicBezTo>
                    <a:pt x="927" y="2"/>
                    <a:pt x="927" y="2"/>
                    <a:pt x="927" y="2"/>
                  </a:cubicBezTo>
                  <a:cubicBezTo>
                    <a:pt x="927" y="57"/>
                    <a:pt x="927" y="57"/>
                    <a:pt x="927" y="57"/>
                  </a:cubicBezTo>
                  <a:close/>
                  <a:moveTo>
                    <a:pt x="998" y="11"/>
                  </a:moveTo>
                  <a:cubicBezTo>
                    <a:pt x="1008" y="11"/>
                    <a:pt x="1008" y="11"/>
                    <a:pt x="1008" y="11"/>
                  </a:cubicBezTo>
                  <a:cubicBezTo>
                    <a:pt x="1014" y="11"/>
                    <a:pt x="1016" y="13"/>
                    <a:pt x="1016" y="18"/>
                  </a:cubicBezTo>
                  <a:cubicBezTo>
                    <a:pt x="1016" y="23"/>
                    <a:pt x="1014" y="26"/>
                    <a:pt x="1008" y="26"/>
                  </a:cubicBezTo>
                  <a:cubicBezTo>
                    <a:pt x="998" y="26"/>
                    <a:pt x="998" y="26"/>
                    <a:pt x="998" y="26"/>
                  </a:cubicBezTo>
                  <a:cubicBezTo>
                    <a:pt x="998" y="11"/>
                    <a:pt x="998" y="11"/>
                    <a:pt x="998" y="11"/>
                  </a:cubicBezTo>
                  <a:close/>
                  <a:moveTo>
                    <a:pt x="998" y="35"/>
                  </a:moveTo>
                  <a:cubicBezTo>
                    <a:pt x="1011" y="35"/>
                    <a:pt x="1011" y="35"/>
                    <a:pt x="1011" y="35"/>
                  </a:cubicBezTo>
                  <a:cubicBezTo>
                    <a:pt x="1014" y="35"/>
                    <a:pt x="1015" y="37"/>
                    <a:pt x="1016" y="42"/>
                  </a:cubicBezTo>
                  <a:cubicBezTo>
                    <a:pt x="1016" y="47"/>
                    <a:pt x="1017" y="52"/>
                    <a:pt x="1018" y="57"/>
                  </a:cubicBezTo>
                  <a:cubicBezTo>
                    <a:pt x="1031" y="57"/>
                    <a:pt x="1031" y="57"/>
                    <a:pt x="1031" y="57"/>
                  </a:cubicBezTo>
                  <a:cubicBezTo>
                    <a:pt x="1029" y="55"/>
                    <a:pt x="1028" y="51"/>
                    <a:pt x="1028" y="44"/>
                  </a:cubicBezTo>
                  <a:cubicBezTo>
                    <a:pt x="1028" y="44"/>
                    <a:pt x="1028" y="43"/>
                    <a:pt x="1027" y="42"/>
                  </a:cubicBezTo>
                  <a:cubicBezTo>
                    <a:pt x="1027" y="34"/>
                    <a:pt x="1024" y="30"/>
                    <a:pt x="1018" y="30"/>
                  </a:cubicBezTo>
                  <a:cubicBezTo>
                    <a:pt x="1018" y="30"/>
                    <a:pt x="1018" y="30"/>
                    <a:pt x="1018" y="30"/>
                  </a:cubicBezTo>
                  <a:cubicBezTo>
                    <a:pt x="1025" y="28"/>
                    <a:pt x="1029" y="23"/>
                    <a:pt x="1029" y="16"/>
                  </a:cubicBezTo>
                  <a:cubicBezTo>
                    <a:pt x="1029" y="7"/>
                    <a:pt x="1022" y="2"/>
                    <a:pt x="1010" y="2"/>
                  </a:cubicBezTo>
                  <a:cubicBezTo>
                    <a:pt x="987" y="2"/>
                    <a:pt x="987" y="2"/>
                    <a:pt x="987" y="2"/>
                  </a:cubicBezTo>
                  <a:cubicBezTo>
                    <a:pt x="987" y="57"/>
                    <a:pt x="987" y="57"/>
                    <a:pt x="987" y="57"/>
                  </a:cubicBezTo>
                  <a:cubicBezTo>
                    <a:pt x="998" y="57"/>
                    <a:pt x="998" y="57"/>
                    <a:pt x="998" y="57"/>
                  </a:cubicBezTo>
                  <a:cubicBezTo>
                    <a:pt x="998" y="35"/>
                    <a:pt x="998" y="35"/>
                    <a:pt x="998" y="35"/>
                  </a:cubicBezTo>
                  <a:close/>
                  <a:moveTo>
                    <a:pt x="1092" y="18"/>
                  </a:moveTo>
                  <a:cubicBezTo>
                    <a:pt x="1091" y="7"/>
                    <a:pt x="1085" y="1"/>
                    <a:pt x="1073" y="0"/>
                  </a:cubicBezTo>
                  <a:cubicBezTo>
                    <a:pt x="1059" y="1"/>
                    <a:pt x="1051" y="7"/>
                    <a:pt x="1050" y="19"/>
                  </a:cubicBezTo>
                  <a:cubicBezTo>
                    <a:pt x="1050" y="26"/>
                    <a:pt x="1056" y="31"/>
                    <a:pt x="1068" y="34"/>
                  </a:cubicBezTo>
                  <a:cubicBezTo>
                    <a:pt x="1069" y="34"/>
                    <a:pt x="1069" y="34"/>
                    <a:pt x="1070" y="35"/>
                  </a:cubicBezTo>
                  <a:cubicBezTo>
                    <a:pt x="1077" y="36"/>
                    <a:pt x="1081" y="39"/>
                    <a:pt x="1081" y="42"/>
                  </a:cubicBezTo>
                  <a:cubicBezTo>
                    <a:pt x="1081" y="47"/>
                    <a:pt x="1077" y="49"/>
                    <a:pt x="1070" y="50"/>
                  </a:cubicBezTo>
                  <a:cubicBezTo>
                    <a:pt x="1064" y="49"/>
                    <a:pt x="1061" y="46"/>
                    <a:pt x="1061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52"/>
                    <a:pt x="1056" y="58"/>
                    <a:pt x="1070" y="58"/>
                  </a:cubicBezTo>
                  <a:cubicBezTo>
                    <a:pt x="1085" y="57"/>
                    <a:pt x="1093" y="51"/>
                    <a:pt x="1093" y="40"/>
                  </a:cubicBezTo>
                  <a:cubicBezTo>
                    <a:pt x="1093" y="32"/>
                    <a:pt x="1087" y="27"/>
                    <a:pt x="1074" y="24"/>
                  </a:cubicBezTo>
                  <a:cubicBezTo>
                    <a:pt x="1073" y="24"/>
                    <a:pt x="1073" y="24"/>
                    <a:pt x="1073" y="24"/>
                  </a:cubicBezTo>
                  <a:cubicBezTo>
                    <a:pt x="1066" y="23"/>
                    <a:pt x="1062" y="21"/>
                    <a:pt x="1063" y="16"/>
                  </a:cubicBezTo>
                  <a:cubicBezTo>
                    <a:pt x="1063" y="12"/>
                    <a:pt x="1066" y="10"/>
                    <a:pt x="1072" y="9"/>
                  </a:cubicBezTo>
                  <a:cubicBezTo>
                    <a:pt x="1077" y="9"/>
                    <a:pt x="1080" y="12"/>
                    <a:pt x="1080" y="18"/>
                  </a:cubicBezTo>
                  <a:cubicBezTo>
                    <a:pt x="1092" y="18"/>
                    <a:pt x="1092" y="18"/>
                    <a:pt x="1092" y="18"/>
                  </a:cubicBezTo>
                  <a:close/>
                  <a:moveTo>
                    <a:pt x="1127" y="2"/>
                  </a:moveTo>
                  <a:cubicBezTo>
                    <a:pt x="1115" y="2"/>
                    <a:pt x="1115" y="2"/>
                    <a:pt x="1115" y="2"/>
                  </a:cubicBezTo>
                  <a:cubicBezTo>
                    <a:pt x="1115" y="57"/>
                    <a:pt x="1115" y="57"/>
                    <a:pt x="1115" y="57"/>
                  </a:cubicBezTo>
                  <a:cubicBezTo>
                    <a:pt x="1127" y="57"/>
                    <a:pt x="1127" y="57"/>
                    <a:pt x="1127" y="57"/>
                  </a:cubicBezTo>
                  <a:cubicBezTo>
                    <a:pt x="1127" y="2"/>
                    <a:pt x="1127" y="2"/>
                    <a:pt x="1127" y="2"/>
                  </a:cubicBezTo>
                  <a:close/>
                  <a:moveTo>
                    <a:pt x="1146" y="11"/>
                  </a:moveTo>
                  <a:cubicBezTo>
                    <a:pt x="1162" y="11"/>
                    <a:pt x="1162" y="11"/>
                    <a:pt x="1162" y="11"/>
                  </a:cubicBezTo>
                  <a:cubicBezTo>
                    <a:pt x="1162" y="57"/>
                    <a:pt x="1162" y="57"/>
                    <a:pt x="1162" y="57"/>
                  </a:cubicBezTo>
                  <a:cubicBezTo>
                    <a:pt x="1174" y="57"/>
                    <a:pt x="1174" y="57"/>
                    <a:pt x="1174" y="57"/>
                  </a:cubicBezTo>
                  <a:cubicBezTo>
                    <a:pt x="1174" y="11"/>
                    <a:pt x="1174" y="11"/>
                    <a:pt x="1174" y="11"/>
                  </a:cubicBezTo>
                  <a:cubicBezTo>
                    <a:pt x="1190" y="11"/>
                    <a:pt x="1190" y="11"/>
                    <a:pt x="1190" y="11"/>
                  </a:cubicBezTo>
                  <a:cubicBezTo>
                    <a:pt x="1190" y="2"/>
                    <a:pt x="1190" y="2"/>
                    <a:pt x="1190" y="2"/>
                  </a:cubicBezTo>
                  <a:cubicBezTo>
                    <a:pt x="1146" y="2"/>
                    <a:pt x="1146" y="2"/>
                    <a:pt x="1146" y="2"/>
                  </a:cubicBezTo>
                  <a:cubicBezTo>
                    <a:pt x="1146" y="11"/>
                    <a:pt x="1146" y="11"/>
                    <a:pt x="1146" y="11"/>
                  </a:cubicBezTo>
                  <a:close/>
                  <a:moveTo>
                    <a:pt x="1224" y="57"/>
                  </a:moveTo>
                  <a:cubicBezTo>
                    <a:pt x="1236" y="57"/>
                    <a:pt x="1236" y="57"/>
                    <a:pt x="1236" y="57"/>
                  </a:cubicBezTo>
                  <a:cubicBezTo>
                    <a:pt x="1236" y="39"/>
                    <a:pt x="1236" y="39"/>
                    <a:pt x="1236" y="39"/>
                  </a:cubicBezTo>
                  <a:cubicBezTo>
                    <a:pt x="1254" y="2"/>
                    <a:pt x="1254" y="2"/>
                    <a:pt x="1254" y="2"/>
                  </a:cubicBezTo>
                  <a:cubicBezTo>
                    <a:pt x="1242" y="2"/>
                    <a:pt x="1242" y="2"/>
                    <a:pt x="1242" y="2"/>
                  </a:cubicBezTo>
                  <a:cubicBezTo>
                    <a:pt x="1231" y="27"/>
                    <a:pt x="1231" y="27"/>
                    <a:pt x="1231" y="27"/>
                  </a:cubicBezTo>
                  <a:cubicBezTo>
                    <a:pt x="1220" y="2"/>
                    <a:pt x="1220" y="2"/>
                    <a:pt x="1220" y="2"/>
                  </a:cubicBezTo>
                  <a:cubicBezTo>
                    <a:pt x="1206" y="2"/>
                    <a:pt x="1206" y="2"/>
                    <a:pt x="1206" y="2"/>
                  </a:cubicBezTo>
                  <a:cubicBezTo>
                    <a:pt x="1224" y="39"/>
                    <a:pt x="1224" y="39"/>
                    <a:pt x="1224" y="39"/>
                  </a:cubicBezTo>
                  <a:cubicBezTo>
                    <a:pt x="1224" y="57"/>
                    <a:pt x="1224" y="57"/>
                    <a:pt x="1224" y="57"/>
                  </a:cubicBezTo>
                  <a:close/>
                  <a:moveTo>
                    <a:pt x="1315" y="58"/>
                  </a:moveTo>
                  <a:cubicBezTo>
                    <a:pt x="1332" y="57"/>
                    <a:pt x="1340" y="48"/>
                    <a:pt x="1341" y="30"/>
                  </a:cubicBezTo>
                  <a:cubicBezTo>
                    <a:pt x="1340" y="11"/>
                    <a:pt x="1332" y="1"/>
                    <a:pt x="1315" y="0"/>
                  </a:cubicBezTo>
                  <a:cubicBezTo>
                    <a:pt x="1298" y="1"/>
                    <a:pt x="1289" y="11"/>
                    <a:pt x="1289" y="30"/>
                  </a:cubicBezTo>
                  <a:cubicBezTo>
                    <a:pt x="1289" y="48"/>
                    <a:pt x="1298" y="57"/>
                    <a:pt x="1315" y="58"/>
                  </a:cubicBezTo>
                  <a:close/>
                  <a:moveTo>
                    <a:pt x="1315" y="9"/>
                  </a:moveTo>
                  <a:cubicBezTo>
                    <a:pt x="1324" y="9"/>
                    <a:pt x="1329" y="16"/>
                    <a:pt x="1329" y="30"/>
                  </a:cubicBezTo>
                  <a:cubicBezTo>
                    <a:pt x="1329" y="43"/>
                    <a:pt x="1324" y="50"/>
                    <a:pt x="1315" y="50"/>
                  </a:cubicBezTo>
                  <a:cubicBezTo>
                    <a:pt x="1306" y="50"/>
                    <a:pt x="1301" y="43"/>
                    <a:pt x="1301" y="30"/>
                  </a:cubicBezTo>
                  <a:cubicBezTo>
                    <a:pt x="1301" y="16"/>
                    <a:pt x="1306" y="9"/>
                    <a:pt x="1315" y="9"/>
                  </a:cubicBezTo>
                  <a:close/>
                  <a:moveTo>
                    <a:pt x="1375" y="57"/>
                  </a:moveTo>
                  <a:cubicBezTo>
                    <a:pt x="1375" y="33"/>
                    <a:pt x="1375" y="33"/>
                    <a:pt x="1375" y="33"/>
                  </a:cubicBezTo>
                  <a:cubicBezTo>
                    <a:pt x="1397" y="33"/>
                    <a:pt x="1397" y="33"/>
                    <a:pt x="1397" y="33"/>
                  </a:cubicBezTo>
                  <a:cubicBezTo>
                    <a:pt x="1397" y="24"/>
                    <a:pt x="1397" y="24"/>
                    <a:pt x="1397" y="24"/>
                  </a:cubicBezTo>
                  <a:cubicBezTo>
                    <a:pt x="1375" y="24"/>
                    <a:pt x="1375" y="24"/>
                    <a:pt x="1375" y="24"/>
                  </a:cubicBezTo>
                  <a:cubicBezTo>
                    <a:pt x="1375" y="11"/>
                    <a:pt x="1375" y="11"/>
                    <a:pt x="1375" y="11"/>
                  </a:cubicBezTo>
                  <a:cubicBezTo>
                    <a:pt x="1399" y="11"/>
                    <a:pt x="1399" y="11"/>
                    <a:pt x="1399" y="11"/>
                  </a:cubicBezTo>
                  <a:cubicBezTo>
                    <a:pt x="1399" y="2"/>
                    <a:pt x="1399" y="2"/>
                    <a:pt x="1399" y="2"/>
                  </a:cubicBezTo>
                  <a:cubicBezTo>
                    <a:pt x="1363" y="2"/>
                    <a:pt x="1363" y="2"/>
                    <a:pt x="1363" y="2"/>
                  </a:cubicBezTo>
                  <a:cubicBezTo>
                    <a:pt x="1363" y="57"/>
                    <a:pt x="1363" y="57"/>
                    <a:pt x="1363" y="57"/>
                  </a:cubicBezTo>
                  <a:cubicBezTo>
                    <a:pt x="1375" y="57"/>
                    <a:pt x="1375" y="57"/>
                    <a:pt x="1375" y="57"/>
                  </a:cubicBezTo>
                  <a:close/>
                  <a:moveTo>
                    <a:pt x="1431" y="11"/>
                  </a:moveTo>
                  <a:cubicBezTo>
                    <a:pt x="1448" y="11"/>
                    <a:pt x="1448" y="11"/>
                    <a:pt x="1448" y="11"/>
                  </a:cubicBezTo>
                  <a:cubicBezTo>
                    <a:pt x="1448" y="57"/>
                    <a:pt x="1448" y="57"/>
                    <a:pt x="1448" y="57"/>
                  </a:cubicBezTo>
                  <a:cubicBezTo>
                    <a:pt x="1459" y="57"/>
                    <a:pt x="1459" y="57"/>
                    <a:pt x="1459" y="57"/>
                  </a:cubicBezTo>
                  <a:cubicBezTo>
                    <a:pt x="1459" y="11"/>
                    <a:pt x="1459" y="11"/>
                    <a:pt x="1459" y="11"/>
                  </a:cubicBezTo>
                  <a:cubicBezTo>
                    <a:pt x="1476" y="11"/>
                    <a:pt x="1476" y="11"/>
                    <a:pt x="1476" y="11"/>
                  </a:cubicBezTo>
                  <a:cubicBezTo>
                    <a:pt x="1476" y="2"/>
                    <a:pt x="1476" y="2"/>
                    <a:pt x="1476" y="2"/>
                  </a:cubicBezTo>
                  <a:cubicBezTo>
                    <a:pt x="1431" y="2"/>
                    <a:pt x="1431" y="2"/>
                    <a:pt x="1431" y="2"/>
                  </a:cubicBezTo>
                  <a:cubicBezTo>
                    <a:pt x="1431" y="11"/>
                    <a:pt x="1431" y="11"/>
                    <a:pt x="1431" y="11"/>
                  </a:cubicBezTo>
                  <a:close/>
                  <a:moveTo>
                    <a:pt x="1495" y="57"/>
                  </a:moveTo>
                  <a:cubicBezTo>
                    <a:pt x="1532" y="57"/>
                    <a:pt x="1532" y="57"/>
                    <a:pt x="1532" y="57"/>
                  </a:cubicBezTo>
                  <a:cubicBezTo>
                    <a:pt x="1532" y="48"/>
                    <a:pt x="1532" y="48"/>
                    <a:pt x="1532" y="48"/>
                  </a:cubicBezTo>
                  <a:cubicBezTo>
                    <a:pt x="1507" y="48"/>
                    <a:pt x="1507" y="48"/>
                    <a:pt x="1507" y="48"/>
                  </a:cubicBezTo>
                  <a:cubicBezTo>
                    <a:pt x="1507" y="33"/>
                    <a:pt x="1507" y="33"/>
                    <a:pt x="1507" y="33"/>
                  </a:cubicBezTo>
                  <a:cubicBezTo>
                    <a:pt x="1530" y="33"/>
                    <a:pt x="1530" y="33"/>
                    <a:pt x="1530" y="33"/>
                  </a:cubicBezTo>
                  <a:cubicBezTo>
                    <a:pt x="1530" y="24"/>
                    <a:pt x="1530" y="24"/>
                    <a:pt x="1530" y="24"/>
                  </a:cubicBezTo>
                  <a:cubicBezTo>
                    <a:pt x="1507" y="24"/>
                    <a:pt x="1507" y="24"/>
                    <a:pt x="1507" y="24"/>
                  </a:cubicBezTo>
                  <a:cubicBezTo>
                    <a:pt x="1507" y="11"/>
                    <a:pt x="1507" y="11"/>
                    <a:pt x="1507" y="11"/>
                  </a:cubicBezTo>
                  <a:cubicBezTo>
                    <a:pt x="1531" y="11"/>
                    <a:pt x="1531" y="11"/>
                    <a:pt x="1531" y="11"/>
                  </a:cubicBezTo>
                  <a:cubicBezTo>
                    <a:pt x="1531" y="2"/>
                    <a:pt x="1531" y="2"/>
                    <a:pt x="1531" y="2"/>
                  </a:cubicBezTo>
                  <a:cubicBezTo>
                    <a:pt x="1495" y="2"/>
                    <a:pt x="1495" y="2"/>
                    <a:pt x="1495" y="2"/>
                  </a:cubicBezTo>
                  <a:cubicBezTo>
                    <a:pt x="1495" y="57"/>
                    <a:pt x="1495" y="57"/>
                    <a:pt x="1495" y="57"/>
                  </a:cubicBezTo>
                  <a:close/>
                  <a:moveTo>
                    <a:pt x="1599" y="20"/>
                  </a:moveTo>
                  <a:cubicBezTo>
                    <a:pt x="1598" y="7"/>
                    <a:pt x="1590" y="1"/>
                    <a:pt x="1576" y="0"/>
                  </a:cubicBezTo>
                  <a:cubicBezTo>
                    <a:pt x="1561" y="1"/>
                    <a:pt x="1553" y="11"/>
                    <a:pt x="1553" y="30"/>
                  </a:cubicBezTo>
                  <a:cubicBezTo>
                    <a:pt x="1553" y="48"/>
                    <a:pt x="1561" y="57"/>
                    <a:pt x="1576" y="58"/>
                  </a:cubicBezTo>
                  <a:cubicBezTo>
                    <a:pt x="1590" y="58"/>
                    <a:pt x="1598" y="51"/>
                    <a:pt x="1599" y="39"/>
                  </a:cubicBezTo>
                  <a:cubicBezTo>
                    <a:pt x="1586" y="39"/>
                    <a:pt x="1586" y="39"/>
                    <a:pt x="1586" y="39"/>
                  </a:cubicBezTo>
                  <a:cubicBezTo>
                    <a:pt x="1586" y="46"/>
                    <a:pt x="1583" y="49"/>
                    <a:pt x="1576" y="50"/>
                  </a:cubicBezTo>
                  <a:cubicBezTo>
                    <a:pt x="1569" y="49"/>
                    <a:pt x="1566" y="43"/>
                    <a:pt x="1565" y="30"/>
                  </a:cubicBezTo>
                  <a:cubicBezTo>
                    <a:pt x="1566" y="16"/>
                    <a:pt x="1569" y="10"/>
                    <a:pt x="1576" y="9"/>
                  </a:cubicBezTo>
                  <a:cubicBezTo>
                    <a:pt x="1582" y="9"/>
                    <a:pt x="1586" y="13"/>
                    <a:pt x="1586" y="20"/>
                  </a:cubicBezTo>
                  <a:cubicBezTo>
                    <a:pt x="1599" y="20"/>
                    <a:pt x="1599" y="20"/>
                    <a:pt x="1599" y="20"/>
                  </a:cubicBezTo>
                  <a:close/>
                  <a:moveTo>
                    <a:pt x="1631" y="57"/>
                  </a:moveTo>
                  <a:cubicBezTo>
                    <a:pt x="1631" y="33"/>
                    <a:pt x="1631" y="33"/>
                    <a:pt x="1631" y="33"/>
                  </a:cubicBezTo>
                  <a:cubicBezTo>
                    <a:pt x="1652" y="33"/>
                    <a:pt x="1652" y="33"/>
                    <a:pt x="1652" y="33"/>
                  </a:cubicBezTo>
                  <a:cubicBezTo>
                    <a:pt x="1652" y="57"/>
                    <a:pt x="1652" y="57"/>
                    <a:pt x="1652" y="57"/>
                  </a:cubicBezTo>
                  <a:cubicBezTo>
                    <a:pt x="1664" y="57"/>
                    <a:pt x="1664" y="57"/>
                    <a:pt x="1664" y="57"/>
                  </a:cubicBezTo>
                  <a:cubicBezTo>
                    <a:pt x="1664" y="2"/>
                    <a:pt x="1664" y="2"/>
                    <a:pt x="1664" y="2"/>
                  </a:cubicBezTo>
                  <a:cubicBezTo>
                    <a:pt x="1652" y="2"/>
                    <a:pt x="1652" y="2"/>
                    <a:pt x="1652" y="2"/>
                  </a:cubicBezTo>
                  <a:cubicBezTo>
                    <a:pt x="1652" y="24"/>
                    <a:pt x="1652" y="24"/>
                    <a:pt x="1652" y="24"/>
                  </a:cubicBezTo>
                  <a:cubicBezTo>
                    <a:pt x="1631" y="24"/>
                    <a:pt x="1631" y="24"/>
                    <a:pt x="1631" y="24"/>
                  </a:cubicBezTo>
                  <a:cubicBezTo>
                    <a:pt x="1631" y="2"/>
                    <a:pt x="1631" y="2"/>
                    <a:pt x="1631" y="2"/>
                  </a:cubicBezTo>
                  <a:cubicBezTo>
                    <a:pt x="1620" y="2"/>
                    <a:pt x="1620" y="2"/>
                    <a:pt x="1620" y="2"/>
                  </a:cubicBezTo>
                  <a:cubicBezTo>
                    <a:pt x="1620" y="57"/>
                    <a:pt x="1620" y="57"/>
                    <a:pt x="1620" y="57"/>
                  </a:cubicBezTo>
                  <a:cubicBezTo>
                    <a:pt x="1631" y="57"/>
                    <a:pt x="1631" y="57"/>
                    <a:pt x="1631" y="57"/>
                  </a:cubicBezTo>
                  <a:close/>
                  <a:moveTo>
                    <a:pt x="1737" y="57"/>
                  </a:moveTo>
                  <a:cubicBezTo>
                    <a:pt x="1737" y="2"/>
                    <a:pt x="1737" y="2"/>
                    <a:pt x="1737" y="2"/>
                  </a:cubicBezTo>
                  <a:cubicBezTo>
                    <a:pt x="1726" y="2"/>
                    <a:pt x="1726" y="2"/>
                    <a:pt x="1726" y="2"/>
                  </a:cubicBezTo>
                  <a:cubicBezTo>
                    <a:pt x="1726" y="45"/>
                    <a:pt x="1726" y="45"/>
                    <a:pt x="1726" y="45"/>
                  </a:cubicBezTo>
                  <a:cubicBezTo>
                    <a:pt x="1725" y="45"/>
                    <a:pt x="1725" y="45"/>
                    <a:pt x="1725" y="45"/>
                  </a:cubicBezTo>
                  <a:cubicBezTo>
                    <a:pt x="1705" y="2"/>
                    <a:pt x="1705" y="2"/>
                    <a:pt x="1705" y="2"/>
                  </a:cubicBezTo>
                  <a:cubicBezTo>
                    <a:pt x="1687" y="2"/>
                    <a:pt x="1687" y="2"/>
                    <a:pt x="1687" y="2"/>
                  </a:cubicBezTo>
                  <a:cubicBezTo>
                    <a:pt x="1687" y="57"/>
                    <a:pt x="1687" y="57"/>
                    <a:pt x="1687" y="57"/>
                  </a:cubicBezTo>
                  <a:cubicBezTo>
                    <a:pt x="1698" y="57"/>
                    <a:pt x="1698" y="57"/>
                    <a:pt x="1698" y="57"/>
                  </a:cubicBezTo>
                  <a:cubicBezTo>
                    <a:pt x="1698" y="11"/>
                    <a:pt x="1698" y="11"/>
                    <a:pt x="1698" y="11"/>
                  </a:cubicBezTo>
                  <a:cubicBezTo>
                    <a:pt x="1699" y="11"/>
                    <a:pt x="1699" y="11"/>
                    <a:pt x="1699" y="11"/>
                  </a:cubicBezTo>
                  <a:cubicBezTo>
                    <a:pt x="1720" y="57"/>
                    <a:pt x="1720" y="57"/>
                    <a:pt x="1720" y="57"/>
                  </a:cubicBezTo>
                  <a:cubicBezTo>
                    <a:pt x="1737" y="57"/>
                    <a:pt x="1737" y="57"/>
                    <a:pt x="1737" y="57"/>
                  </a:cubicBezTo>
                  <a:close/>
                  <a:moveTo>
                    <a:pt x="1784" y="58"/>
                  </a:moveTo>
                  <a:cubicBezTo>
                    <a:pt x="1801" y="57"/>
                    <a:pt x="1810" y="48"/>
                    <a:pt x="1810" y="30"/>
                  </a:cubicBezTo>
                  <a:cubicBezTo>
                    <a:pt x="1810" y="11"/>
                    <a:pt x="1801" y="1"/>
                    <a:pt x="1784" y="0"/>
                  </a:cubicBezTo>
                  <a:cubicBezTo>
                    <a:pt x="1767" y="1"/>
                    <a:pt x="1759" y="11"/>
                    <a:pt x="1758" y="30"/>
                  </a:cubicBezTo>
                  <a:cubicBezTo>
                    <a:pt x="1759" y="48"/>
                    <a:pt x="1767" y="57"/>
                    <a:pt x="1784" y="58"/>
                  </a:cubicBezTo>
                  <a:close/>
                  <a:moveTo>
                    <a:pt x="1784" y="9"/>
                  </a:moveTo>
                  <a:cubicBezTo>
                    <a:pt x="1793" y="9"/>
                    <a:pt x="1798" y="16"/>
                    <a:pt x="1798" y="30"/>
                  </a:cubicBezTo>
                  <a:cubicBezTo>
                    <a:pt x="1798" y="43"/>
                    <a:pt x="1793" y="50"/>
                    <a:pt x="1784" y="50"/>
                  </a:cubicBezTo>
                  <a:cubicBezTo>
                    <a:pt x="1775" y="50"/>
                    <a:pt x="1771" y="43"/>
                    <a:pt x="1771" y="30"/>
                  </a:cubicBezTo>
                  <a:cubicBezTo>
                    <a:pt x="1771" y="16"/>
                    <a:pt x="1775" y="9"/>
                    <a:pt x="1784" y="9"/>
                  </a:cubicBezTo>
                  <a:close/>
                  <a:moveTo>
                    <a:pt x="1868" y="57"/>
                  </a:moveTo>
                  <a:cubicBezTo>
                    <a:pt x="1868" y="48"/>
                    <a:pt x="1868" y="48"/>
                    <a:pt x="1868" y="48"/>
                  </a:cubicBezTo>
                  <a:cubicBezTo>
                    <a:pt x="1844" y="48"/>
                    <a:pt x="1844" y="48"/>
                    <a:pt x="1844" y="48"/>
                  </a:cubicBezTo>
                  <a:cubicBezTo>
                    <a:pt x="1844" y="2"/>
                    <a:pt x="1844" y="2"/>
                    <a:pt x="1844" y="2"/>
                  </a:cubicBezTo>
                  <a:cubicBezTo>
                    <a:pt x="1833" y="2"/>
                    <a:pt x="1833" y="2"/>
                    <a:pt x="1833" y="2"/>
                  </a:cubicBezTo>
                  <a:cubicBezTo>
                    <a:pt x="1833" y="57"/>
                    <a:pt x="1833" y="57"/>
                    <a:pt x="1833" y="57"/>
                  </a:cubicBezTo>
                  <a:cubicBezTo>
                    <a:pt x="1868" y="57"/>
                    <a:pt x="1868" y="57"/>
                    <a:pt x="1868" y="57"/>
                  </a:cubicBezTo>
                  <a:close/>
                  <a:moveTo>
                    <a:pt x="1913" y="58"/>
                  </a:moveTo>
                  <a:cubicBezTo>
                    <a:pt x="1929" y="57"/>
                    <a:pt x="1938" y="48"/>
                    <a:pt x="1939" y="30"/>
                  </a:cubicBezTo>
                  <a:cubicBezTo>
                    <a:pt x="1938" y="11"/>
                    <a:pt x="1929" y="1"/>
                    <a:pt x="1913" y="0"/>
                  </a:cubicBezTo>
                  <a:cubicBezTo>
                    <a:pt x="1896" y="1"/>
                    <a:pt x="1887" y="11"/>
                    <a:pt x="1886" y="30"/>
                  </a:cubicBezTo>
                  <a:cubicBezTo>
                    <a:pt x="1887" y="48"/>
                    <a:pt x="1896" y="57"/>
                    <a:pt x="1913" y="58"/>
                  </a:cubicBezTo>
                  <a:close/>
                  <a:moveTo>
                    <a:pt x="1913" y="9"/>
                  </a:moveTo>
                  <a:cubicBezTo>
                    <a:pt x="1922" y="9"/>
                    <a:pt x="1926" y="16"/>
                    <a:pt x="1926" y="30"/>
                  </a:cubicBezTo>
                  <a:cubicBezTo>
                    <a:pt x="1926" y="43"/>
                    <a:pt x="1922" y="50"/>
                    <a:pt x="1913" y="50"/>
                  </a:cubicBezTo>
                  <a:cubicBezTo>
                    <a:pt x="1903" y="50"/>
                    <a:pt x="1899" y="43"/>
                    <a:pt x="1899" y="30"/>
                  </a:cubicBezTo>
                  <a:cubicBezTo>
                    <a:pt x="1899" y="16"/>
                    <a:pt x="1903" y="9"/>
                    <a:pt x="1913" y="9"/>
                  </a:cubicBezTo>
                  <a:close/>
                  <a:moveTo>
                    <a:pt x="1997" y="37"/>
                  </a:moveTo>
                  <a:cubicBezTo>
                    <a:pt x="1997" y="48"/>
                    <a:pt x="1997" y="48"/>
                    <a:pt x="1997" y="48"/>
                  </a:cubicBezTo>
                  <a:cubicBezTo>
                    <a:pt x="1997" y="49"/>
                    <a:pt x="1997" y="49"/>
                    <a:pt x="1997" y="48"/>
                  </a:cubicBezTo>
                  <a:cubicBezTo>
                    <a:pt x="1993" y="49"/>
                    <a:pt x="1989" y="50"/>
                    <a:pt x="1986" y="50"/>
                  </a:cubicBezTo>
                  <a:cubicBezTo>
                    <a:pt x="1976" y="49"/>
                    <a:pt x="1971" y="43"/>
                    <a:pt x="1971" y="30"/>
                  </a:cubicBezTo>
                  <a:cubicBezTo>
                    <a:pt x="1971" y="16"/>
                    <a:pt x="1976" y="9"/>
                    <a:pt x="1986" y="9"/>
                  </a:cubicBezTo>
                  <a:cubicBezTo>
                    <a:pt x="1994" y="9"/>
                    <a:pt x="1997" y="12"/>
                    <a:pt x="1997" y="18"/>
                  </a:cubicBezTo>
                  <a:cubicBezTo>
                    <a:pt x="2010" y="18"/>
                    <a:pt x="2010" y="18"/>
                    <a:pt x="2010" y="18"/>
                  </a:cubicBezTo>
                  <a:cubicBezTo>
                    <a:pt x="2010" y="6"/>
                    <a:pt x="2001" y="0"/>
                    <a:pt x="1984" y="0"/>
                  </a:cubicBezTo>
                  <a:cubicBezTo>
                    <a:pt x="1968" y="2"/>
                    <a:pt x="1959" y="11"/>
                    <a:pt x="1959" y="30"/>
                  </a:cubicBezTo>
                  <a:cubicBezTo>
                    <a:pt x="1959" y="47"/>
                    <a:pt x="1968" y="57"/>
                    <a:pt x="1984" y="58"/>
                  </a:cubicBezTo>
                  <a:cubicBezTo>
                    <a:pt x="1989" y="58"/>
                    <a:pt x="1994" y="58"/>
                    <a:pt x="1997" y="57"/>
                  </a:cubicBezTo>
                  <a:cubicBezTo>
                    <a:pt x="2001" y="57"/>
                    <a:pt x="2005" y="57"/>
                    <a:pt x="2009" y="55"/>
                  </a:cubicBezTo>
                  <a:cubicBezTo>
                    <a:pt x="2009" y="27"/>
                    <a:pt x="2009" y="27"/>
                    <a:pt x="2009" y="27"/>
                  </a:cubicBezTo>
                  <a:cubicBezTo>
                    <a:pt x="1987" y="27"/>
                    <a:pt x="1987" y="27"/>
                    <a:pt x="1987" y="27"/>
                  </a:cubicBezTo>
                  <a:cubicBezTo>
                    <a:pt x="1987" y="37"/>
                    <a:pt x="1987" y="37"/>
                    <a:pt x="1987" y="37"/>
                  </a:cubicBezTo>
                  <a:cubicBezTo>
                    <a:pt x="1997" y="37"/>
                    <a:pt x="1997" y="37"/>
                    <a:pt x="1997" y="37"/>
                  </a:cubicBezTo>
                  <a:close/>
                  <a:moveTo>
                    <a:pt x="2048" y="57"/>
                  </a:moveTo>
                  <a:cubicBezTo>
                    <a:pt x="2059" y="57"/>
                    <a:pt x="2059" y="57"/>
                    <a:pt x="2059" y="57"/>
                  </a:cubicBezTo>
                  <a:cubicBezTo>
                    <a:pt x="2059" y="39"/>
                    <a:pt x="2059" y="39"/>
                    <a:pt x="2059" y="39"/>
                  </a:cubicBezTo>
                  <a:cubicBezTo>
                    <a:pt x="2078" y="2"/>
                    <a:pt x="2078" y="2"/>
                    <a:pt x="2078" y="2"/>
                  </a:cubicBezTo>
                  <a:cubicBezTo>
                    <a:pt x="2066" y="2"/>
                    <a:pt x="2066" y="2"/>
                    <a:pt x="2066" y="2"/>
                  </a:cubicBezTo>
                  <a:cubicBezTo>
                    <a:pt x="2054" y="27"/>
                    <a:pt x="2054" y="27"/>
                    <a:pt x="2054" y="27"/>
                  </a:cubicBezTo>
                  <a:cubicBezTo>
                    <a:pt x="2043" y="2"/>
                    <a:pt x="2043" y="2"/>
                    <a:pt x="2043" y="2"/>
                  </a:cubicBezTo>
                  <a:cubicBezTo>
                    <a:pt x="2029" y="2"/>
                    <a:pt x="2029" y="2"/>
                    <a:pt x="2029" y="2"/>
                  </a:cubicBezTo>
                  <a:cubicBezTo>
                    <a:pt x="2048" y="39"/>
                    <a:pt x="2048" y="39"/>
                    <a:pt x="2048" y="39"/>
                  </a:cubicBezTo>
                  <a:lnTo>
                    <a:pt x="2048" y="5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ṩḻïḓé">
              <a:extLst>
                <a:ext uri="{FF2B5EF4-FFF2-40B4-BE49-F238E27FC236}">
                  <a16:creationId xmlns:a16="http://schemas.microsoft.com/office/drawing/2014/main" id="{E40074F0-4D8F-47C4-A137-BE675B158DE5}"/>
                </a:ext>
              </a:extLst>
            </p:cNvPr>
            <p:cNvSpPr/>
            <p:nvPr userDrawn="1"/>
          </p:nvSpPr>
          <p:spPr bwMode="auto">
            <a:xfrm>
              <a:off x="2647449" y="2492374"/>
              <a:ext cx="1838789" cy="1871663"/>
            </a:xfrm>
            <a:custGeom>
              <a:avLst/>
              <a:gdLst>
                <a:gd name="T0" fmla="*/ 606 w 808"/>
                <a:gd name="T1" fmla="*/ 701 h 821"/>
                <a:gd name="T2" fmla="*/ 597 w 808"/>
                <a:gd name="T3" fmla="*/ 703 h 821"/>
                <a:gd name="T4" fmla="*/ 597 w 808"/>
                <a:gd name="T5" fmla="*/ 684 h 821"/>
                <a:gd name="T6" fmla="*/ 620 w 808"/>
                <a:gd name="T7" fmla="*/ 651 h 821"/>
                <a:gd name="T8" fmla="*/ 606 w 808"/>
                <a:gd name="T9" fmla="*/ 661 h 821"/>
                <a:gd name="T10" fmla="*/ 584 w 808"/>
                <a:gd name="T11" fmla="*/ 659 h 821"/>
                <a:gd name="T12" fmla="*/ 591 w 808"/>
                <a:gd name="T13" fmla="*/ 642 h 821"/>
                <a:gd name="T14" fmla="*/ 597 w 808"/>
                <a:gd name="T15" fmla="*/ 649 h 821"/>
                <a:gd name="T16" fmla="*/ 620 w 808"/>
                <a:gd name="T17" fmla="*/ 619 h 821"/>
                <a:gd name="T18" fmla="*/ 636 w 808"/>
                <a:gd name="T19" fmla="*/ 634 h 821"/>
                <a:gd name="T20" fmla="*/ 623 w 808"/>
                <a:gd name="T21" fmla="*/ 679 h 821"/>
                <a:gd name="T22" fmla="*/ 620 w 808"/>
                <a:gd name="T23" fmla="*/ 692 h 821"/>
                <a:gd name="T24" fmla="*/ 177 w 808"/>
                <a:gd name="T25" fmla="*/ 710 h 821"/>
                <a:gd name="T26" fmla="*/ 216 w 808"/>
                <a:gd name="T27" fmla="*/ 643 h 821"/>
                <a:gd name="T28" fmla="*/ 233 w 808"/>
                <a:gd name="T29" fmla="*/ 632 h 821"/>
                <a:gd name="T30" fmla="*/ 209 w 808"/>
                <a:gd name="T31" fmla="*/ 667 h 821"/>
                <a:gd name="T32" fmla="*/ 245 w 808"/>
                <a:gd name="T33" fmla="*/ 647 h 821"/>
                <a:gd name="T34" fmla="*/ 246 w 808"/>
                <a:gd name="T35" fmla="*/ 676 h 821"/>
                <a:gd name="T36" fmla="*/ 228 w 808"/>
                <a:gd name="T37" fmla="*/ 694 h 821"/>
                <a:gd name="T38" fmla="*/ 203 w 808"/>
                <a:gd name="T39" fmla="*/ 719 h 821"/>
                <a:gd name="T40" fmla="*/ 207 w 808"/>
                <a:gd name="T41" fmla="*/ 683 h 821"/>
                <a:gd name="T42" fmla="*/ 446 w 808"/>
                <a:gd name="T43" fmla="*/ 698 h 821"/>
                <a:gd name="T44" fmla="*/ 444 w 808"/>
                <a:gd name="T45" fmla="*/ 686 h 821"/>
                <a:gd name="T46" fmla="*/ 445 w 808"/>
                <a:gd name="T47" fmla="*/ 674 h 821"/>
                <a:gd name="T48" fmla="*/ 434 w 808"/>
                <a:gd name="T49" fmla="*/ 668 h 821"/>
                <a:gd name="T50" fmla="*/ 438 w 808"/>
                <a:gd name="T51" fmla="*/ 651 h 821"/>
                <a:gd name="T52" fmla="*/ 456 w 808"/>
                <a:gd name="T53" fmla="*/ 644 h 821"/>
                <a:gd name="T54" fmla="*/ 465 w 808"/>
                <a:gd name="T55" fmla="*/ 643 h 821"/>
                <a:gd name="T56" fmla="*/ 457 w 808"/>
                <a:gd name="T57" fmla="*/ 675 h 821"/>
                <a:gd name="T58" fmla="*/ 455 w 808"/>
                <a:gd name="T59" fmla="*/ 690 h 821"/>
                <a:gd name="T60" fmla="*/ 265 w 808"/>
                <a:gd name="T61" fmla="*/ 713 h 821"/>
                <a:gd name="T62" fmla="*/ 562 w 808"/>
                <a:gd name="T63" fmla="*/ 715 h 821"/>
                <a:gd name="T64" fmla="*/ 292 w 808"/>
                <a:gd name="T65" fmla="*/ 705 h 821"/>
                <a:gd name="T66" fmla="*/ 300 w 808"/>
                <a:gd name="T67" fmla="*/ 666 h 821"/>
                <a:gd name="T68" fmla="*/ 285 w 808"/>
                <a:gd name="T69" fmla="*/ 672 h 821"/>
                <a:gd name="T70" fmla="*/ 302 w 808"/>
                <a:gd name="T71" fmla="*/ 650 h 821"/>
                <a:gd name="T72" fmla="*/ 307 w 808"/>
                <a:gd name="T73" fmla="*/ 637 h 821"/>
                <a:gd name="T74" fmla="*/ 319 w 808"/>
                <a:gd name="T75" fmla="*/ 648 h 821"/>
                <a:gd name="T76" fmla="*/ 305 w 808"/>
                <a:gd name="T77" fmla="*/ 696 h 821"/>
                <a:gd name="T78" fmla="*/ 511 w 808"/>
                <a:gd name="T79" fmla="*/ 689 h 821"/>
                <a:gd name="T80" fmla="*/ 538 w 808"/>
                <a:gd name="T81" fmla="*/ 638 h 821"/>
                <a:gd name="T82" fmla="*/ 529 w 808"/>
                <a:gd name="T83" fmla="*/ 700 h 821"/>
                <a:gd name="T84" fmla="*/ 241 w 808"/>
                <a:gd name="T85" fmla="*/ 701 h 821"/>
                <a:gd name="T86" fmla="*/ 469 w 808"/>
                <a:gd name="T87" fmla="*/ 701 h 821"/>
                <a:gd name="T88" fmla="*/ 447 w 808"/>
                <a:gd name="T89" fmla="*/ 705 h 821"/>
                <a:gd name="T90" fmla="*/ 349 w 808"/>
                <a:gd name="T91" fmla="*/ 697 h 821"/>
                <a:gd name="T92" fmla="*/ 371 w 808"/>
                <a:gd name="T93" fmla="*/ 665 h 821"/>
                <a:gd name="T94" fmla="*/ 400 w 808"/>
                <a:gd name="T95" fmla="*/ 667 h 821"/>
                <a:gd name="T96" fmla="*/ 375 w 808"/>
                <a:gd name="T97" fmla="*/ 697 h 821"/>
                <a:gd name="T98" fmla="*/ 220 w 808"/>
                <a:gd name="T99" fmla="*/ 683 h 821"/>
                <a:gd name="T100" fmla="*/ 223 w 808"/>
                <a:gd name="T101" fmla="*/ 690 h 821"/>
                <a:gd name="T102" fmla="*/ 318 w 808"/>
                <a:gd name="T103" fmla="*/ 697 h 821"/>
                <a:gd name="T104" fmla="*/ 206 w 808"/>
                <a:gd name="T105" fmla="*/ 674 h 821"/>
                <a:gd name="T106" fmla="*/ 311 w 808"/>
                <a:gd name="T107" fmla="*/ 660 h 821"/>
                <a:gd name="T108" fmla="*/ 614 w 808"/>
                <a:gd name="T109" fmla="*/ 661 h 821"/>
                <a:gd name="T110" fmla="*/ 607 w 808"/>
                <a:gd name="T111" fmla="*/ 650 h 821"/>
                <a:gd name="T112" fmla="*/ 217 w 808"/>
                <a:gd name="T113" fmla="*/ 627 h 821"/>
                <a:gd name="T114" fmla="*/ 161 w 808"/>
                <a:gd name="T115" fmla="*/ 585 h 821"/>
                <a:gd name="T116" fmla="*/ 114 w 808"/>
                <a:gd name="T117" fmla="*/ 372 h 821"/>
                <a:gd name="T118" fmla="*/ 243 w 808"/>
                <a:gd name="T119" fmla="*/ 205 h 821"/>
                <a:gd name="T120" fmla="*/ 433 w 808"/>
                <a:gd name="T121" fmla="*/ 152 h 821"/>
                <a:gd name="T122" fmla="*/ 653 w 808"/>
                <a:gd name="T123" fmla="*/ 325 h 821"/>
                <a:gd name="T124" fmla="*/ 664 w 808"/>
                <a:gd name="T125" fmla="*/ 50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8" h="821">
                  <a:moveTo>
                    <a:pt x="404" y="821"/>
                  </a:moveTo>
                  <a:cubicBezTo>
                    <a:pt x="626" y="821"/>
                    <a:pt x="808" y="637"/>
                    <a:pt x="808" y="411"/>
                  </a:cubicBezTo>
                  <a:cubicBezTo>
                    <a:pt x="808" y="185"/>
                    <a:pt x="626" y="0"/>
                    <a:pt x="404" y="0"/>
                  </a:cubicBezTo>
                  <a:cubicBezTo>
                    <a:pt x="181" y="0"/>
                    <a:pt x="0" y="185"/>
                    <a:pt x="0" y="411"/>
                  </a:cubicBezTo>
                  <a:cubicBezTo>
                    <a:pt x="0" y="637"/>
                    <a:pt x="181" y="821"/>
                    <a:pt x="404" y="821"/>
                  </a:cubicBezTo>
                  <a:close/>
                  <a:moveTo>
                    <a:pt x="404" y="3"/>
                  </a:moveTo>
                  <a:cubicBezTo>
                    <a:pt x="474" y="48"/>
                    <a:pt x="616" y="90"/>
                    <a:pt x="583" y="158"/>
                  </a:cubicBezTo>
                  <a:cubicBezTo>
                    <a:pt x="638" y="106"/>
                    <a:pt x="721" y="230"/>
                    <a:pt x="785" y="285"/>
                  </a:cubicBezTo>
                  <a:cubicBezTo>
                    <a:pt x="765" y="362"/>
                    <a:pt x="769" y="520"/>
                    <a:pt x="693" y="507"/>
                  </a:cubicBezTo>
                  <a:cubicBezTo>
                    <a:pt x="761" y="544"/>
                    <a:pt x="669" y="666"/>
                    <a:pt x="644" y="734"/>
                  </a:cubicBezTo>
                  <a:cubicBezTo>
                    <a:pt x="567" y="740"/>
                    <a:pt x="412" y="799"/>
                    <a:pt x="405" y="723"/>
                  </a:cubicBezTo>
                  <a:cubicBezTo>
                    <a:pt x="392" y="797"/>
                    <a:pt x="241" y="737"/>
                    <a:pt x="161" y="732"/>
                  </a:cubicBezTo>
                  <a:cubicBezTo>
                    <a:pt x="134" y="658"/>
                    <a:pt x="46" y="545"/>
                    <a:pt x="113" y="509"/>
                  </a:cubicBezTo>
                  <a:cubicBezTo>
                    <a:pt x="35" y="520"/>
                    <a:pt x="47" y="364"/>
                    <a:pt x="23" y="284"/>
                  </a:cubicBezTo>
                  <a:cubicBezTo>
                    <a:pt x="90" y="245"/>
                    <a:pt x="172" y="105"/>
                    <a:pt x="229" y="159"/>
                  </a:cubicBezTo>
                  <a:cubicBezTo>
                    <a:pt x="197" y="85"/>
                    <a:pt x="340" y="46"/>
                    <a:pt x="404" y="3"/>
                  </a:cubicBezTo>
                  <a:close/>
                  <a:moveTo>
                    <a:pt x="609" y="729"/>
                  </a:move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1" y="628"/>
                    <a:pt x="621" y="628"/>
                    <a:pt x="621" y="628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09" y="729"/>
                    <a:pt x="609" y="729"/>
                    <a:pt x="609" y="729"/>
                  </a:cubicBezTo>
                  <a:close/>
                  <a:moveTo>
                    <a:pt x="176" y="724"/>
                  </a:move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3"/>
                    <a:pt x="194" y="683"/>
                    <a:pt x="195" y="683"/>
                  </a:cubicBezTo>
                  <a:cubicBezTo>
                    <a:pt x="195" y="683"/>
                    <a:pt x="195" y="683"/>
                    <a:pt x="195" y="683"/>
                  </a:cubicBezTo>
                  <a:cubicBezTo>
                    <a:pt x="195" y="683"/>
                    <a:pt x="195" y="682"/>
                    <a:pt x="196" y="682"/>
                  </a:cubicBezTo>
                  <a:cubicBezTo>
                    <a:pt x="196" y="682"/>
                    <a:pt x="196" y="682"/>
                    <a:pt x="196" y="682"/>
                  </a:cubicBezTo>
                  <a:cubicBezTo>
                    <a:pt x="196" y="682"/>
                    <a:pt x="196" y="682"/>
                    <a:pt x="196" y="681"/>
                  </a:cubicBezTo>
                  <a:cubicBezTo>
                    <a:pt x="196" y="681"/>
                    <a:pt x="196" y="681"/>
                    <a:pt x="196" y="681"/>
                  </a:cubicBezTo>
                  <a:cubicBezTo>
                    <a:pt x="196" y="681"/>
                    <a:pt x="196" y="681"/>
                    <a:pt x="197" y="681"/>
                  </a:cubicBezTo>
                  <a:cubicBezTo>
                    <a:pt x="197" y="681"/>
                    <a:pt x="197" y="681"/>
                    <a:pt x="197" y="681"/>
                  </a:cubicBezTo>
                  <a:cubicBezTo>
                    <a:pt x="198" y="679"/>
                    <a:pt x="199" y="677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15" y="706"/>
                    <a:pt x="215" y="706"/>
                    <a:pt x="215" y="706"/>
                  </a:cubicBezTo>
                  <a:cubicBezTo>
                    <a:pt x="214" y="707"/>
                    <a:pt x="214" y="707"/>
                    <a:pt x="214" y="707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8"/>
                    <a:pt x="214" y="698"/>
                  </a:cubicBezTo>
                  <a:cubicBezTo>
                    <a:pt x="214" y="698"/>
                    <a:pt x="214" y="698"/>
                    <a:pt x="214" y="698"/>
                  </a:cubicBezTo>
                  <a:cubicBezTo>
                    <a:pt x="213" y="698"/>
                    <a:pt x="213" y="698"/>
                    <a:pt x="213" y="697"/>
                  </a:cubicBezTo>
                  <a:cubicBezTo>
                    <a:pt x="213" y="697"/>
                    <a:pt x="213" y="697"/>
                    <a:pt x="213" y="697"/>
                  </a:cubicBezTo>
                  <a:cubicBezTo>
                    <a:pt x="213" y="696"/>
                    <a:pt x="213" y="696"/>
                    <a:pt x="213" y="695"/>
                  </a:cubicBezTo>
                  <a:cubicBezTo>
                    <a:pt x="213" y="695"/>
                    <a:pt x="213" y="695"/>
                    <a:pt x="213" y="695"/>
                  </a:cubicBezTo>
                  <a:cubicBezTo>
                    <a:pt x="213" y="693"/>
                    <a:pt x="213" y="691"/>
                    <a:pt x="213" y="689"/>
                  </a:cubicBezTo>
                  <a:cubicBezTo>
                    <a:pt x="213" y="689"/>
                    <a:pt x="213" y="689"/>
                    <a:pt x="213" y="689"/>
                  </a:cubicBezTo>
                  <a:cubicBezTo>
                    <a:pt x="213" y="688"/>
                    <a:pt x="213" y="688"/>
                    <a:pt x="214" y="687"/>
                  </a:cubicBezTo>
                  <a:cubicBezTo>
                    <a:pt x="214" y="687"/>
                    <a:pt x="214" y="687"/>
                    <a:pt x="214" y="687"/>
                  </a:cubicBezTo>
                  <a:cubicBezTo>
                    <a:pt x="214" y="686"/>
                    <a:pt x="214" y="685"/>
                    <a:pt x="215" y="684"/>
                  </a:cubicBezTo>
                  <a:cubicBezTo>
                    <a:pt x="215" y="684"/>
                    <a:pt x="215" y="684"/>
                    <a:pt x="215" y="684"/>
                  </a:cubicBezTo>
                  <a:cubicBezTo>
                    <a:pt x="215" y="684"/>
                    <a:pt x="216" y="683"/>
                    <a:pt x="216" y="682"/>
                  </a:cubicBezTo>
                  <a:cubicBezTo>
                    <a:pt x="216" y="682"/>
                    <a:pt x="216" y="682"/>
                    <a:pt x="216" y="682"/>
                  </a:cubicBezTo>
                  <a:cubicBezTo>
                    <a:pt x="217" y="681"/>
                    <a:pt x="217" y="680"/>
                    <a:pt x="218" y="679"/>
                  </a:cubicBezTo>
                  <a:cubicBezTo>
                    <a:pt x="218" y="679"/>
                    <a:pt x="218" y="679"/>
                    <a:pt x="218" y="679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6" y="679"/>
                    <a:pt x="213" y="681"/>
                    <a:pt x="210" y="683"/>
                  </a:cubicBezTo>
                  <a:cubicBezTo>
                    <a:pt x="210" y="683"/>
                    <a:pt x="210" y="683"/>
                    <a:pt x="210" y="683"/>
                  </a:cubicBezTo>
                  <a:cubicBezTo>
                    <a:pt x="209" y="684"/>
                    <a:pt x="208" y="684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79"/>
                  </a:cubicBezTo>
                  <a:cubicBezTo>
                    <a:pt x="202" y="679"/>
                    <a:pt x="202" y="679"/>
                    <a:pt x="202" y="679"/>
                  </a:cubicBezTo>
                  <a:cubicBezTo>
                    <a:pt x="202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0" y="680"/>
                    <a:pt x="200" y="680"/>
                  </a:cubicBezTo>
                  <a:cubicBezTo>
                    <a:pt x="200" y="680"/>
                    <a:pt x="200" y="680"/>
                    <a:pt x="200" y="680"/>
                  </a:cubicBezTo>
                  <a:cubicBezTo>
                    <a:pt x="200" y="680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76" y="724"/>
                    <a:pt x="176" y="724"/>
                    <a:pt x="176" y="724"/>
                  </a:cubicBezTo>
                  <a:close/>
                  <a:moveTo>
                    <a:pt x="425" y="723"/>
                  </a:move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4" y="668"/>
                    <a:pt x="454" y="668"/>
                  </a:cubicBezTo>
                  <a:cubicBezTo>
                    <a:pt x="454" y="668"/>
                    <a:pt x="454" y="668"/>
                    <a:pt x="454" y="668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0"/>
                    <a:pt x="445" y="640"/>
                    <a:pt x="445" y="640"/>
                  </a:cubicBezTo>
                  <a:cubicBezTo>
                    <a:pt x="445" y="639"/>
                    <a:pt x="445" y="639"/>
                    <a:pt x="445" y="639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0" y="670"/>
                    <a:pt x="458" y="671"/>
                    <a:pt x="458" y="671"/>
                  </a:cubicBezTo>
                  <a:cubicBezTo>
                    <a:pt x="458" y="671"/>
                    <a:pt x="458" y="671"/>
                    <a:pt x="458" y="671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6" y="723"/>
                    <a:pt x="426" y="723"/>
                    <a:pt x="426" y="723"/>
                  </a:cubicBezTo>
                  <a:lnTo>
                    <a:pt x="425" y="723"/>
                  </a:lnTo>
                  <a:close/>
                  <a:moveTo>
                    <a:pt x="270" y="716"/>
                  </a:move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lose/>
                  <a:moveTo>
                    <a:pt x="562" y="715"/>
                  </a:moveTo>
                  <a:cubicBezTo>
                    <a:pt x="562" y="715"/>
                    <a:pt x="562" y="715"/>
                    <a:pt x="562" y="715"/>
                  </a:cubicBezTo>
                  <a:cubicBezTo>
                    <a:pt x="562" y="715"/>
                    <a:pt x="562" y="715"/>
                    <a:pt x="562" y="715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2" y="715"/>
                    <a:pt x="562" y="715"/>
                    <a:pt x="562" y="715"/>
                  </a:cubicBezTo>
                  <a:close/>
                  <a:moveTo>
                    <a:pt x="304" y="713"/>
                  </a:moveTo>
                  <a:cubicBezTo>
                    <a:pt x="302" y="712"/>
                    <a:pt x="302" y="712"/>
                    <a:pt x="302" y="712"/>
                  </a:cubicBezTo>
                  <a:cubicBezTo>
                    <a:pt x="302" y="712"/>
                    <a:pt x="302" y="712"/>
                    <a:pt x="302" y="712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1"/>
                    <a:pt x="302" y="621"/>
                    <a:pt x="302" y="621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lose/>
                  <a:moveTo>
                    <a:pt x="506" y="712"/>
                  </a:moveTo>
                  <a:cubicBezTo>
                    <a:pt x="506" y="710"/>
                    <a:pt x="506" y="710"/>
                    <a:pt x="506" y="710"/>
                  </a:cubicBezTo>
                  <a:cubicBezTo>
                    <a:pt x="506" y="710"/>
                    <a:pt x="506" y="710"/>
                    <a:pt x="506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0"/>
                    <a:pt x="536" y="650"/>
                    <a:pt x="535" y="647"/>
                  </a:cubicBezTo>
                  <a:cubicBezTo>
                    <a:pt x="535" y="647"/>
                    <a:pt x="535" y="647"/>
                    <a:pt x="535" y="647"/>
                  </a:cubicBezTo>
                  <a:cubicBezTo>
                    <a:pt x="535" y="645"/>
                    <a:pt x="534" y="644"/>
                    <a:pt x="534" y="643"/>
                  </a:cubicBezTo>
                  <a:cubicBezTo>
                    <a:pt x="534" y="643"/>
                    <a:pt x="534" y="643"/>
                    <a:pt x="534" y="643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2" y="642"/>
                    <a:pt x="542" y="642"/>
                    <a:pt x="543" y="643"/>
                  </a:cubicBezTo>
                  <a:cubicBezTo>
                    <a:pt x="543" y="643"/>
                    <a:pt x="543" y="643"/>
                    <a:pt x="543" y="643"/>
                  </a:cubicBezTo>
                  <a:cubicBezTo>
                    <a:pt x="544" y="645"/>
                    <a:pt x="544" y="645"/>
                    <a:pt x="544" y="647"/>
                  </a:cubicBezTo>
                  <a:cubicBezTo>
                    <a:pt x="544" y="647"/>
                    <a:pt x="544" y="647"/>
                    <a:pt x="544" y="647"/>
                  </a:cubicBezTo>
                  <a:cubicBezTo>
                    <a:pt x="544" y="648"/>
                    <a:pt x="544" y="648"/>
                    <a:pt x="544" y="649"/>
                  </a:cubicBezTo>
                  <a:cubicBezTo>
                    <a:pt x="544" y="649"/>
                    <a:pt x="544" y="649"/>
                    <a:pt x="544" y="649"/>
                  </a:cubicBezTo>
                  <a:cubicBezTo>
                    <a:pt x="539" y="675"/>
                    <a:pt x="539" y="675"/>
                    <a:pt x="539" y="675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07" y="712"/>
                    <a:pt x="507" y="712"/>
                    <a:pt x="507" y="712"/>
                  </a:cubicBezTo>
                  <a:lnTo>
                    <a:pt x="506" y="712"/>
                  </a:lnTo>
                  <a:close/>
                  <a:moveTo>
                    <a:pt x="242" y="710"/>
                  </a:move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2" y="710"/>
                    <a:pt x="242" y="710"/>
                    <a:pt x="242" y="710"/>
                  </a:cubicBezTo>
                  <a:close/>
                  <a:moveTo>
                    <a:pt x="468" y="708"/>
                  </a:moveTo>
                  <a:cubicBezTo>
                    <a:pt x="467" y="707"/>
                    <a:pt x="467" y="707"/>
                    <a:pt x="467" y="707"/>
                  </a:cubicBezTo>
                  <a:cubicBezTo>
                    <a:pt x="467" y="707"/>
                    <a:pt x="467" y="707"/>
                    <a:pt x="467" y="707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lose/>
                  <a:moveTo>
                    <a:pt x="445" y="707"/>
                  </a:move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lose/>
                  <a:moveTo>
                    <a:pt x="352" y="706"/>
                  </a:move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1" y="699"/>
                    <a:pt x="371" y="699"/>
                    <a:pt x="370" y="699"/>
                  </a:cubicBezTo>
                  <a:cubicBezTo>
                    <a:pt x="370" y="699"/>
                    <a:pt x="370" y="699"/>
                    <a:pt x="370" y="699"/>
                  </a:cubicBezTo>
                  <a:cubicBezTo>
                    <a:pt x="370" y="699"/>
                    <a:pt x="369" y="699"/>
                    <a:pt x="369" y="699"/>
                  </a:cubicBezTo>
                  <a:cubicBezTo>
                    <a:pt x="369" y="699"/>
                    <a:pt x="369" y="700"/>
                    <a:pt x="369" y="700"/>
                  </a:cubicBezTo>
                  <a:cubicBezTo>
                    <a:pt x="369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7" y="701"/>
                    <a:pt x="367" y="701"/>
                    <a:pt x="366" y="701"/>
                  </a:cubicBezTo>
                  <a:cubicBezTo>
                    <a:pt x="366" y="701"/>
                    <a:pt x="366" y="701"/>
                    <a:pt x="366" y="701"/>
                  </a:cubicBezTo>
                  <a:cubicBezTo>
                    <a:pt x="366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2"/>
                  </a:cubicBezTo>
                  <a:cubicBezTo>
                    <a:pt x="364" y="702"/>
                    <a:pt x="364" y="702"/>
                    <a:pt x="364" y="702"/>
                  </a:cubicBezTo>
                  <a:cubicBezTo>
                    <a:pt x="364" y="702"/>
                    <a:pt x="363" y="702"/>
                    <a:pt x="363" y="702"/>
                  </a:cubicBezTo>
                  <a:cubicBezTo>
                    <a:pt x="363" y="702"/>
                    <a:pt x="363" y="702"/>
                    <a:pt x="363" y="702"/>
                  </a:cubicBezTo>
                  <a:cubicBezTo>
                    <a:pt x="363" y="702"/>
                    <a:pt x="362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2" y="706"/>
                    <a:pt x="352" y="706"/>
                    <a:pt x="352" y="706"/>
                  </a:cubicBezTo>
                  <a:close/>
                  <a:moveTo>
                    <a:pt x="218" y="701"/>
                  </a:move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6" y="698"/>
                    <a:pt x="216" y="697"/>
                  </a:cubicBezTo>
                  <a:cubicBezTo>
                    <a:pt x="216" y="697"/>
                    <a:pt x="216" y="697"/>
                    <a:pt x="216" y="697"/>
                  </a:cubicBezTo>
                  <a:cubicBezTo>
                    <a:pt x="216" y="697"/>
                    <a:pt x="216" y="696"/>
                    <a:pt x="215" y="696"/>
                  </a:cubicBezTo>
                  <a:cubicBezTo>
                    <a:pt x="215" y="696"/>
                    <a:pt x="215" y="696"/>
                    <a:pt x="215" y="696"/>
                  </a:cubicBezTo>
                  <a:cubicBezTo>
                    <a:pt x="215" y="695"/>
                    <a:pt x="215" y="695"/>
                    <a:pt x="215" y="694"/>
                  </a:cubicBezTo>
                  <a:cubicBezTo>
                    <a:pt x="215" y="694"/>
                    <a:pt x="215" y="694"/>
                    <a:pt x="215" y="694"/>
                  </a:cubicBezTo>
                  <a:cubicBezTo>
                    <a:pt x="215" y="694"/>
                    <a:pt x="215" y="693"/>
                    <a:pt x="215" y="692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15" y="692"/>
                    <a:pt x="215" y="691"/>
                    <a:pt x="215" y="691"/>
                  </a:cubicBezTo>
                  <a:cubicBezTo>
                    <a:pt x="215" y="691"/>
                    <a:pt x="215" y="691"/>
                    <a:pt x="215" y="691"/>
                  </a:cubicBezTo>
                  <a:cubicBezTo>
                    <a:pt x="216" y="690"/>
                    <a:pt x="216" y="689"/>
                    <a:pt x="216" y="689"/>
                  </a:cubicBezTo>
                  <a:cubicBezTo>
                    <a:pt x="216" y="689"/>
                    <a:pt x="216" y="689"/>
                    <a:pt x="216" y="689"/>
                  </a:cubicBezTo>
                  <a:cubicBezTo>
                    <a:pt x="216" y="688"/>
                    <a:pt x="216" y="688"/>
                    <a:pt x="216" y="687"/>
                  </a:cubicBezTo>
                  <a:cubicBezTo>
                    <a:pt x="216" y="687"/>
                    <a:pt x="216" y="687"/>
                    <a:pt x="216" y="687"/>
                  </a:cubicBezTo>
                  <a:cubicBezTo>
                    <a:pt x="216" y="687"/>
                    <a:pt x="217" y="686"/>
                    <a:pt x="217" y="686"/>
                  </a:cubicBezTo>
                  <a:cubicBezTo>
                    <a:pt x="217" y="686"/>
                    <a:pt x="217" y="686"/>
                    <a:pt x="217" y="686"/>
                  </a:cubicBezTo>
                  <a:cubicBezTo>
                    <a:pt x="217" y="686"/>
                    <a:pt x="217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19" y="685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4" y="688"/>
                  </a:cubicBezTo>
                  <a:cubicBezTo>
                    <a:pt x="224" y="688"/>
                    <a:pt x="224" y="688"/>
                    <a:pt x="224" y="688"/>
                  </a:cubicBezTo>
                  <a:cubicBezTo>
                    <a:pt x="224" y="688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3" y="689"/>
                    <a:pt x="223" y="689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2" y="693"/>
                    <a:pt x="222" y="692"/>
                    <a:pt x="222" y="692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2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3"/>
                  </a:cubicBezTo>
                  <a:cubicBezTo>
                    <a:pt x="224" y="693"/>
                    <a:pt x="224" y="693"/>
                    <a:pt x="224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4"/>
                    <a:pt x="225" y="694"/>
                    <a:pt x="224" y="694"/>
                  </a:cubicBezTo>
                  <a:cubicBezTo>
                    <a:pt x="224" y="694"/>
                    <a:pt x="224" y="694"/>
                    <a:pt x="224" y="694"/>
                  </a:cubicBezTo>
                  <a:cubicBezTo>
                    <a:pt x="224" y="694"/>
                    <a:pt x="224" y="694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8"/>
                    <a:pt x="223" y="698"/>
                  </a:cubicBezTo>
                  <a:cubicBezTo>
                    <a:pt x="223" y="698"/>
                    <a:pt x="223" y="698"/>
                    <a:pt x="223" y="698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8" y="701"/>
                    <a:pt x="218" y="701"/>
                    <a:pt x="218" y="701"/>
                  </a:cubicBezTo>
                  <a:close/>
                  <a:moveTo>
                    <a:pt x="318" y="698"/>
                  </a:moveTo>
                  <a:cubicBezTo>
                    <a:pt x="318" y="698"/>
                    <a:pt x="318" y="698"/>
                    <a:pt x="318" y="698"/>
                  </a:cubicBezTo>
                  <a:cubicBezTo>
                    <a:pt x="318" y="698"/>
                    <a:pt x="318" y="698"/>
                    <a:pt x="318" y="698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8"/>
                    <a:pt x="319" y="698"/>
                    <a:pt x="319" y="698"/>
                  </a:cubicBezTo>
                  <a:lnTo>
                    <a:pt x="318" y="698"/>
                  </a:lnTo>
                  <a:close/>
                  <a:moveTo>
                    <a:pt x="203" y="679"/>
                  </a:moveTo>
                  <a:cubicBezTo>
                    <a:pt x="203" y="679"/>
                    <a:pt x="202" y="679"/>
                    <a:pt x="202" y="678"/>
                  </a:cubicBezTo>
                  <a:cubicBezTo>
                    <a:pt x="202" y="678"/>
                    <a:pt x="202" y="678"/>
                    <a:pt x="202" y="678"/>
                  </a:cubicBezTo>
                  <a:cubicBezTo>
                    <a:pt x="202" y="678"/>
                    <a:pt x="202" y="678"/>
                    <a:pt x="202" y="677"/>
                  </a:cubicBezTo>
                  <a:cubicBezTo>
                    <a:pt x="202" y="677"/>
                    <a:pt x="202" y="677"/>
                    <a:pt x="202" y="677"/>
                  </a:cubicBezTo>
                  <a:cubicBezTo>
                    <a:pt x="202" y="677"/>
                    <a:pt x="203" y="676"/>
                    <a:pt x="203" y="676"/>
                  </a:cubicBezTo>
                  <a:cubicBezTo>
                    <a:pt x="203" y="676"/>
                    <a:pt x="203" y="676"/>
                    <a:pt x="203" y="676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6" y="675"/>
                    <a:pt x="215" y="676"/>
                    <a:pt x="214" y="676"/>
                  </a:cubicBezTo>
                  <a:cubicBezTo>
                    <a:pt x="214" y="676"/>
                    <a:pt x="214" y="676"/>
                    <a:pt x="214" y="676"/>
                  </a:cubicBezTo>
                  <a:cubicBezTo>
                    <a:pt x="203" y="679"/>
                    <a:pt x="203" y="679"/>
                    <a:pt x="203" y="679"/>
                  </a:cubicBezTo>
                  <a:close/>
                  <a:moveTo>
                    <a:pt x="305" y="665"/>
                  </a:moveTo>
                  <a:cubicBezTo>
                    <a:pt x="306" y="655"/>
                    <a:pt x="306" y="655"/>
                    <a:pt x="306" y="655"/>
                  </a:cubicBezTo>
                  <a:cubicBezTo>
                    <a:pt x="306" y="655"/>
                    <a:pt x="306" y="655"/>
                    <a:pt x="306" y="655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5" y="665"/>
                    <a:pt x="305" y="665"/>
                    <a:pt x="305" y="665"/>
                  </a:cubicBezTo>
                  <a:close/>
                  <a:moveTo>
                    <a:pt x="598" y="662"/>
                  </a:move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2"/>
                    <a:pt x="599" y="662"/>
                    <a:pt x="599" y="662"/>
                  </a:cubicBezTo>
                  <a:lnTo>
                    <a:pt x="598" y="662"/>
                  </a:lnTo>
                  <a:close/>
                  <a:moveTo>
                    <a:pt x="615" y="662"/>
                  </a:move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2"/>
                    <a:pt x="616" y="662"/>
                    <a:pt x="616" y="662"/>
                  </a:cubicBezTo>
                  <a:lnTo>
                    <a:pt x="615" y="662"/>
                  </a:lnTo>
                  <a:close/>
                  <a:moveTo>
                    <a:pt x="607" y="656"/>
                  </a:moveTo>
                  <a:cubicBezTo>
                    <a:pt x="606" y="656"/>
                    <a:pt x="606" y="656"/>
                    <a:pt x="606" y="656"/>
                  </a:cubicBezTo>
                  <a:cubicBezTo>
                    <a:pt x="606" y="656"/>
                    <a:pt x="606" y="656"/>
                    <a:pt x="606" y="656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lose/>
                  <a:moveTo>
                    <a:pt x="307" y="647"/>
                  </a:moveTo>
                  <a:cubicBezTo>
                    <a:pt x="307" y="647"/>
                    <a:pt x="307" y="647"/>
                    <a:pt x="307" y="647"/>
                  </a:cubicBezTo>
                  <a:cubicBezTo>
                    <a:pt x="307" y="647"/>
                    <a:pt x="307" y="647"/>
                    <a:pt x="307" y="647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7" y="647"/>
                    <a:pt x="307" y="647"/>
                    <a:pt x="307" y="647"/>
                  </a:cubicBezTo>
                  <a:close/>
                  <a:moveTo>
                    <a:pt x="601" y="645"/>
                  </a:moveTo>
                  <a:cubicBezTo>
                    <a:pt x="601" y="645"/>
                    <a:pt x="601" y="645"/>
                    <a:pt x="601" y="645"/>
                  </a:cubicBezTo>
                  <a:close/>
                  <a:moveTo>
                    <a:pt x="217" y="632"/>
                  </a:moveTo>
                  <a:cubicBezTo>
                    <a:pt x="217" y="632"/>
                    <a:pt x="217" y="632"/>
                    <a:pt x="217" y="632"/>
                  </a:cubicBezTo>
                  <a:cubicBezTo>
                    <a:pt x="217" y="632"/>
                    <a:pt x="217" y="632"/>
                    <a:pt x="217" y="632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7" y="632"/>
                    <a:pt x="217" y="632"/>
                    <a:pt x="217" y="632"/>
                  </a:cubicBezTo>
                  <a:close/>
                  <a:moveTo>
                    <a:pt x="179" y="574"/>
                  </a:moveTo>
                  <a:cubicBezTo>
                    <a:pt x="174" y="578"/>
                    <a:pt x="174" y="578"/>
                    <a:pt x="174" y="578"/>
                  </a:cubicBezTo>
                  <a:cubicBezTo>
                    <a:pt x="164" y="563"/>
                    <a:pt x="164" y="563"/>
                    <a:pt x="164" y="563"/>
                  </a:cubicBezTo>
                  <a:cubicBezTo>
                    <a:pt x="181" y="551"/>
                    <a:pt x="181" y="551"/>
                    <a:pt x="181" y="551"/>
                  </a:cubicBezTo>
                  <a:cubicBezTo>
                    <a:pt x="190" y="565"/>
                    <a:pt x="190" y="565"/>
                    <a:pt x="190" y="565"/>
                  </a:cubicBezTo>
                  <a:cubicBezTo>
                    <a:pt x="192" y="567"/>
                    <a:pt x="193" y="569"/>
                    <a:pt x="193" y="571"/>
                  </a:cubicBezTo>
                  <a:cubicBezTo>
                    <a:pt x="194" y="572"/>
                    <a:pt x="194" y="574"/>
                    <a:pt x="194" y="576"/>
                  </a:cubicBezTo>
                  <a:cubicBezTo>
                    <a:pt x="194" y="578"/>
                    <a:pt x="193" y="580"/>
                    <a:pt x="192" y="582"/>
                  </a:cubicBezTo>
                  <a:cubicBezTo>
                    <a:pt x="190" y="585"/>
                    <a:pt x="188" y="586"/>
                    <a:pt x="185" y="588"/>
                  </a:cubicBezTo>
                  <a:cubicBezTo>
                    <a:pt x="180" y="592"/>
                    <a:pt x="176" y="593"/>
                    <a:pt x="172" y="593"/>
                  </a:cubicBezTo>
                  <a:cubicBezTo>
                    <a:pt x="168" y="592"/>
                    <a:pt x="164" y="589"/>
                    <a:pt x="161" y="585"/>
                  </a:cubicBezTo>
                  <a:cubicBezTo>
                    <a:pt x="152" y="571"/>
                    <a:pt x="152" y="571"/>
                    <a:pt x="152" y="571"/>
                  </a:cubicBezTo>
                  <a:cubicBezTo>
                    <a:pt x="157" y="568"/>
                    <a:pt x="157" y="568"/>
                    <a:pt x="157" y="568"/>
                  </a:cubicBezTo>
                  <a:cubicBezTo>
                    <a:pt x="166" y="581"/>
                    <a:pt x="166" y="581"/>
                    <a:pt x="166" y="581"/>
                  </a:cubicBezTo>
                  <a:cubicBezTo>
                    <a:pt x="168" y="584"/>
                    <a:pt x="170" y="585"/>
                    <a:pt x="172" y="585"/>
                  </a:cubicBezTo>
                  <a:cubicBezTo>
                    <a:pt x="174" y="585"/>
                    <a:pt x="177" y="584"/>
                    <a:pt x="181" y="582"/>
                  </a:cubicBezTo>
                  <a:cubicBezTo>
                    <a:pt x="184" y="579"/>
                    <a:pt x="186" y="577"/>
                    <a:pt x="186" y="575"/>
                  </a:cubicBezTo>
                  <a:cubicBezTo>
                    <a:pt x="187" y="573"/>
                    <a:pt x="187" y="571"/>
                    <a:pt x="185" y="568"/>
                  </a:cubicBezTo>
                  <a:cubicBezTo>
                    <a:pt x="180" y="561"/>
                    <a:pt x="180" y="561"/>
                    <a:pt x="180" y="561"/>
                  </a:cubicBezTo>
                  <a:cubicBezTo>
                    <a:pt x="173" y="566"/>
                    <a:pt x="173" y="566"/>
                    <a:pt x="173" y="566"/>
                  </a:cubicBezTo>
                  <a:cubicBezTo>
                    <a:pt x="179" y="574"/>
                    <a:pt x="179" y="574"/>
                    <a:pt x="179" y="574"/>
                  </a:cubicBezTo>
                  <a:close/>
                  <a:moveTo>
                    <a:pt x="143" y="556"/>
                  </a:moveTo>
                  <a:cubicBezTo>
                    <a:pt x="162" y="546"/>
                    <a:pt x="162" y="546"/>
                    <a:pt x="162" y="546"/>
                  </a:cubicBezTo>
                  <a:cubicBezTo>
                    <a:pt x="165" y="545"/>
                    <a:pt x="166" y="543"/>
                    <a:pt x="167" y="541"/>
                  </a:cubicBezTo>
                  <a:cubicBezTo>
                    <a:pt x="168" y="540"/>
                    <a:pt x="167" y="537"/>
                    <a:pt x="166" y="535"/>
                  </a:cubicBezTo>
                  <a:cubicBezTo>
                    <a:pt x="165" y="532"/>
                    <a:pt x="163" y="531"/>
                    <a:pt x="162" y="530"/>
                  </a:cubicBezTo>
                  <a:cubicBezTo>
                    <a:pt x="160" y="530"/>
                    <a:pt x="158" y="530"/>
                    <a:pt x="155" y="532"/>
                  </a:cubicBezTo>
                  <a:cubicBezTo>
                    <a:pt x="136" y="541"/>
                    <a:pt x="136" y="541"/>
                    <a:pt x="136" y="541"/>
                  </a:cubicBezTo>
                  <a:cubicBezTo>
                    <a:pt x="132" y="535"/>
                    <a:pt x="132" y="535"/>
                    <a:pt x="132" y="535"/>
                  </a:cubicBezTo>
                  <a:cubicBezTo>
                    <a:pt x="151" y="525"/>
                    <a:pt x="151" y="525"/>
                    <a:pt x="151" y="525"/>
                  </a:cubicBezTo>
                  <a:cubicBezTo>
                    <a:pt x="154" y="524"/>
                    <a:pt x="155" y="523"/>
                    <a:pt x="157" y="523"/>
                  </a:cubicBezTo>
                  <a:cubicBezTo>
                    <a:pt x="158" y="522"/>
                    <a:pt x="160" y="522"/>
                    <a:pt x="161" y="522"/>
                  </a:cubicBezTo>
                  <a:cubicBezTo>
                    <a:pt x="163" y="523"/>
                    <a:pt x="165" y="524"/>
                    <a:pt x="166" y="526"/>
                  </a:cubicBezTo>
                  <a:cubicBezTo>
                    <a:pt x="168" y="527"/>
                    <a:pt x="170" y="529"/>
                    <a:pt x="171" y="532"/>
                  </a:cubicBezTo>
                  <a:cubicBezTo>
                    <a:pt x="173" y="535"/>
                    <a:pt x="173" y="538"/>
                    <a:pt x="174" y="540"/>
                  </a:cubicBezTo>
                  <a:cubicBezTo>
                    <a:pt x="174" y="542"/>
                    <a:pt x="174" y="544"/>
                    <a:pt x="173" y="546"/>
                  </a:cubicBezTo>
                  <a:cubicBezTo>
                    <a:pt x="172" y="547"/>
                    <a:pt x="172" y="548"/>
                    <a:pt x="170" y="549"/>
                  </a:cubicBezTo>
                  <a:cubicBezTo>
                    <a:pt x="169" y="550"/>
                    <a:pt x="168" y="551"/>
                    <a:pt x="165" y="553"/>
                  </a:cubicBezTo>
                  <a:cubicBezTo>
                    <a:pt x="146" y="562"/>
                    <a:pt x="146" y="562"/>
                    <a:pt x="146" y="562"/>
                  </a:cubicBezTo>
                  <a:cubicBezTo>
                    <a:pt x="143" y="556"/>
                    <a:pt x="143" y="556"/>
                    <a:pt x="143" y="556"/>
                  </a:cubicBezTo>
                  <a:close/>
                  <a:moveTo>
                    <a:pt x="130" y="509"/>
                  </a:moveTo>
                  <a:cubicBezTo>
                    <a:pt x="141" y="499"/>
                    <a:pt x="141" y="499"/>
                    <a:pt x="141" y="499"/>
                  </a:cubicBezTo>
                  <a:cubicBezTo>
                    <a:pt x="145" y="509"/>
                    <a:pt x="145" y="509"/>
                    <a:pt x="145" y="509"/>
                  </a:cubicBezTo>
                  <a:cubicBezTo>
                    <a:pt x="130" y="509"/>
                    <a:pt x="130" y="509"/>
                    <a:pt x="130" y="509"/>
                  </a:cubicBezTo>
                  <a:close/>
                  <a:moveTo>
                    <a:pt x="125" y="514"/>
                  </a:moveTo>
                  <a:cubicBezTo>
                    <a:pt x="122" y="507"/>
                    <a:pt x="122" y="507"/>
                    <a:pt x="122" y="507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47" y="495"/>
                    <a:pt x="147" y="495"/>
                    <a:pt x="147" y="495"/>
                  </a:cubicBezTo>
                  <a:cubicBezTo>
                    <a:pt x="152" y="509"/>
                    <a:pt x="152" y="509"/>
                    <a:pt x="152" y="509"/>
                  </a:cubicBezTo>
                  <a:cubicBezTo>
                    <a:pt x="160" y="510"/>
                    <a:pt x="160" y="510"/>
                    <a:pt x="160" y="510"/>
                  </a:cubicBezTo>
                  <a:cubicBezTo>
                    <a:pt x="163" y="517"/>
                    <a:pt x="163" y="517"/>
                    <a:pt x="163" y="517"/>
                  </a:cubicBezTo>
                  <a:cubicBezTo>
                    <a:pt x="125" y="514"/>
                    <a:pt x="125" y="514"/>
                    <a:pt x="125" y="514"/>
                  </a:cubicBezTo>
                  <a:close/>
                  <a:moveTo>
                    <a:pt x="115" y="485"/>
                  </a:moveTo>
                  <a:cubicBezTo>
                    <a:pt x="113" y="475"/>
                    <a:pt x="113" y="475"/>
                    <a:pt x="113" y="475"/>
                  </a:cubicBezTo>
                  <a:cubicBezTo>
                    <a:pt x="135" y="456"/>
                    <a:pt x="135" y="456"/>
                    <a:pt x="135" y="456"/>
                  </a:cubicBezTo>
                  <a:cubicBezTo>
                    <a:pt x="111" y="461"/>
                    <a:pt x="111" y="461"/>
                    <a:pt x="111" y="461"/>
                  </a:cubicBezTo>
                  <a:cubicBezTo>
                    <a:pt x="109" y="454"/>
                    <a:pt x="109" y="454"/>
                    <a:pt x="109" y="454"/>
                  </a:cubicBezTo>
                  <a:cubicBezTo>
                    <a:pt x="144" y="447"/>
                    <a:pt x="144" y="447"/>
                    <a:pt x="144" y="447"/>
                  </a:cubicBezTo>
                  <a:cubicBezTo>
                    <a:pt x="145" y="456"/>
                    <a:pt x="145" y="456"/>
                    <a:pt x="145" y="456"/>
                  </a:cubicBezTo>
                  <a:cubicBezTo>
                    <a:pt x="122" y="476"/>
                    <a:pt x="122" y="476"/>
                    <a:pt x="122" y="476"/>
                  </a:cubicBezTo>
                  <a:cubicBezTo>
                    <a:pt x="148" y="471"/>
                    <a:pt x="148" y="471"/>
                    <a:pt x="148" y="471"/>
                  </a:cubicBezTo>
                  <a:cubicBezTo>
                    <a:pt x="149" y="478"/>
                    <a:pt x="149" y="478"/>
                    <a:pt x="149" y="478"/>
                  </a:cubicBezTo>
                  <a:cubicBezTo>
                    <a:pt x="115" y="485"/>
                    <a:pt x="115" y="485"/>
                    <a:pt x="115" y="485"/>
                  </a:cubicBezTo>
                  <a:close/>
                  <a:moveTo>
                    <a:pt x="128" y="427"/>
                  </a:moveTo>
                  <a:cubicBezTo>
                    <a:pt x="121" y="427"/>
                    <a:pt x="121" y="427"/>
                    <a:pt x="121" y="427"/>
                  </a:cubicBezTo>
                  <a:cubicBezTo>
                    <a:pt x="121" y="410"/>
                    <a:pt x="121" y="410"/>
                    <a:pt x="121" y="410"/>
                  </a:cubicBezTo>
                  <a:cubicBezTo>
                    <a:pt x="142" y="409"/>
                    <a:pt x="142" y="409"/>
                    <a:pt x="142" y="409"/>
                  </a:cubicBezTo>
                  <a:cubicBezTo>
                    <a:pt x="142" y="425"/>
                    <a:pt x="142" y="425"/>
                    <a:pt x="142" y="425"/>
                  </a:cubicBezTo>
                  <a:cubicBezTo>
                    <a:pt x="142" y="428"/>
                    <a:pt x="142" y="431"/>
                    <a:pt x="142" y="432"/>
                  </a:cubicBezTo>
                  <a:cubicBezTo>
                    <a:pt x="141" y="434"/>
                    <a:pt x="140" y="435"/>
                    <a:pt x="139" y="437"/>
                  </a:cubicBezTo>
                  <a:cubicBezTo>
                    <a:pt x="138" y="439"/>
                    <a:pt x="136" y="440"/>
                    <a:pt x="134" y="441"/>
                  </a:cubicBezTo>
                  <a:cubicBezTo>
                    <a:pt x="132" y="442"/>
                    <a:pt x="129" y="442"/>
                    <a:pt x="126" y="443"/>
                  </a:cubicBezTo>
                  <a:cubicBezTo>
                    <a:pt x="119" y="443"/>
                    <a:pt x="115" y="441"/>
                    <a:pt x="112" y="439"/>
                  </a:cubicBezTo>
                  <a:cubicBezTo>
                    <a:pt x="109" y="436"/>
                    <a:pt x="107" y="432"/>
                    <a:pt x="107" y="426"/>
                  </a:cubicBezTo>
                  <a:cubicBezTo>
                    <a:pt x="107" y="410"/>
                    <a:pt x="107" y="410"/>
                    <a:pt x="107" y="410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113" y="426"/>
                    <a:pt x="113" y="426"/>
                    <a:pt x="113" y="426"/>
                  </a:cubicBezTo>
                  <a:cubicBezTo>
                    <a:pt x="113" y="429"/>
                    <a:pt x="114" y="431"/>
                    <a:pt x="116" y="432"/>
                  </a:cubicBezTo>
                  <a:cubicBezTo>
                    <a:pt x="118" y="434"/>
                    <a:pt x="121" y="434"/>
                    <a:pt x="125" y="434"/>
                  </a:cubicBezTo>
                  <a:cubicBezTo>
                    <a:pt x="129" y="434"/>
                    <a:pt x="132" y="433"/>
                    <a:pt x="133" y="432"/>
                  </a:cubicBezTo>
                  <a:cubicBezTo>
                    <a:pt x="135" y="431"/>
                    <a:pt x="136" y="428"/>
                    <a:pt x="136" y="425"/>
                  </a:cubicBezTo>
                  <a:cubicBezTo>
                    <a:pt x="136" y="417"/>
                    <a:pt x="136" y="417"/>
                    <a:pt x="136" y="417"/>
                  </a:cubicBezTo>
                  <a:cubicBezTo>
                    <a:pt x="127" y="417"/>
                    <a:pt x="127" y="417"/>
                    <a:pt x="127" y="417"/>
                  </a:cubicBezTo>
                  <a:cubicBezTo>
                    <a:pt x="128" y="427"/>
                    <a:pt x="128" y="427"/>
                    <a:pt x="128" y="427"/>
                  </a:cubicBezTo>
                  <a:close/>
                  <a:moveTo>
                    <a:pt x="115" y="385"/>
                  </a:moveTo>
                  <a:cubicBezTo>
                    <a:pt x="115" y="385"/>
                    <a:pt x="115" y="385"/>
                    <a:pt x="115" y="385"/>
                  </a:cubicBezTo>
                  <a:cubicBezTo>
                    <a:pt x="115" y="382"/>
                    <a:pt x="116" y="379"/>
                    <a:pt x="117" y="378"/>
                  </a:cubicBezTo>
                  <a:cubicBezTo>
                    <a:pt x="119" y="377"/>
                    <a:pt x="122" y="377"/>
                    <a:pt x="127" y="377"/>
                  </a:cubicBezTo>
                  <a:cubicBezTo>
                    <a:pt x="131" y="377"/>
                    <a:pt x="134" y="378"/>
                    <a:pt x="135" y="379"/>
                  </a:cubicBezTo>
                  <a:cubicBezTo>
                    <a:pt x="137" y="381"/>
                    <a:pt x="138" y="383"/>
                    <a:pt x="137" y="386"/>
                  </a:cubicBezTo>
                  <a:cubicBezTo>
                    <a:pt x="137" y="395"/>
                    <a:pt x="137" y="395"/>
                    <a:pt x="137" y="395"/>
                  </a:cubicBezTo>
                  <a:cubicBezTo>
                    <a:pt x="114" y="394"/>
                    <a:pt x="114" y="394"/>
                    <a:pt x="114" y="394"/>
                  </a:cubicBezTo>
                  <a:cubicBezTo>
                    <a:pt x="115" y="385"/>
                    <a:pt x="115" y="385"/>
                    <a:pt x="115" y="385"/>
                  </a:cubicBezTo>
                  <a:close/>
                  <a:moveTo>
                    <a:pt x="107" y="401"/>
                  </a:moveTo>
                  <a:cubicBezTo>
                    <a:pt x="108" y="384"/>
                    <a:pt x="108" y="384"/>
                    <a:pt x="108" y="384"/>
                  </a:cubicBezTo>
                  <a:cubicBezTo>
                    <a:pt x="109" y="378"/>
                    <a:pt x="111" y="374"/>
                    <a:pt x="114" y="372"/>
                  </a:cubicBezTo>
                  <a:cubicBezTo>
                    <a:pt x="117" y="369"/>
                    <a:pt x="122" y="368"/>
                    <a:pt x="128" y="369"/>
                  </a:cubicBezTo>
                  <a:cubicBezTo>
                    <a:pt x="131" y="369"/>
                    <a:pt x="134" y="370"/>
                    <a:pt x="136" y="371"/>
                  </a:cubicBezTo>
                  <a:cubicBezTo>
                    <a:pt x="138" y="372"/>
                    <a:pt x="140" y="373"/>
                    <a:pt x="141" y="375"/>
                  </a:cubicBezTo>
                  <a:cubicBezTo>
                    <a:pt x="142" y="377"/>
                    <a:pt x="143" y="378"/>
                    <a:pt x="143" y="380"/>
                  </a:cubicBezTo>
                  <a:cubicBezTo>
                    <a:pt x="144" y="381"/>
                    <a:pt x="144" y="384"/>
                    <a:pt x="144" y="387"/>
                  </a:cubicBezTo>
                  <a:cubicBezTo>
                    <a:pt x="142" y="403"/>
                    <a:pt x="142" y="403"/>
                    <a:pt x="142" y="403"/>
                  </a:cubicBezTo>
                  <a:cubicBezTo>
                    <a:pt x="107" y="401"/>
                    <a:pt x="107" y="401"/>
                    <a:pt x="107" y="401"/>
                  </a:cubicBezTo>
                  <a:close/>
                  <a:moveTo>
                    <a:pt x="128" y="362"/>
                  </a:moveTo>
                  <a:cubicBezTo>
                    <a:pt x="123" y="361"/>
                    <a:pt x="118" y="359"/>
                    <a:pt x="116" y="355"/>
                  </a:cubicBezTo>
                  <a:cubicBezTo>
                    <a:pt x="114" y="351"/>
                    <a:pt x="114" y="347"/>
                    <a:pt x="115" y="341"/>
                  </a:cubicBezTo>
                  <a:cubicBezTo>
                    <a:pt x="116" y="335"/>
                    <a:pt x="119" y="331"/>
                    <a:pt x="122" y="329"/>
                  </a:cubicBezTo>
                  <a:cubicBezTo>
                    <a:pt x="126" y="327"/>
                    <a:pt x="131" y="326"/>
                    <a:pt x="137" y="328"/>
                  </a:cubicBezTo>
                  <a:cubicBezTo>
                    <a:pt x="143" y="329"/>
                    <a:pt x="147" y="332"/>
                    <a:pt x="149" y="335"/>
                  </a:cubicBezTo>
                  <a:cubicBezTo>
                    <a:pt x="152" y="339"/>
                    <a:pt x="152" y="343"/>
                    <a:pt x="151" y="349"/>
                  </a:cubicBezTo>
                  <a:cubicBezTo>
                    <a:pt x="149" y="355"/>
                    <a:pt x="147" y="359"/>
                    <a:pt x="143" y="361"/>
                  </a:cubicBezTo>
                  <a:cubicBezTo>
                    <a:pt x="140" y="364"/>
                    <a:pt x="135" y="364"/>
                    <a:pt x="128" y="362"/>
                  </a:cubicBezTo>
                  <a:close/>
                  <a:moveTo>
                    <a:pt x="121" y="342"/>
                  </a:moveTo>
                  <a:cubicBezTo>
                    <a:pt x="122" y="339"/>
                    <a:pt x="123" y="337"/>
                    <a:pt x="125" y="336"/>
                  </a:cubicBezTo>
                  <a:cubicBezTo>
                    <a:pt x="128" y="335"/>
                    <a:pt x="131" y="335"/>
                    <a:pt x="135" y="336"/>
                  </a:cubicBezTo>
                  <a:cubicBezTo>
                    <a:pt x="139" y="337"/>
                    <a:pt x="142" y="338"/>
                    <a:pt x="143" y="340"/>
                  </a:cubicBezTo>
                  <a:cubicBezTo>
                    <a:pt x="145" y="342"/>
                    <a:pt x="145" y="345"/>
                    <a:pt x="145" y="348"/>
                  </a:cubicBezTo>
                  <a:cubicBezTo>
                    <a:pt x="144" y="351"/>
                    <a:pt x="142" y="353"/>
                    <a:pt x="140" y="354"/>
                  </a:cubicBezTo>
                  <a:cubicBezTo>
                    <a:pt x="138" y="355"/>
                    <a:pt x="135" y="355"/>
                    <a:pt x="130" y="354"/>
                  </a:cubicBezTo>
                  <a:cubicBezTo>
                    <a:pt x="126" y="353"/>
                    <a:pt x="124" y="352"/>
                    <a:pt x="122" y="350"/>
                  </a:cubicBezTo>
                  <a:cubicBezTo>
                    <a:pt x="121" y="348"/>
                    <a:pt x="120" y="345"/>
                    <a:pt x="121" y="342"/>
                  </a:cubicBezTo>
                  <a:close/>
                  <a:moveTo>
                    <a:pt x="124" y="314"/>
                  </a:moveTo>
                  <a:cubicBezTo>
                    <a:pt x="127" y="305"/>
                    <a:pt x="127" y="305"/>
                    <a:pt x="127" y="305"/>
                  </a:cubicBezTo>
                  <a:cubicBezTo>
                    <a:pt x="156" y="301"/>
                    <a:pt x="156" y="301"/>
                    <a:pt x="156" y="301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5" y="284"/>
                    <a:pt x="135" y="284"/>
                    <a:pt x="135" y="284"/>
                  </a:cubicBezTo>
                  <a:cubicBezTo>
                    <a:pt x="168" y="298"/>
                    <a:pt x="168" y="298"/>
                    <a:pt x="168" y="298"/>
                  </a:cubicBezTo>
                  <a:cubicBezTo>
                    <a:pt x="165" y="306"/>
                    <a:pt x="165" y="306"/>
                    <a:pt x="165" y="306"/>
                  </a:cubicBezTo>
                  <a:cubicBezTo>
                    <a:pt x="135" y="310"/>
                    <a:pt x="135" y="310"/>
                    <a:pt x="135" y="310"/>
                  </a:cubicBezTo>
                  <a:cubicBezTo>
                    <a:pt x="159" y="320"/>
                    <a:pt x="159" y="320"/>
                    <a:pt x="159" y="320"/>
                  </a:cubicBezTo>
                  <a:cubicBezTo>
                    <a:pt x="156" y="327"/>
                    <a:pt x="156" y="327"/>
                    <a:pt x="156" y="327"/>
                  </a:cubicBezTo>
                  <a:cubicBezTo>
                    <a:pt x="124" y="314"/>
                    <a:pt x="124" y="314"/>
                    <a:pt x="124" y="314"/>
                  </a:cubicBezTo>
                  <a:close/>
                  <a:moveTo>
                    <a:pt x="166" y="273"/>
                  </a:moveTo>
                  <a:cubicBezTo>
                    <a:pt x="160" y="269"/>
                    <a:pt x="160" y="269"/>
                    <a:pt x="160" y="269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87" y="265"/>
                    <a:pt x="187" y="265"/>
                    <a:pt x="187" y="265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8" y="281"/>
                    <a:pt x="176" y="283"/>
                    <a:pt x="175" y="284"/>
                  </a:cubicBezTo>
                  <a:cubicBezTo>
                    <a:pt x="174" y="286"/>
                    <a:pt x="172" y="286"/>
                    <a:pt x="171" y="287"/>
                  </a:cubicBezTo>
                  <a:cubicBezTo>
                    <a:pt x="168" y="288"/>
                    <a:pt x="166" y="288"/>
                    <a:pt x="164" y="288"/>
                  </a:cubicBezTo>
                  <a:cubicBezTo>
                    <a:pt x="161" y="287"/>
                    <a:pt x="159" y="286"/>
                    <a:pt x="156" y="284"/>
                  </a:cubicBezTo>
                  <a:cubicBezTo>
                    <a:pt x="151" y="281"/>
                    <a:pt x="147" y="278"/>
                    <a:pt x="146" y="274"/>
                  </a:cubicBezTo>
                  <a:cubicBezTo>
                    <a:pt x="145" y="270"/>
                    <a:pt x="146" y="265"/>
                    <a:pt x="149" y="260"/>
                  </a:cubicBezTo>
                  <a:cubicBezTo>
                    <a:pt x="157" y="247"/>
                    <a:pt x="157" y="247"/>
                    <a:pt x="157" y="247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54" y="264"/>
                    <a:pt x="154" y="264"/>
                    <a:pt x="154" y="264"/>
                  </a:cubicBezTo>
                  <a:cubicBezTo>
                    <a:pt x="153" y="266"/>
                    <a:pt x="152" y="268"/>
                    <a:pt x="153" y="271"/>
                  </a:cubicBezTo>
                  <a:cubicBezTo>
                    <a:pt x="154" y="273"/>
                    <a:pt x="156" y="275"/>
                    <a:pt x="160" y="277"/>
                  </a:cubicBezTo>
                  <a:cubicBezTo>
                    <a:pt x="163" y="279"/>
                    <a:pt x="166" y="280"/>
                    <a:pt x="168" y="280"/>
                  </a:cubicBezTo>
                  <a:cubicBezTo>
                    <a:pt x="170" y="279"/>
                    <a:pt x="172" y="278"/>
                    <a:pt x="174" y="276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1" y="264"/>
                    <a:pt x="171" y="264"/>
                    <a:pt x="171" y="264"/>
                  </a:cubicBezTo>
                  <a:cubicBezTo>
                    <a:pt x="166" y="273"/>
                    <a:pt x="166" y="273"/>
                    <a:pt x="166" y="273"/>
                  </a:cubicBezTo>
                  <a:close/>
                  <a:moveTo>
                    <a:pt x="197" y="199"/>
                  </a:moveTo>
                  <a:cubicBezTo>
                    <a:pt x="211" y="215"/>
                    <a:pt x="211" y="215"/>
                    <a:pt x="211" y="215"/>
                  </a:cubicBezTo>
                  <a:cubicBezTo>
                    <a:pt x="213" y="217"/>
                    <a:pt x="215" y="218"/>
                    <a:pt x="217" y="219"/>
                  </a:cubicBezTo>
                  <a:cubicBezTo>
                    <a:pt x="219" y="219"/>
                    <a:pt x="221" y="218"/>
                    <a:pt x="223" y="216"/>
                  </a:cubicBezTo>
                  <a:cubicBezTo>
                    <a:pt x="225" y="214"/>
                    <a:pt x="226" y="212"/>
                    <a:pt x="226" y="210"/>
                  </a:cubicBezTo>
                  <a:cubicBezTo>
                    <a:pt x="226" y="208"/>
                    <a:pt x="225" y="206"/>
                    <a:pt x="223" y="204"/>
                  </a:cubicBezTo>
                  <a:cubicBezTo>
                    <a:pt x="208" y="188"/>
                    <a:pt x="208" y="188"/>
                    <a:pt x="208" y="188"/>
                  </a:cubicBezTo>
                  <a:cubicBezTo>
                    <a:pt x="214" y="183"/>
                    <a:pt x="214" y="183"/>
                    <a:pt x="214" y="183"/>
                  </a:cubicBezTo>
                  <a:cubicBezTo>
                    <a:pt x="228" y="199"/>
                    <a:pt x="228" y="199"/>
                    <a:pt x="228" y="199"/>
                  </a:cubicBezTo>
                  <a:cubicBezTo>
                    <a:pt x="230" y="201"/>
                    <a:pt x="231" y="202"/>
                    <a:pt x="232" y="203"/>
                  </a:cubicBezTo>
                  <a:cubicBezTo>
                    <a:pt x="233" y="205"/>
                    <a:pt x="233" y="206"/>
                    <a:pt x="233" y="207"/>
                  </a:cubicBezTo>
                  <a:cubicBezTo>
                    <a:pt x="233" y="209"/>
                    <a:pt x="233" y="212"/>
                    <a:pt x="232" y="214"/>
                  </a:cubicBezTo>
                  <a:cubicBezTo>
                    <a:pt x="231" y="216"/>
                    <a:pt x="229" y="218"/>
                    <a:pt x="227" y="220"/>
                  </a:cubicBezTo>
                  <a:cubicBezTo>
                    <a:pt x="224" y="222"/>
                    <a:pt x="222" y="224"/>
                    <a:pt x="220" y="225"/>
                  </a:cubicBezTo>
                  <a:cubicBezTo>
                    <a:pt x="218" y="226"/>
                    <a:pt x="216" y="226"/>
                    <a:pt x="214" y="226"/>
                  </a:cubicBezTo>
                  <a:cubicBezTo>
                    <a:pt x="213" y="225"/>
                    <a:pt x="212" y="225"/>
                    <a:pt x="210" y="224"/>
                  </a:cubicBezTo>
                  <a:cubicBezTo>
                    <a:pt x="209" y="223"/>
                    <a:pt x="208" y="222"/>
                    <a:pt x="206" y="22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97" y="199"/>
                    <a:pt x="197" y="199"/>
                    <a:pt x="197" y="199"/>
                  </a:cubicBezTo>
                  <a:close/>
                  <a:moveTo>
                    <a:pt x="222" y="175"/>
                  </a:moveTo>
                  <a:cubicBezTo>
                    <a:pt x="230" y="170"/>
                    <a:pt x="230" y="170"/>
                    <a:pt x="230" y="170"/>
                  </a:cubicBezTo>
                  <a:cubicBezTo>
                    <a:pt x="256" y="183"/>
                    <a:pt x="256" y="183"/>
                    <a:pt x="256" y="183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68" y="187"/>
                    <a:pt x="268" y="187"/>
                    <a:pt x="268" y="187"/>
                  </a:cubicBezTo>
                  <a:cubicBezTo>
                    <a:pt x="261" y="192"/>
                    <a:pt x="261" y="192"/>
                    <a:pt x="261" y="192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49" y="200"/>
                    <a:pt x="249" y="200"/>
                    <a:pt x="249" y="200"/>
                  </a:cubicBezTo>
                  <a:cubicBezTo>
                    <a:pt x="243" y="205"/>
                    <a:pt x="243" y="205"/>
                    <a:pt x="243" y="205"/>
                  </a:cubicBezTo>
                  <a:cubicBezTo>
                    <a:pt x="222" y="175"/>
                    <a:pt x="222" y="175"/>
                    <a:pt x="222" y="175"/>
                  </a:cubicBezTo>
                  <a:close/>
                  <a:moveTo>
                    <a:pt x="282" y="180"/>
                  </a:moveTo>
                  <a:cubicBezTo>
                    <a:pt x="275" y="184"/>
                    <a:pt x="275" y="184"/>
                    <a:pt x="275" y="184"/>
                  </a:cubicBezTo>
                  <a:cubicBezTo>
                    <a:pt x="257" y="153"/>
                    <a:pt x="257" y="153"/>
                    <a:pt x="257" y="153"/>
                  </a:cubicBezTo>
                  <a:cubicBezTo>
                    <a:pt x="264" y="149"/>
                    <a:pt x="264" y="149"/>
                    <a:pt x="264" y="149"/>
                  </a:cubicBezTo>
                  <a:cubicBezTo>
                    <a:pt x="282" y="180"/>
                    <a:pt x="282" y="180"/>
                    <a:pt x="282" y="180"/>
                  </a:cubicBezTo>
                  <a:close/>
                  <a:moveTo>
                    <a:pt x="297" y="172"/>
                  </a:moveTo>
                  <a:cubicBezTo>
                    <a:pt x="268" y="146"/>
                    <a:pt x="268" y="146"/>
                    <a:pt x="268" y="146"/>
                  </a:cubicBezTo>
                  <a:cubicBezTo>
                    <a:pt x="276" y="142"/>
                    <a:pt x="276" y="142"/>
                    <a:pt x="276" y="142"/>
                  </a:cubicBezTo>
                  <a:cubicBezTo>
                    <a:pt x="297" y="162"/>
                    <a:pt x="297" y="162"/>
                    <a:pt x="297" y="162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297" y="172"/>
                    <a:pt x="297" y="172"/>
                    <a:pt x="297" y="172"/>
                  </a:cubicBezTo>
                  <a:close/>
                  <a:moveTo>
                    <a:pt x="325" y="130"/>
                  </a:moveTo>
                  <a:cubicBezTo>
                    <a:pt x="323" y="131"/>
                    <a:pt x="321" y="132"/>
                    <a:pt x="320" y="134"/>
                  </a:cubicBezTo>
                  <a:cubicBezTo>
                    <a:pt x="319" y="136"/>
                    <a:pt x="319" y="138"/>
                    <a:pt x="320" y="141"/>
                  </a:cubicBezTo>
                  <a:cubicBezTo>
                    <a:pt x="339" y="135"/>
                    <a:pt x="339" y="135"/>
                    <a:pt x="339" y="135"/>
                  </a:cubicBezTo>
                  <a:cubicBezTo>
                    <a:pt x="341" y="141"/>
                    <a:pt x="341" y="141"/>
                    <a:pt x="341" y="141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322" y="150"/>
                    <a:pt x="323" y="152"/>
                    <a:pt x="325" y="153"/>
                  </a:cubicBezTo>
                  <a:cubicBezTo>
                    <a:pt x="327" y="154"/>
                    <a:pt x="329" y="154"/>
                    <a:pt x="332" y="153"/>
                  </a:cubicBezTo>
                  <a:cubicBezTo>
                    <a:pt x="344" y="149"/>
                    <a:pt x="344" y="149"/>
                    <a:pt x="344" y="14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33" y="159"/>
                    <a:pt x="333" y="159"/>
                    <a:pt x="333" y="159"/>
                  </a:cubicBezTo>
                  <a:cubicBezTo>
                    <a:pt x="331" y="160"/>
                    <a:pt x="328" y="160"/>
                    <a:pt x="327" y="160"/>
                  </a:cubicBezTo>
                  <a:cubicBezTo>
                    <a:pt x="325" y="160"/>
                    <a:pt x="323" y="160"/>
                    <a:pt x="322" y="159"/>
                  </a:cubicBezTo>
                  <a:cubicBezTo>
                    <a:pt x="320" y="158"/>
                    <a:pt x="318" y="157"/>
                    <a:pt x="316" y="155"/>
                  </a:cubicBezTo>
                  <a:cubicBezTo>
                    <a:pt x="315" y="153"/>
                    <a:pt x="314" y="150"/>
                    <a:pt x="313" y="147"/>
                  </a:cubicBezTo>
                  <a:cubicBezTo>
                    <a:pt x="311" y="141"/>
                    <a:pt x="311" y="136"/>
                    <a:pt x="313" y="132"/>
                  </a:cubicBezTo>
                  <a:cubicBezTo>
                    <a:pt x="315" y="129"/>
                    <a:pt x="318" y="126"/>
                    <a:pt x="324" y="124"/>
                  </a:cubicBezTo>
                  <a:cubicBezTo>
                    <a:pt x="335" y="121"/>
                    <a:pt x="335" y="121"/>
                    <a:pt x="335" y="121"/>
                  </a:cubicBezTo>
                  <a:cubicBezTo>
                    <a:pt x="337" y="127"/>
                    <a:pt x="337" y="127"/>
                    <a:pt x="337" y="127"/>
                  </a:cubicBezTo>
                  <a:cubicBezTo>
                    <a:pt x="325" y="130"/>
                    <a:pt x="325" y="130"/>
                    <a:pt x="325" y="130"/>
                  </a:cubicBezTo>
                  <a:close/>
                  <a:moveTo>
                    <a:pt x="364" y="122"/>
                  </a:moveTo>
                  <a:cubicBezTo>
                    <a:pt x="364" y="122"/>
                    <a:pt x="364" y="122"/>
                    <a:pt x="364" y="122"/>
                  </a:cubicBezTo>
                  <a:cubicBezTo>
                    <a:pt x="367" y="122"/>
                    <a:pt x="368" y="122"/>
                    <a:pt x="369" y="123"/>
                  </a:cubicBezTo>
                  <a:cubicBezTo>
                    <a:pt x="370" y="123"/>
                    <a:pt x="371" y="124"/>
                    <a:pt x="371" y="126"/>
                  </a:cubicBezTo>
                  <a:cubicBezTo>
                    <a:pt x="371" y="128"/>
                    <a:pt x="371" y="129"/>
                    <a:pt x="370" y="130"/>
                  </a:cubicBezTo>
                  <a:cubicBezTo>
                    <a:pt x="369" y="130"/>
                    <a:pt x="368" y="131"/>
                    <a:pt x="365" y="131"/>
                  </a:cubicBezTo>
                  <a:cubicBezTo>
                    <a:pt x="356" y="133"/>
                    <a:pt x="356" y="133"/>
                    <a:pt x="356" y="133"/>
                  </a:cubicBezTo>
                  <a:cubicBezTo>
                    <a:pt x="355" y="124"/>
                    <a:pt x="355" y="124"/>
                    <a:pt x="355" y="124"/>
                  </a:cubicBezTo>
                  <a:cubicBezTo>
                    <a:pt x="364" y="122"/>
                    <a:pt x="364" y="122"/>
                    <a:pt x="364" y="122"/>
                  </a:cubicBezTo>
                  <a:close/>
                  <a:moveTo>
                    <a:pt x="347" y="118"/>
                  </a:moveTo>
                  <a:cubicBezTo>
                    <a:pt x="365" y="116"/>
                    <a:pt x="365" y="116"/>
                    <a:pt x="365" y="116"/>
                  </a:cubicBezTo>
                  <a:cubicBezTo>
                    <a:pt x="369" y="115"/>
                    <a:pt x="372" y="116"/>
                    <a:pt x="375" y="117"/>
                  </a:cubicBezTo>
                  <a:cubicBezTo>
                    <a:pt x="377" y="119"/>
                    <a:pt x="378" y="121"/>
                    <a:pt x="379" y="125"/>
                  </a:cubicBezTo>
                  <a:cubicBezTo>
                    <a:pt x="379" y="128"/>
                    <a:pt x="379" y="130"/>
                    <a:pt x="378" y="132"/>
                  </a:cubicBezTo>
                  <a:cubicBezTo>
                    <a:pt x="377" y="134"/>
                    <a:pt x="375" y="135"/>
                    <a:pt x="373" y="136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76" y="151"/>
                    <a:pt x="376" y="151"/>
                    <a:pt x="376" y="151"/>
                  </a:cubicBezTo>
                  <a:cubicBezTo>
                    <a:pt x="366" y="138"/>
                    <a:pt x="366" y="138"/>
                    <a:pt x="366" y="138"/>
                  </a:cubicBezTo>
                  <a:cubicBezTo>
                    <a:pt x="357" y="139"/>
                    <a:pt x="357" y="139"/>
                    <a:pt x="357" y="139"/>
                  </a:cubicBezTo>
                  <a:cubicBezTo>
                    <a:pt x="359" y="153"/>
                    <a:pt x="359" y="153"/>
                    <a:pt x="359" y="153"/>
                  </a:cubicBezTo>
                  <a:cubicBezTo>
                    <a:pt x="352" y="154"/>
                    <a:pt x="352" y="154"/>
                    <a:pt x="352" y="154"/>
                  </a:cubicBezTo>
                  <a:cubicBezTo>
                    <a:pt x="347" y="118"/>
                    <a:pt x="347" y="118"/>
                    <a:pt x="347" y="118"/>
                  </a:cubicBezTo>
                  <a:close/>
                  <a:moveTo>
                    <a:pt x="419" y="121"/>
                  </a:moveTo>
                  <a:cubicBezTo>
                    <a:pt x="401" y="121"/>
                    <a:pt x="401" y="121"/>
                    <a:pt x="401" y="121"/>
                  </a:cubicBezTo>
                  <a:cubicBezTo>
                    <a:pt x="399" y="121"/>
                    <a:pt x="397" y="121"/>
                    <a:pt x="396" y="122"/>
                  </a:cubicBezTo>
                  <a:cubicBezTo>
                    <a:pt x="395" y="123"/>
                    <a:pt x="395" y="124"/>
                    <a:pt x="395" y="125"/>
                  </a:cubicBezTo>
                  <a:cubicBezTo>
                    <a:pt x="395" y="127"/>
                    <a:pt x="395" y="128"/>
                    <a:pt x="396" y="128"/>
                  </a:cubicBezTo>
                  <a:cubicBezTo>
                    <a:pt x="397" y="129"/>
                    <a:pt x="398" y="129"/>
                    <a:pt x="399" y="129"/>
                  </a:cubicBezTo>
                  <a:cubicBezTo>
                    <a:pt x="409" y="129"/>
                    <a:pt x="409" y="129"/>
                    <a:pt x="409" y="129"/>
                  </a:cubicBezTo>
                  <a:cubicBezTo>
                    <a:pt x="413" y="130"/>
                    <a:pt x="416" y="130"/>
                    <a:pt x="418" y="132"/>
                  </a:cubicBezTo>
                  <a:cubicBezTo>
                    <a:pt x="420" y="134"/>
                    <a:pt x="420" y="136"/>
                    <a:pt x="420" y="140"/>
                  </a:cubicBezTo>
                  <a:cubicBezTo>
                    <a:pt x="420" y="144"/>
                    <a:pt x="419" y="146"/>
                    <a:pt x="417" y="148"/>
                  </a:cubicBezTo>
                  <a:cubicBezTo>
                    <a:pt x="415" y="150"/>
                    <a:pt x="412" y="150"/>
                    <a:pt x="408" y="150"/>
                  </a:cubicBezTo>
                  <a:cubicBezTo>
                    <a:pt x="388" y="150"/>
                    <a:pt x="388" y="150"/>
                    <a:pt x="388" y="150"/>
                  </a:cubicBezTo>
                  <a:cubicBezTo>
                    <a:pt x="388" y="144"/>
                    <a:pt x="388" y="144"/>
                    <a:pt x="388" y="144"/>
                  </a:cubicBezTo>
                  <a:cubicBezTo>
                    <a:pt x="407" y="144"/>
                    <a:pt x="407" y="144"/>
                    <a:pt x="407" y="144"/>
                  </a:cubicBezTo>
                  <a:cubicBezTo>
                    <a:pt x="409" y="144"/>
                    <a:pt x="410" y="144"/>
                    <a:pt x="411" y="143"/>
                  </a:cubicBezTo>
                  <a:cubicBezTo>
                    <a:pt x="412" y="142"/>
                    <a:pt x="413" y="141"/>
                    <a:pt x="413" y="140"/>
                  </a:cubicBezTo>
                  <a:cubicBezTo>
                    <a:pt x="413" y="139"/>
                    <a:pt x="412" y="137"/>
                    <a:pt x="411" y="137"/>
                  </a:cubicBezTo>
                  <a:cubicBezTo>
                    <a:pt x="411" y="136"/>
                    <a:pt x="409" y="136"/>
                    <a:pt x="407" y="136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5" y="136"/>
                    <a:pt x="392" y="135"/>
                    <a:pt x="390" y="133"/>
                  </a:cubicBezTo>
                  <a:cubicBezTo>
                    <a:pt x="388" y="131"/>
                    <a:pt x="387" y="129"/>
                    <a:pt x="387" y="125"/>
                  </a:cubicBezTo>
                  <a:cubicBezTo>
                    <a:pt x="387" y="121"/>
                    <a:pt x="388" y="119"/>
                    <a:pt x="390" y="117"/>
                  </a:cubicBezTo>
                  <a:cubicBezTo>
                    <a:pt x="392" y="115"/>
                    <a:pt x="395" y="114"/>
                    <a:pt x="400" y="114"/>
                  </a:cubicBezTo>
                  <a:cubicBezTo>
                    <a:pt x="419" y="115"/>
                    <a:pt x="419" y="115"/>
                    <a:pt x="419" y="115"/>
                  </a:cubicBezTo>
                  <a:cubicBezTo>
                    <a:pt x="419" y="121"/>
                    <a:pt x="419" y="121"/>
                    <a:pt x="419" y="121"/>
                  </a:cubicBezTo>
                  <a:close/>
                  <a:moveTo>
                    <a:pt x="433" y="152"/>
                  </a:moveTo>
                  <a:cubicBezTo>
                    <a:pt x="426" y="151"/>
                    <a:pt x="426" y="151"/>
                    <a:pt x="426" y="151"/>
                  </a:cubicBezTo>
                  <a:cubicBezTo>
                    <a:pt x="431" y="115"/>
                    <a:pt x="431" y="115"/>
                    <a:pt x="431" y="115"/>
                  </a:cubicBezTo>
                  <a:cubicBezTo>
                    <a:pt x="438" y="117"/>
                    <a:pt x="438" y="117"/>
                    <a:pt x="438" y="117"/>
                  </a:cubicBezTo>
                  <a:cubicBezTo>
                    <a:pt x="433" y="152"/>
                    <a:pt x="433" y="152"/>
                    <a:pt x="433" y="152"/>
                  </a:cubicBezTo>
                  <a:close/>
                  <a:moveTo>
                    <a:pt x="453" y="126"/>
                  </a:moveTo>
                  <a:cubicBezTo>
                    <a:pt x="442" y="124"/>
                    <a:pt x="442" y="124"/>
                    <a:pt x="442" y="124"/>
                  </a:cubicBezTo>
                  <a:cubicBezTo>
                    <a:pt x="443" y="118"/>
                    <a:pt x="443" y="118"/>
                    <a:pt x="443" y="118"/>
                  </a:cubicBezTo>
                  <a:cubicBezTo>
                    <a:pt x="473" y="123"/>
                    <a:pt x="473" y="123"/>
                    <a:pt x="473" y="123"/>
                  </a:cubicBezTo>
                  <a:cubicBezTo>
                    <a:pt x="472" y="129"/>
                    <a:pt x="472" y="129"/>
                    <a:pt x="472" y="129"/>
                  </a:cubicBezTo>
                  <a:cubicBezTo>
                    <a:pt x="461" y="127"/>
                    <a:pt x="461" y="127"/>
                    <a:pt x="461" y="127"/>
                  </a:cubicBezTo>
                  <a:cubicBezTo>
                    <a:pt x="456" y="156"/>
                    <a:pt x="456" y="156"/>
                    <a:pt x="456" y="156"/>
                  </a:cubicBezTo>
                  <a:cubicBezTo>
                    <a:pt x="448" y="155"/>
                    <a:pt x="448" y="155"/>
                    <a:pt x="448" y="155"/>
                  </a:cubicBezTo>
                  <a:cubicBezTo>
                    <a:pt x="453" y="126"/>
                    <a:pt x="453" y="126"/>
                    <a:pt x="453" y="126"/>
                  </a:cubicBezTo>
                  <a:close/>
                  <a:moveTo>
                    <a:pt x="477" y="124"/>
                  </a:moveTo>
                  <a:cubicBezTo>
                    <a:pt x="485" y="127"/>
                    <a:pt x="485" y="127"/>
                    <a:pt x="485" y="127"/>
                  </a:cubicBezTo>
                  <a:cubicBezTo>
                    <a:pt x="488" y="142"/>
                    <a:pt x="488" y="142"/>
                    <a:pt x="488" y="142"/>
                  </a:cubicBezTo>
                  <a:cubicBezTo>
                    <a:pt x="501" y="132"/>
                    <a:pt x="501" y="132"/>
                    <a:pt x="501" y="132"/>
                  </a:cubicBezTo>
                  <a:cubicBezTo>
                    <a:pt x="509" y="135"/>
                    <a:pt x="509" y="135"/>
                    <a:pt x="509" y="135"/>
                  </a:cubicBezTo>
                  <a:cubicBezTo>
                    <a:pt x="490" y="150"/>
                    <a:pt x="490" y="150"/>
                    <a:pt x="490" y="150"/>
                  </a:cubicBezTo>
                  <a:cubicBezTo>
                    <a:pt x="485" y="165"/>
                    <a:pt x="485" y="165"/>
                    <a:pt x="485" y="165"/>
                  </a:cubicBezTo>
                  <a:cubicBezTo>
                    <a:pt x="478" y="162"/>
                    <a:pt x="478" y="162"/>
                    <a:pt x="478" y="162"/>
                  </a:cubicBezTo>
                  <a:cubicBezTo>
                    <a:pt x="483" y="147"/>
                    <a:pt x="483" y="147"/>
                    <a:pt x="483" y="147"/>
                  </a:cubicBezTo>
                  <a:cubicBezTo>
                    <a:pt x="477" y="124"/>
                    <a:pt x="477" y="124"/>
                    <a:pt x="477" y="124"/>
                  </a:cubicBezTo>
                  <a:close/>
                  <a:moveTo>
                    <a:pt x="541" y="171"/>
                  </a:moveTo>
                  <a:cubicBezTo>
                    <a:pt x="545" y="166"/>
                    <a:pt x="548" y="163"/>
                    <a:pt x="552" y="162"/>
                  </a:cubicBezTo>
                  <a:cubicBezTo>
                    <a:pt x="557" y="161"/>
                    <a:pt x="561" y="162"/>
                    <a:pt x="566" y="166"/>
                  </a:cubicBezTo>
                  <a:cubicBezTo>
                    <a:pt x="571" y="169"/>
                    <a:pt x="574" y="173"/>
                    <a:pt x="574" y="177"/>
                  </a:cubicBezTo>
                  <a:cubicBezTo>
                    <a:pt x="575" y="181"/>
                    <a:pt x="574" y="186"/>
                    <a:pt x="570" y="191"/>
                  </a:cubicBezTo>
                  <a:cubicBezTo>
                    <a:pt x="567" y="196"/>
                    <a:pt x="563" y="200"/>
                    <a:pt x="559" y="200"/>
                  </a:cubicBezTo>
                  <a:cubicBezTo>
                    <a:pt x="555" y="201"/>
                    <a:pt x="550" y="200"/>
                    <a:pt x="545" y="197"/>
                  </a:cubicBezTo>
                  <a:cubicBezTo>
                    <a:pt x="540" y="193"/>
                    <a:pt x="538" y="190"/>
                    <a:pt x="537" y="185"/>
                  </a:cubicBezTo>
                  <a:cubicBezTo>
                    <a:pt x="536" y="181"/>
                    <a:pt x="538" y="176"/>
                    <a:pt x="541" y="171"/>
                  </a:cubicBezTo>
                  <a:close/>
                  <a:moveTo>
                    <a:pt x="563" y="171"/>
                  </a:moveTo>
                  <a:cubicBezTo>
                    <a:pt x="565" y="173"/>
                    <a:pt x="567" y="175"/>
                    <a:pt x="567" y="178"/>
                  </a:cubicBezTo>
                  <a:cubicBezTo>
                    <a:pt x="567" y="180"/>
                    <a:pt x="566" y="183"/>
                    <a:pt x="564" y="187"/>
                  </a:cubicBezTo>
                  <a:cubicBezTo>
                    <a:pt x="561" y="190"/>
                    <a:pt x="559" y="192"/>
                    <a:pt x="556" y="193"/>
                  </a:cubicBezTo>
                  <a:cubicBezTo>
                    <a:pt x="554" y="194"/>
                    <a:pt x="551" y="193"/>
                    <a:pt x="549" y="192"/>
                  </a:cubicBezTo>
                  <a:cubicBezTo>
                    <a:pt x="546" y="190"/>
                    <a:pt x="545" y="188"/>
                    <a:pt x="545" y="185"/>
                  </a:cubicBezTo>
                  <a:cubicBezTo>
                    <a:pt x="544" y="182"/>
                    <a:pt x="546" y="179"/>
                    <a:pt x="548" y="176"/>
                  </a:cubicBezTo>
                  <a:cubicBezTo>
                    <a:pt x="550" y="172"/>
                    <a:pt x="553" y="170"/>
                    <a:pt x="555" y="169"/>
                  </a:cubicBezTo>
                  <a:cubicBezTo>
                    <a:pt x="557" y="169"/>
                    <a:pt x="560" y="169"/>
                    <a:pt x="563" y="171"/>
                  </a:cubicBezTo>
                  <a:close/>
                  <a:moveTo>
                    <a:pt x="574" y="198"/>
                  </a:moveTo>
                  <a:cubicBezTo>
                    <a:pt x="577" y="194"/>
                    <a:pt x="580" y="192"/>
                    <a:pt x="581" y="191"/>
                  </a:cubicBezTo>
                  <a:cubicBezTo>
                    <a:pt x="583" y="189"/>
                    <a:pt x="585" y="189"/>
                    <a:pt x="587" y="188"/>
                  </a:cubicBezTo>
                  <a:cubicBezTo>
                    <a:pt x="589" y="188"/>
                    <a:pt x="591" y="189"/>
                    <a:pt x="593" y="190"/>
                  </a:cubicBezTo>
                  <a:cubicBezTo>
                    <a:pt x="595" y="191"/>
                    <a:pt x="597" y="192"/>
                    <a:pt x="600" y="195"/>
                  </a:cubicBezTo>
                  <a:cubicBezTo>
                    <a:pt x="608" y="202"/>
                    <a:pt x="608" y="202"/>
                    <a:pt x="608" y="202"/>
                  </a:cubicBezTo>
                  <a:cubicBezTo>
                    <a:pt x="604" y="207"/>
                    <a:pt x="604" y="207"/>
                    <a:pt x="604" y="207"/>
                  </a:cubicBezTo>
                  <a:cubicBezTo>
                    <a:pt x="595" y="199"/>
                    <a:pt x="595" y="199"/>
                    <a:pt x="595" y="199"/>
                  </a:cubicBezTo>
                  <a:cubicBezTo>
                    <a:pt x="593" y="197"/>
                    <a:pt x="591" y="196"/>
                    <a:pt x="589" y="196"/>
                  </a:cubicBezTo>
                  <a:cubicBezTo>
                    <a:pt x="587" y="196"/>
                    <a:pt x="585" y="197"/>
                    <a:pt x="583" y="199"/>
                  </a:cubicBezTo>
                  <a:cubicBezTo>
                    <a:pt x="599" y="213"/>
                    <a:pt x="599" y="213"/>
                    <a:pt x="599" y="213"/>
                  </a:cubicBezTo>
                  <a:cubicBezTo>
                    <a:pt x="595" y="218"/>
                    <a:pt x="595" y="218"/>
                    <a:pt x="595" y="218"/>
                  </a:cubicBezTo>
                  <a:cubicBezTo>
                    <a:pt x="579" y="204"/>
                    <a:pt x="579" y="204"/>
                    <a:pt x="579" y="204"/>
                  </a:cubicBezTo>
                  <a:cubicBezTo>
                    <a:pt x="569" y="215"/>
                    <a:pt x="569" y="215"/>
                    <a:pt x="569" y="215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74" y="198"/>
                    <a:pt x="574" y="198"/>
                    <a:pt x="574" y="198"/>
                  </a:cubicBezTo>
                  <a:close/>
                  <a:moveTo>
                    <a:pt x="641" y="254"/>
                  </a:moveTo>
                  <a:cubicBezTo>
                    <a:pt x="635" y="244"/>
                    <a:pt x="635" y="244"/>
                    <a:pt x="635" y="244"/>
                  </a:cubicBezTo>
                  <a:cubicBezTo>
                    <a:pt x="640" y="241"/>
                    <a:pt x="640" y="241"/>
                    <a:pt x="640" y="241"/>
                  </a:cubicBezTo>
                  <a:cubicBezTo>
                    <a:pt x="656" y="267"/>
                    <a:pt x="656" y="267"/>
                    <a:pt x="656" y="267"/>
                  </a:cubicBezTo>
                  <a:cubicBezTo>
                    <a:pt x="651" y="270"/>
                    <a:pt x="651" y="270"/>
                    <a:pt x="651" y="270"/>
                  </a:cubicBezTo>
                  <a:cubicBezTo>
                    <a:pt x="645" y="260"/>
                    <a:pt x="645" y="260"/>
                    <a:pt x="645" y="260"/>
                  </a:cubicBezTo>
                  <a:cubicBezTo>
                    <a:pt x="620" y="276"/>
                    <a:pt x="620" y="276"/>
                    <a:pt x="620" y="276"/>
                  </a:cubicBezTo>
                  <a:cubicBezTo>
                    <a:pt x="616" y="269"/>
                    <a:pt x="616" y="269"/>
                    <a:pt x="616" y="269"/>
                  </a:cubicBezTo>
                  <a:cubicBezTo>
                    <a:pt x="641" y="254"/>
                    <a:pt x="641" y="254"/>
                    <a:pt x="641" y="254"/>
                  </a:cubicBezTo>
                  <a:close/>
                  <a:moveTo>
                    <a:pt x="662" y="290"/>
                  </a:moveTo>
                  <a:cubicBezTo>
                    <a:pt x="660" y="287"/>
                    <a:pt x="659" y="286"/>
                    <a:pt x="657" y="285"/>
                  </a:cubicBezTo>
                  <a:cubicBezTo>
                    <a:pt x="655" y="284"/>
                    <a:pt x="653" y="285"/>
                    <a:pt x="651" y="286"/>
                  </a:cubicBezTo>
                  <a:cubicBezTo>
                    <a:pt x="659" y="305"/>
                    <a:pt x="659" y="305"/>
                    <a:pt x="659" y="305"/>
                  </a:cubicBezTo>
                  <a:cubicBezTo>
                    <a:pt x="654" y="307"/>
                    <a:pt x="654" y="307"/>
                    <a:pt x="654" y="307"/>
                  </a:cubicBezTo>
                  <a:cubicBezTo>
                    <a:pt x="645" y="288"/>
                    <a:pt x="645" y="288"/>
                    <a:pt x="645" y="288"/>
                  </a:cubicBezTo>
                  <a:cubicBezTo>
                    <a:pt x="642" y="290"/>
                    <a:pt x="641" y="291"/>
                    <a:pt x="640" y="293"/>
                  </a:cubicBezTo>
                  <a:cubicBezTo>
                    <a:pt x="639" y="295"/>
                    <a:pt x="639" y="297"/>
                    <a:pt x="641" y="300"/>
                  </a:cubicBezTo>
                  <a:cubicBezTo>
                    <a:pt x="646" y="311"/>
                    <a:pt x="646" y="311"/>
                    <a:pt x="646" y="311"/>
                  </a:cubicBezTo>
                  <a:cubicBezTo>
                    <a:pt x="640" y="313"/>
                    <a:pt x="640" y="313"/>
                    <a:pt x="640" y="313"/>
                  </a:cubicBezTo>
                  <a:cubicBezTo>
                    <a:pt x="635" y="302"/>
                    <a:pt x="635" y="302"/>
                    <a:pt x="635" y="302"/>
                  </a:cubicBezTo>
                  <a:cubicBezTo>
                    <a:pt x="634" y="299"/>
                    <a:pt x="633" y="297"/>
                    <a:pt x="633" y="296"/>
                  </a:cubicBezTo>
                  <a:cubicBezTo>
                    <a:pt x="633" y="294"/>
                    <a:pt x="633" y="292"/>
                    <a:pt x="633" y="291"/>
                  </a:cubicBezTo>
                  <a:cubicBezTo>
                    <a:pt x="634" y="288"/>
                    <a:pt x="635" y="286"/>
                    <a:pt x="637" y="284"/>
                  </a:cubicBezTo>
                  <a:cubicBezTo>
                    <a:pt x="638" y="283"/>
                    <a:pt x="641" y="281"/>
                    <a:pt x="644" y="280"/>
                  </a:cubicBezTo>
                  <a:cubicBezTo>
                    <a:pt x="649" y="277"/>
                    <a:pt x="654" y="276"/>
                    <a:pt x="658" y="277"/>
                  </a:cubicBezTo>
                  <a:cubicBezTo>
                    <a:pt x="662" y="279"/>
                    <a:pt x="665" y="282"/>
                    <a:pt x="667" y="287"/>
                  </a:cubicBezTo>
                  <a:cubicBezTo>
                    <a:pt x="672" y="298"/>
                    <a:pt x="672" y="298"/>
                    <a:pt x="672" y="298"/>
                  </a:cubicBezTo>
                  <a:cubicBezTo>
                    <a:pt x="667" y="301"/>
                    <a:pt x="667" y="301"/>
                    <a:pt x="667" y="301"/>
                  </a:cubicBezTo>
                  <a:cubicBezTo>
                    <a:pt x="662" y="290"/>
                    <a:pt x="662" y="290"/>
                    <a:pt x="662" y="290"/>
                  </a:cubicBezTo>
                  <a:close/>
                  <a:moveTo>
                    <a:pt x="675" y="325"/>
                  </a:moveTo>
                  <a:cubicBezTo>
                    <a:pt x="674" y="322"/>
                    <a:pt x="672" y="320"/>
                    <a:pt x="670" y="319"/>
                  </a:cubicBezTo>
                  <a:cubicBezTo>
                    <a:pt x="668" y="319"/>
                    <a:pt x="665" y="319"/>
                    <a:pt x="660" y="320"/>
                  </a:cubicBezTo>
                  <a:cubicBezTo>
                    <a:pt x="657" y="322"/>
                    <a:pt x="654" y="323"/>
                    <a:pt x="653" y="325"/>
                  </a:cubicBezTo>
                  <a:cubicBezTo>
                    <a:pt x="652" y="327"/>
                    <a:pt x="652" y="329"/>
                    <a:pt x="653" y="332"/>
                  </a:cubicBezTo>
                  <a:cubicBezTo>
                    <a:pt x="657" y="344"/>
                    <a:pt x="657" y="344"/>
                    <a:pt x="657" y="344"/>
                  </a:cubicBezTo>
                  <a:cubicBezTo>
                    <a:pt x="651" y="346"/>
                    <a:pt x="651" y="346"/>
                    <a:pt x="651" y="346"/>
                  </a:cubicBezTo>
                  <a:cubicBezTo>
                    <a:pt x="647" y="334"/>
                    <a:pt x="647" y="334"/>
                    <a:pt x="647" y="334"/>
                  </a:cubicBezTo>
                  <a:cubicBezTo>
                    <a:pt x="646" y="331"/>
                    <a:pt x="646" y="329"/>
                    <a:pt x="646" y="327"/>
                  </a:cubicBezTo>
                  <a:cubicBezTo>
                    <a:pt x="646" y="326"/>
                    <a:pt x="646" y="324"/>
                    <a:pt x="647" y="322"/>
                  </a:cubicBezTo>
                  <a:cubicBezTo>
                    <a:pt x="647" y="320"/>
                    <a:pt x="649" y="318"/>
                    <a:pt x="651" y="316"/>
                  </a:cubicBezTo>
                  <a:cubicBezTo>
                    <a:pt x="653" y="315"/>
                    <a:pt x="655" y="314"/>
                    <a:pt x="658" y="313"/>
                  </a:cubicBezTo>
                  <a:cubicBezTo>
                    <a:pt x="664" y="311"/>
                    <a:pt x="669" y="310"/>
                    <a:pt x="673" y="312"/>
                  </a:cubicBezTo>
                  <a:cubicBezTo>
                    <a:pt x="676" y="314"/>
                    <a:pt x="679" y="317"/>
                    <a:pt x="681" y="323"/>
                  </a:cubicBezTo>
                  <a:cubicBezTo>
                    <a:pt x="684" y="335"/>
                    <a:pt x="684" y="335"/>
                    <a:pt x="684" y="335"/>
                  </a:cubicBezTo>
                  <a:cubicBezTo>
                    <a:pt x="679" y="337"/>
                    <a:pt x="679" y="337"/>
                    <a:pt x="679" y="337"/>
                  </a:cubicBezTo>
                  <a:cubicBezTo>
                    <a:pt x="675" y="325"/>
                    <a:pt x="675" y="325"/>
                    <a:pt x="675" y="325"/>
                  </a:cubicBezTo>
                  <a:close/>
                  <a:moveTo>
                    <a:pt x="689" y="352"/>
                  </a:moveTo>
                  <a:cubicBezTo>
                    <a:pt x="675" y="354"/>
                    <a:pt x="675" y="354"/>
                    <a:pt x="675" y="354"/>
                  </a:cubicBezTo>
                  <a:cubicBezTo>
                    <a:pt x="677" y="368"/>
                    <a:pt x="677" y="368"/>
                    <a:pt x="677" y="368"/>
                  </a:cubicBezTo>
                  <a:cubicBezTo>
                    <a:pt x="691" y="365"/>
                    <a:pt x="691" y="365"/>
                    <a:pt x="691" y="365"/>
                  </a:cubicBezTo>
                  <a:cubicBezTo>
                    <a:pt x="692" y="373"/>
                    <a:pt x="692" y="373"/>
                    <a:pt x="692" y="373"/>
                  </a:cubicBezTo>
                  <a:cubicBezTo>
                    <a:pt x="658" y="379"/>
                    <a:pt x="658" y="379"/>
                    <a:pt x="658" y="379"/>
                  </a:cubicBezTo>
                  <a:cubicBezTo>
                    <a:pt x="656" y="372"/>
                    <a:pt x="656" y="372"/>
                    <a:pt x="656" y="372"/>
                  </a:cubicBezTo>
                  <a:cubicBezTo>
                    <a:pt x="671" y="369"/>
                    <a:pt x="671" y="369"/>
                    <a:pt x="671" y="369"/>
                  </a:cubicBezTo>
                  <a:cubicBezTo>
                    <a:pt x="669" y="355"/>
                    <a:pt x="669" y="355"/>
                    <a:pt x="669" y="355"/>
                  </a:cubicBezTo>
                  <a:cubicBezTo>
                    <a:pt x="654" y="358"/>
                    <a:pt x="654" y="358"/>
                    <a:pt x="654" y="358"/>
                  </a:cubicBezTo>
                  <a:cubicBezTo>
                    <a:pt x="653" y="351"/>
                    <a:pt x="653" y="351"/>
                    <a:pt x="653" y="351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9" y="352"/>
                    <a:pt x="689" y="352"/>
                    <a:pt x="689" y="352"/>
                  </a:cubicBezTo>
                  <a:close/>
                  <a:moveTo>
                    <a:pt x="695" y="386"/>
                  </a:moveTo>
                  <a:cubicBezTo>
                    <a:pt x="695" y="396"/>
                    <a:pt x="695" y="396"/>
                    <a:pt x="695" y="396"/>
                  </a:cubicBezTo>
                  <a:cubicBezTo>
                    <a:pt x="670" y="411"/>
                    <a:pt x="670" y="411"/>
                    <a:pt x="670" y="411"/>
                  </a:cubicBezTo>
                  <a:cubicBezTo>
                    <a:pt x="695" y="410"/>
                    <a:pt x="695" y="410"/>
                    <a:pt x="695" y="410"/>
                  </a:cubicBezTo>
                  <a:cubicBezTo>
                    <a:pt x="695" y="418"/>
                    <a:pt x="695" y="418"/>
                    <a:pt x="695" y="418"/>
                  </a:cubicBezTo>
                  <a:cubicBezTo>
                    <a:pt x="660" y="419"/>
                    <a:pt x="660" y="419"/>
                    <a:pt x="660" y="419"/>
                  </a:cubicBezTo>
                  <a:cubicBezTo>
                    <a:pt x="660" y="410"/>
                    <a:pt x="660" y="410"/>
                    <a:pt x="660" y="410"/>
                  </a:cubicBezTo>
                  <a:cubicBezTo>
                    <a:pt x="686" y="394"/>
                    <a:pt x="686" y="394"/>
                    <a:pt x="686" y="394"/>
                  </a:cubicBezTo>
                  <a:cubicBezTo>
                    <a:pt x="660" y="395"/>
                    <a:pt x="660" y="395"/>
                    <a:pt x="660" y="395"/>
                  </a:cubicBezTo>
                  <a:cubicBezTo>
                    <a:pt x="659" y="387"/>
                    <a:pt x="659" y="387"/>
                    <a:pt x="659" y="387"/>
                  </a:cubicBezTo>
                  <a:cubicBezTo>
                    <a:pt x="695" y="386"/>
                    <a:pt x="695" y="386"/>
                    <a:pt x="695" y="386"/>
                  </a:cubicBezTo>
                  <a:close/>
                  <a:moveTo>
                    <a:pt x="677" y="425"/>
                  </a:moveTo>
                  <a:cubicBezTo>
                    <a:pt x="683" y="426"/>
                    <a:pt x="688" y="428"/>
                    <a:pt x="690" y="431"/>
                  </a:cubicBezTo>
                  <a:cubicBezTo>
                    <a:pt x="693" y="434"/>
                    <a:pt x="694" y="439"/>
                    <a:pt x="693" y="445"/>
                  </a:cubicBezTo>
                  <a:cubicBezTo>
                    <a:pt x="692" y="451"/>
                    <a:pt x="690" y="455"/>
                    <a:pt x="687" y="458"/>
                  </a:cubicBezTo>
                  <a:cubicBezTo>
                    <a:pt x="684" y="460"/>
                    <a:pt x="679" y="461"/>
                    <a:pt x="673" y="460"/>
                  </a:cubicBezTo>
                  <a:cubicBezTo>
                    <a:pt x="667" y="459"/>
                    <a:pt x="662" y="457"/>
                    <a:pt x="660" y="454"/>
                  </a:cubicBezTo>
                  <a:cubicBezTo>
                    <a:pt x="657" y="451"/>
                    <a:pt x="656" y="446"/>
                    <a:pt x="657" y="440"/>
                  </a:cubicBezTo>
                  <a:cubicBezTo>
                    <a:pt x="657" y="434"/>
                    <a:pt x="659" y="430"/>
                    <a:pt x="663" y="427"/>
                  </a:cubicBezTo>
                  <a:cubicBezTo>
                    <a:pt x="666" y="425"/>
                    <a:pt x="671" y="424"/>
                    <a:pt x="677" y="425"/>
                  </a:cubicBezTo>
                  <a:close/>
                  <a:moveTo>
                    <a:pt x="687" y="444"/>
                  </a:moveTo>
                  <a:cubicBezTo>
                    <a:pt x="687" y="447"/>
                    <a:pt x="685" y="450"/>
                    <a:pt x="683" y="451"/>
                  </a:cubicBezTo>
                  <a:cubicBezTo>
                    <a:pt x="681" y="452"/>
                    <a:pt x="678" y="453"/>
                    <a:pt x="674" y="452"/>
                  </a:cubicBezTo>
                  <a:cubicBezTo>
                    <a:pt x="670" y="452"/>
                    <a:pt x="667" y="450"/>
                    <a:pt x="665" y="449"/>
                  </a:cubicBezTo>
                  <a:cubicBezTo>
                    <a:pt x="663" y="447"/>
                    <a:pt x="662" y="444"/>
                    <a:pt x="663" y="441"/>
                  </a:cubicBezTo>
                  <a:cubicBezTo>
                    <a:pt x="663" y="438"/>
                    <a:pt x="664" y="435"/>
                    <a:pt x="667" y="434"/>
                  </a:cubicBezTo>
                  <a:cubicBezTo>
                    <a:pt x="669" y="433"/>
                    <a:pt x="672" y="432"/>
                    <a:pt x="676" y="433"/>
                  </a:cubicBezTo>
                  <a:cubicBezTo>
                    <a:pt x="680" y="433"/>
                    <a:pt x="683" y="435"/>
                    <a:pt x="685" y="436"/>
                  </a:cubicBezTo>
                  <a:cubicBezTo>
                    <a:pt x="687" y="438"/>
                    <a:pt x="687" y="441"/>
                    <a:pt x="687" y="444"/>
                  </a:cubicBezTo>
                  <a:close/>
                  <a:moveTo>
                    <a:pt x="651" y="478"/>
                  </a:moveTo>
                  <a:cubicBezTo>
                    <a:pt x="652" y="474"/>
                    <a:pt x="653" y="472"/>
                    <a:pt x="654" y="471"/>
                  </a:cubicBezTo>
                  <a:cubicBezTo>
                    <a:pt x="655" y="469"/>
                    <a:pt x="656" y="468"/>
                    <a:pt x="658" y="467"/>
                  </a:cubicBezTo>
                  <a:cubicBezTo>
                    <a:pt x="659" y="466"/>
                    <a:pt x="661" y="466"/>
                    <a:pt x="662" y="465"/>
                  </a:cubicBezTo>
                  <a:cubicBezTo>
                    <a:pt x="664" y="465"/>
                    <a:pt x="666" y="466"/>
                    <a:pt x="669" y="466"/>
                  </a:cubicBezTo>
                  <a:cubicBezTo>
                    <a:pt x="689" y="471"/>
                    <a:pt x="689" y="471"/>
                    <a:pt x="689" y="471"/>
                  </a:cubicBezTo>
                  <a:cubicBezTo>
                    <a:pt x="687" y="478"/>
                    <a:pt x="687" y="478"/>
                    <a:pt x="687" y="478"/>
                  </a:cubicBezTo>
                  <a:cubicBezTo>
                    <a:pt x="667" y="474"/>
                    <a:pt x="667" y="474"/>
                    <a:pt x="667" y="474"/>
                  </a:cubicBezTo>
                  <a:cubicBezTo>
                    <a:pt x="665" y="473"/>
                    <a:pt x="664" y="473"/>
                    <a:pt x="663" y="473"/>
                  </a:cubicBezTo>
                  <a:cubicBezTo>
                    <a:pt x="662" y="473"/>
                    <a:pt x="661" y="473"/>
                    <a:pt x="661" y="473"/>
                  </a:cubicBezTo>
                  <a:cubicBezTo>
                    <a:pt x="660" y="474"/>
                    <a:pt x="659" y="475"/>
                    <a:pt x="658" y="475"/>
                  </a:cubicBezTo>
                  <a:cubicBezTo>
                    <a:pt x="658" y="476"/>
                    <a:pt x="657" y="478"/>
                    <a:pt x="657" y="480"/>
                  </a:cubicBezTo>
                  <a:cubicBezTo>
                    <a:pt x="655" y="488"/>
                    <a:pt x="655" y="488"/>
                    <a:pt x="655" y="488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651" y="478"/>
                    <a:pt x="651" y="478"/>
                    <a:pt x="651" y="478"/>
                  </a:cubicBezTo>
                  <a:close/>
                  <a:moveTo>
                    <a:pt x="667" y="494"/>
                  </a:moveTo>
                  <a:cubicBezTo>
                    <a:pt x="672" y="496"/>
                    <a:pt x="676" y="499"/>
                    <a:pt x="678" y="503"/>
                  </a:cubicBezTo>
                  <a:cubicBezTo>
                    <a:pt x="679" y="507"/>
                    <a:pt x="679" y="512"/>
                    <a:pt x="677" y="517"/>
                  </a:cubicBezTo>
                  <a:cubicBezTo>
                    <a:pt x="675" y="523"/>
                    <a:pt x="671" y="526"/>
                    <a:pt x="668" y="528"/>
                  </a:cubicBezTo>
                  <a:cubicBezTo>
                    <a:pt x="664" y="529"/>
                    <a:pt x="659" y="529"/>
                    <a:pt x="653" y="527"/>
                  </a:cubicBezTo>
                  <a:cubicBezTo>
                    <a:pt x="647" y="524"/>
                    <a:pt x="644" y="521"/>
                    <a:pt x="642" y="517"/>
                  </a:cubicBezTo>
                  <a:cubicBezTo>
                    <a:pt x="640" y="513"/>
                    <a:pt x="641" y="509"/>
                    <a:pt x="643" y="503"/>
                  </a:cubicBezTo>
                  <a:cubicBezTo>
                    <a:pt x="645" y="497"/>
                    <a:pt x="648" y="494"/>
                    <a:pt x="652" y="492"/>
                  </a:cubicBezTo>
                  <a:cubicBezTo>
                    <a:pt x="656" y="491"/>
                    <a:pt x="661" y="491"/>
                    <a:pt x="667" y="494"/>
                  </a:cubicBezTo>
                  <a:close/>
                  <a:moveTo>
                    <a:pt x="671" y="515"/>
                  </a:moveTo>
                  <a:cubicBezTo>
                    <a:pt x="670" y="518"/>
                    <a:pt x="668" y="520"/>
                    <a:pt x="666" y="520"/>
                  </a:cubicBezTo>
                  <a:cubicBezTo>
                    <a:pt x="663" y="521"/>
                    <a:pt x="660" y="521"/>
                    <a:pt x="656" y="519"/>
                  </a:cubicBezTo>
                  <a:cubicBezTo>
                    <a:pt x="652" y="517"/>
                    <a:pt x="650" y="516"/>
                    <a:pt x="649" y="513"/>
                  </a:cubicBezTo>
                  <a:cubicBezTo>
                    <a:pt x="647" y="511"/>
                    <a:pt x="647" y="508"/>
                    <a:pt x="648" y="505"/>
                  </a:cubicBezTo>
                  <a:cubicBezTo>
                    <a:pt x="650" y="502"/>
                    <a:pt x="651" y="500"/>
                    <a:pt x="654" y="500"/>
                  </a:cubicBezTo>
                  <a:cubicBezTo>
                    <a:pt x="656" y="499"/>
                    <a:pt x="660" y="500"/>
                    <a:pt x="664" y="501"/>
                  </a:cubicBezTo>
                  <a:cubicBezTo>
                    <a:pt x="667" y="503"/>
                    <a:pt x="670" y="505"/>
                    <a:pt x="671" y="507"/>
                  </a:cubicBezTo>
                  <a:cubicBezTo>
                    <a:pt x="672" y="509"/>
                    <a:pt x="672" y="512"/>
                    <a:pt x="671" y="515"/>
                  </a:cubicBezTo>
                  <a:close/>
                  <a:moveTo>
                    <a:pt x="641" y="544"/>
                  </a:moveTo>
                  <a:cubicBezTo>
                    <a:pt x="646" y="547"/>
                    <a:pt x="646" y="547"/>
                    <a:pt x="646" y="547"/>
                  </a:cubicBezTo>
                  <a:cubicBezTo>
                    <a:pt x="637" y="562"/>
                    <a:pt x="637" y="562"/>
                    <a:pt x="637" y="562"/>
                  </a:cubicBezTo>
                  <a:cubicBezTo>
                    <a:pt x="619" y="552"/>
                    <a:pt x="619" y="552"/>
                    <a:pt x="619" y="552"/>
                  </a:cubicBezTo>
                  <a:cubicBezTo>
                    <a:pt x="628" y="538"/>
                    <a:pt x="628" y="538"/>
                    <a:pt x="628" y="538"/>
                  </a:cubicBezTo>
                  <a:cubicBezTo>
                    <a:pt x="629" y="535"/>
                    <a:pt x="631" y="533"/>
                    <a:pt x="632" y="532"/>
                  </a:cubicBezTo>
                  <a:cubicBezTo>
                    <a:pt x="633" y="531"/>
                    <a:pt x="634" y="530"/>
                    <a:pt x="636" y="530"/>
                  </a:cubicBezTo>
                  <a:cubicBezTo>
                    <a:pt x="638" y="529"/>
                    <a:pt x="641" y="529"/>
                    <a:pt x="643" y="529"/>
                  </a:cubicBezTo>
                  <a:cubicBezTo>
                    <a:pt x="645" y="529"/>
                    <a:pt x="648" y="530"/>
                    <a:pt x="651" y="532"/>
                  </a:cubicBezTo>
                  <a:cubicBezTo>
                    <a:pt x="656" y="535"/>
                    <a:pt x="659" y="539"/>
                    <a:pt x="661" y="543"/>
                  </a:cubicBezTo>
                  <a:cubicBezTo>
                    <a:pt x="662" y="547"/>
                    <a:pt x="661" y="551"/>
                    <a:pt x="658" y="556"/>
                  </a:cubicBezTo>
                  <a:cubicBezTo>
                    <a:pt x="650" y="570"/>
                    <a:pt x="650" y="570"/>
                    <a:pt x="650" y="570"/>
                  </a:cubicBezTo>
                  <a:cubicBezTo>
                    <a:pt x="644" y="567"/>
                    <a:pt x="644" y="567"/>
                    <a:pt x="644" y="567"/>
                  </a:cubicBezTo>
                  <a:cubicBezTo>
                    <a:pt x="653" y="553"/>
                    <a:pt x="653" y="553"/>
                    <a:pt x="653" y="553"/>
                  </a:cubicBezTo>
                  <a:cubicBezTo>
                    <a:pt x="654" y="550"/>
                    <a:pt x="654" y="548"/>
                    <a:pt x="654" y="546"/>
                  </a:cubicBezTo>
                  <a:cubicBezTo>
                    <a:pt x="653" y="544"/>
                    <a:pt x="650" y="542"/>
                    <a:pt x="647" y="539"/>
                  </a:cubicBezTo>
                  <a:cubicBezTo>
                    <a:pt x="644" y="537"/>
                    <a:pt x="641" y="537"/>
                    <a:pt x="639" y="537"/>
                  </a:cubicBezTo>
                  <a:cubicBezTo>
                    <a:pt x="636" y="537"/>
                    <a:pt x="635" y="538"/>
                    <a:pt x="633" y="541"/>
                  </a:cubicBezTo>
                  <a:cubicBezTo>
                    <a:pt x="629" y="548"/>
                    <a:pt x="629" y="548"/>
                    <a:pt x="629" y="548"/>
                  </a:cubicBezTo>
                  <a:cubicBezTo>
                    <a:pt x="636" y="553"/>
                    <a:pt x="636" y="553"/>
                    <a:pt x="636" y="553"/>
                  </a:cubicBezTo>
                  <a:cubicBezTo>
                    <a:pt x="641" y="544"/>
                    <a:pt x="641" y="544"/>
                    <a:pt x="641" y="544"/>
                  </a:cubicBezTo>
                  <a:close/>
                  <a:moveTo>
                    <a:pt x="648" y="574"/>
                  </a:moveTo>
                  <a:cubicBezTo>
                    <a:pt x="643" y="581"/>
                    <a:pt x="643" y="581"/>
                    <a:pt x="643" y="581"/>
                  </a:cubicBezTo>
                  <a:cubicBezTo>
                    <a:pt x="627" y="580"/>
                    <a:pt x="627" y="580"/>
                    <a:pt x="627" y="580"/>
                  </a:cubicBezTo>
                  <a:cubicBezTo>
                    <a:pt x="632" y="595"/>
                    <a:pt x="632" y="595"/>
                    <a:pt x="632" y="595"/>
                  </a:cubicBezTo>
                  <a:cubicBezTo>
                    <a:pt x="627" y="602"/>
                    <a:pt x="627" y="602"/>
                    <a:pt x="627" y="602"/>
                  </a:cubicBezTo>
                  <a:cubicBezTo>
                    <a:pt x="619" y="579"/>
                    <a:pt x="619" y="579"/>
                    <a:pt x="619" y="579"/>
                  </a:cubicBezTo>
                  <a:cubicBezTo>
                    <a:pt x="607" y="570"/>
                    <a:pt x="607" y="570"/>
                    <a:pt x="607" y="570"/>
                  </a:cubicBezTo>
                  <a:cubicBezTo>
                    <a:pt x="611" y="564"/>
                    <a:pt x="611" y="564"/>
                    <a:pt x="611" y="564"/>
                  </a:cubicBezTo>
                  <a:cubicBezTo>
                    <a:pt x="624" y="573"/>
                    <a:pt x="624" y="573"/>
                    <a:pt x="624" y="573"/>
                  </a:cubicBezTo>
                  <a:cubicBezTo>
                    <a:pt x="648" y="574"/>
                    <a:pt x="648" y="574"/>
                    <a:pt x="648" y="574"/>
                  </a:cubicBezTo>
                  <a:close/>
                  <a:moveTo>
                    <a:pt x="264" y="535"/>
                  </a:moveTo>
                  <a:cubicBezTo>
                    <a:pt x="392" y="535"/>
                    <a:pt x="392" y="535"/>
                    <a:pt x="392" y="535"/>
                  </a:cubicBezTo>
                  <a:cubicBezTo>
                    <a:pt x="401" y="536"/>
                    <a:pt x="400" y="566"/>
                    <a:pt x="392" y="565"/>
                  </a:cubicBezTo>
                  <a:cubicBezTo>
                    <a:pt x="264" y="565"/>
                    <a:pt x="264" y="565"/>
                    <a:pt x="264" y="565"/>
                  </a:cubicBezTo>
                  <a:cubicBezTo>
                    <a:pt x="275" y="565"/>
                    <a:pt x="276" y="536"/>
                    <a:pt x="264" y="535"/>
                  </a:cubicBezTo>
                  <a:close/>
                  <a:moveTo>
                    <a:pt x="550" y="535"/>
                  </a:moveTo>
                  <a:cubicBezTo>
                    <a:pt x="538" y="536"/>
                    <a:pt x="539" y="565"/>
                    <a:pt x="550" y="565"/>
                  </a:cubicBezTo>
                  <a:cubicBezTo>
                    <a:pt x="421" y="565"/>
                    <a:pt x="421" y="565"/>
                    <a:pt x="421" y="565"/>
                  </a:cubicBezTo>
                  <a:cubicBezTo>
                    <a:pt x="413" y="566"/>
                    <a:pt x="412" y="536"/>
                    <a:pt x="421" y="535"/>
                  </a:cubicBezTo>
                  <a:cubicBezTo>
                    <a:pt x="550" y="535"/>
                    <a:pt x="550" y="535"/>
                    <a:pt x="550" y="535"/>
                  </a:cubicBezTo>
                  <a:close/>
                  <a:moveTo>
                    <a:pt x="495" y="212"/>
                  </a:moveTo>
                  <a:cubicBezTo>
                    <a:pt x="495" y="260"/>
                    <a:pt x="495" y="260"/>
                    <a:pt x="495" y="260"/>
                  </a:cubicBezTo>
                  <a:cubicBezTo>
                    <a:pt x="481" y="257"/>
                    <a:pt x="469" y="266"/>
                    <a:pt x="462" y="280"/>
                  </a:cubicBezTo>
                  <a:cubicBezTo>
                    <a:pt x="462" y="449"/>
                    <a:pt x="462" y="449"/>
                    <a:pt x="462" y="449"/>
                  </a:cubicBezTo>
                  <a:cubicBezTo>
                    <a:pt x="493" y="439"/>
                    <a:pt x="510" y="421"/>
                    <a:pt x="516" y="396"/>
                  </a:cubicBezTo>
                  <a:cubicBezTo>
                    <a:pt x="519" y="389"/>
                    <a:pt x="519" y="377"/>
                    <a:pt x="514" y="358"/>
                  </a:cubicBezTo>
                  <a:cubicBezTo>
                    <a:pt x="501" y="332"/>
                    <a:pt x="486" y="324"/>
                    <a:pt x="477" y="327"/>
                  </a:cubicBezTo>
                  <a:cubicBezTo>
                    <a:pt x="477" y="278"/>
                    <a:pt x="477" y="278"/>
                    <a:pt x="477" y="278"/>
                  </a:cubicBezTo>
                  <a:cubicBezTo>
                    <a:pt x="516" y="281"/>
                    <a:pt x="552" y="305"/>
                    <a:pt x="562" y="357"/>
                  </a:cubicBezTo>
                  <a:cubicBezTo>
                    <a:pt x="570" y="390"/>
                    <a:pt x="562" y="422"/>
                    <a:pt x="545" y="449"/>
                  </a:cubicBezTo>
                  <a:cubicBezTo>
                    <a:pt x="523" y="472"/>
                    <a:pt x="499" y="491"/>
                    <a:pt x="462" y="497"/>
                  </a:cubicBezTo>
                  <a:cubicBezTo>
                    <a:pt x="462" y="514"/>
                    <a:pt x="462" y="514"/>
                    <a:pt x="462" y="514"/>
                  </a:cubicBezTo>
                  <a:cubicBezTo>
                    <a:pt x="413" y="514"/>
                    <a:pt x="413" y="514"/>
                    <a:pt x="413" y="514"/>
                  </a:cubicBezTo>
                  <a:cubicBezTo>
                    <a:pt x="413" y="274"/>
                    <a:pt x="413" y="274"/>
                    <a:pt x="413" y="274"/>
                  </a:cubicBezTo>
                  <a:cubicBezTo>
                    <a:pt x="425" y="233"/>
                    <a:pt x="453" y="213"/>
                    <a:pt x="495" y="212"/>
                  </a:cubicBezTo>
                  <a:close/>
                  <a:moveTo>
                    <a:pt x="316" y="212"/>
                  </a:moveTo>
                  <a:cubicBezTo>
                    <a:pt x="358" y="213"/>
                    <a:pt x="386" y="233"/>
                    <a:pt x="398" y="274"/>
                  </a:cubicBezTo>
                  <a:cubicBezTo>
                    <a:pt x="398" y="514"/>
                    <a:pt x="398" y="514"/>
                    <a:pt x="398" y="514"/>
                  </a:cubicBezTo>
                  <a:cubicBezTo>
                    <a:pt x="349" y="514"/>
                    <a:pt x="349" y="514"/>
                    <a:pt x="349" y="514"/>
                  </a:cubicBezTo>
                  <a:cubicBezTo>
                    <a:pt x="349" y="497"/>
                    <a:pt x="349" y="497"/>
                    <a:pt x="349" y="497"/>
                  </a:cubicBezTo>
                  <a:cubicBezTo>
                    <a:pt x="312" y="491"/>
                    <a:pt x="288" y="472"/>
                    <a:pt x="267" y="449"/>
                  </a:cubicBezTo>
                  <a:cubicBezTo>
                    <a:pt x="249" y="422"/>
                    <a:pt x="241" y="390"/>
                    <a:pt x="249" y="357"/>
                  </a:cubicBezTo>
                  <a:cubicBezTo>
                    <a:pt x="259" y="305"/>
                    <a:pt x="295" y="281"/>
                    <a:pt x="334" y="278"/>
                  </a:cubicBezTo>
                  <a:cubicBezTo>
                    <a:pt x="334" y="327"/>
                    <a:pt x="334" y="327"/>
                    <a:pt x="334" y="327"/>
                  </a:cubicBezTo>
                  <a:cubicBezTo>
                    <a:pt x="325" y="324"/>
                    <a:pt x="310" y="332"/>
                    <a:pt x="297" y="358"/>
                  </a:cubicBezTo>
                  <a:cubicBezTo>
                    <a:pt x="292" y="377"/>
                    <a:pt x="292" y="389"/>
                    <a:pt x="295" y="396"/>
                  </a:cubicBezTo>
                  <a:cubicBezTo>
                    <a:pt x="302" y="421"/>
                    <a:pt x="318" y="439"/>
                    <a:pt x="349" y="449"/>
                  </a:cubicBezTo>
                  <a:cubicBezTo>
                    <a:pt x="349" y="280"/>
                    <a:pt x="349" y="280"/>
                    <a:pt x="349" y="280"/>
                  </a:cubicBezTo>
                  <a:cubicBezTo>
                    <a:pt x="343" y="266"/>
                    <a:pt x="330" y="257"/>
                    <a:pt x="316" y="260"/>
                  </a:cubicBezTo>
                  <a:cubicBezTo>
                    <a:pt x="316" y="212"/>
                    <a:pt x="316" y="212"/>
                    <a:pt x="316" y="212"/>
                  </a:cubicBezTo>
                  <a:close/>
                  <a:moveTo>
                    <a:pt x="249" y="587"/>
                  </a:moveTo>
                  <a:cubicBezTo>
                    <a:pt x="567" y="587"/>
                    <a:pt x="567" y="587"/>
                    <a:pt x="567" y="587"/>
                  </a:cubicBezTo>
                  <a:cubicBezTo>
                    <a:pt x="567" y="615"/>
                    <a:pt x="567" y="615"/>
                    <a:pt x="567" y="615"/>
                  </a:cubicBezTo>
                  <a:cubicBezTo>
                    <a:pt x="249" y="615"/>
                    <a:pt x="249" y="615"/>
                    <a:pt x="249" y="615"/>
                  </a:cubicBezTo>
                  <a:lnTo>
                    <a:pt x="249" y="58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1284" y="2419538"/>
            <a:ext cx="5013901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关键技术与实践难点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00" y="3314888"/>
            <a:ext cx="5013901" cy="1015623"/>
          </a:xfrm>
        </p:spPr>
        <p:txBody>
          <a:bodyPr/>
          <a:lstStyle/>
          <a:p>
            <a:r>
              <a:rPr lang="zh-CN" altLang="en-US"/>
              <a:t>本章节内容介绍文字</a:t>
            </a:r>
            <a:endParaRPr lang="en-US" altLang="zh-CN"/>
          </a:p>
          <a:p>
            <a:r>
              <a:rPr lang="en-US" altLang="zh-CN"/>
              <a:t>PPT</a:t>
            </a:r>
            <a:r>
              <a:rPr lang="zh-CN" altLang="en-US"/>
              <a:t>中的节标题可以帮助观众更有效的阅读和理解报告内容</a:t>
            </a:r>
            <a:endParaRPr lang="en-US" altLang="zh-CN"/>
          </a:p>
          <a:p>
            <a:r>
              <a:rPr lang="zh-CN" altLang="en-US"/>
              <a:t>您可以在幻灯片母版中对本页样式进行修改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500168" y="1918433"/>
            <a:ext cx="1803488" cy="80415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r>
              <a:rPr lang="zh-CN" altLang="en-US" sz="2800" b="1" dirty="0">
                <a:solidFill>
                  <a:schemeClr val="accent2"/>
                </a:solidFill>
              </a:rPr>
              <a:t>第三章</a:t>
            </a:r>
            <a:endParaRPr lang="en-US" altLang="zh-CN" sz="2800" b="1" dirty="0">
              <a:solidFill>
                <a:schemeClr val="accent2"/>
              </a:solidFill>
            </a:endParaRPr>
          </a:p>
          <a:p>
            <a:r>
              <a:rPr lang="en-US" altLang="zh-CN" sz="1100" b="1" dirty="0">
                <a:solidFill>
                  <a:schemeClr val="accent2"/>
                </a:solidFill>
              </a:rPr>
              <a:t>The fist chapter</a:t>
            </a:r>
            <a:endParaRPr lang="zh-CN" altLang="en-US" sz="1100" b="1" dirty="0">
              <a:solidFill>
                <a:schemeClr val="accent2"/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D359F57-F914-445A-B752-CBD4C3D34405}"/>
              </a:ext>
            </a:extLst>
          </p:cNvPr>
          <p:cNvCxnSpPr>
            <a:cxnSpLocks/>
          </p:cNvCxnSpPr>
          <p:nvPr/>
        </p:nvCxnSpPr>
        <p:spPr>
          <a:xfrm>
            <a:off x="6599209" y="2765585"/>
            <a:ext cx="4915976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A576D917-B5FE-4697-8A81-22B09D3F4165}"/>
              </a:ext>
            </a:extLst>
          </p:cNvPr>
          <p:cNvSpPr>
            <a:spLocks/>
          </p:cNvSpPr>
          <p:nvPr/>
        </p:nvSpPr>
        <p:spPr>
          <a:xfrm>
            <a:off x="0" y="0"/>
            <a:ext cx="6093767" cy="6858000"/>
          </a:xfrm>
          <a:prstGeom prst="rect">
            <a:avLst/>
          </a:prstGeom>
          <a:blipFill>
            <a:blip r:embed="rId2"/>
            <a:srcRect/>
            <a:stretch>
              <a:fillRect l="-20506" r="-205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ṧļïḋê">
            <a:extLst>
              <a:ext uri="{FF2B5EF4-FFF2-40B4-BE49-F238E27FC236}">
                <a16:creationId xmlns:a16="http://schemas.microsoft.com/office/drawing/2014/main" id="{742A6018-840A-47FD-80B0-2D92C6808D4E}"/>
              </a:ext>
            </a:extLst>
          </p:cNvPr>
          <p:cNvSpPr>
            <a:spLocks/>
          </p:cNvSpPr>
          <p:nvPr/>
        </p:nvSpPr>
        <p:spPr>
          <a:xfrm>
            <a:off x="1" y="0"/>
            <a:ext cx="6093767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851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F7E15D7-7338-4808-AA91-49558C0BD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6D9FF02-4729-4FC5-AA73-4CF693DF4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íśḷiḓè">
            <a:extLst>
              <a:ext uri="{FF2B5EF4-FFF2-40B4-BE49-F238E27FC236}">
                <a16:creationId xmlns:a16="http://schemas.microsoft.com/office/drawing/2014/main" id="{ABC1A220-7D42-4AD5-8D06-1C22A63637A7}"/>
              </a:ext>
            </a:extLst>
          </p:cNvPr>
          <p:cNvSpPr/>
          <p:nvPr/>
        </p:nvSpPr>
        <p:spPr>
          <a:xfrm rot="18900000">
            <a:off x="5372661" y="3158275"/>
            <a:ext cx="136281" cy="136281"/>
          </a:xfrm>
          <a:prstGeom prst="teardrop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3" name="îsḻîde">
            <a:extLst>
              <a:ext uri="{FF2B5EF4-FFF2-40B4-BE49-F238E27FC236}">
                <a16:creationId xmlns:a16="http://schemas.microsoft.com/office/drawing/2014/main" id="{F18CF70F-2D4F-4E42-BFE1-4FCCEAF81EAD}"/>
              </a:ext>
            </a:extLst>
          </p:cNvPr>
          <p:cNvSpPr/>
          <p:nvPr/>
        </p:nvSpPr>
        <p:spPr bwMode="auto">
          <a:xfrm flipH="1">
            <a:off x="3827083" y="1979685"/>
            <a:ext cx="1773829" cy="1018634"/>
          </a:xfrm>
          <a:custGeom>
            <a:avLst/>
            <a:gdLst>
              <a:gd name="T0" fmla="*/ 193 w 445"/>
              <a:gd name="T1" fmla="*/ 0 h 256"/>
              <a:gd name="T2" fmla="*/ 196 w 445"/>
              <a:gd name="T3" fmla="*/ 0 h 256"/>
              <a:gd name="T4" fmla="*/ 320 w 445"/>
              <a:gd name="T5" fmla="*/ 0 h 256"/>
              <a:gd name="T6" fmla="*/ 324 w 445"/>
              <a:gd name="T7" fmla="*/ 4 h 256"/>
              <a:gd name="T8" fmla="*/ 327 w 445"/>
              <a:gd name="T9" fmla="*/ 41 h 256"/>
              <a:gd name="T10" fmla="*/ 339 w 445"/>
              <a:gd name="T11" fmla="*/ 65 h 256"/>
              <a:gd name="T12" fmla="*/ 364 w 445"/>
              <a:gd name="T13" fmla="*/ 75 h 256"/>
              <a:gd name="T14" fmla="*/ 441 w 445"/>
              <a:gd name="T15" fmla="*/ 75 h 256"/>
              <a:gd name="T16" fmla="*/ 445 w 445"/>
              <a:gd name="T17" fmla="*/ 75 h 256"/>
              <a:gd name="T18" fmla="*/ 445 w 445"/>
              <a:gd name="T19" fmla="*/ 171 h 256"/>
              <a:gd name="T20" fmla="*/ 442 w 445"/>
              <a:gd name="T21" fmla="*/ 171 h 256"/>
              <a:gd name="T22" fmla="*/ 383 w 445"/>
              <a:gd name="T23" fmla="*/ 171 h 256"/>
              <a:gd name="T24" fmla="*/ 336 w 445"/>
              <a:gd name="T25" fmla="*/ 181 h 256"/>
              <a:gd name="T26" fmla="*/ 312 w 445"/>
              <a:gd name="T27" fmla="*/ 197 h 256"/>
              <a:gd name="T28" fmla="*/ 252 w 445"/>
              <a:gd name="T29" fmla="*/ 215 h 256"/>
              <a:gd name="T30" fmla="*/ 207 w 445"/>
              <a:gd name="T31" fmla="*/ 195 h 256"/>
              <a:gd name="T32" fmla="*/ 186 w 445"/>
              <a:gd name="T33" fmla="*/ 178 h 256"/>
              <a:gd name="T34" fmla="*/ 119 w 445"/>
              <a:gd name="T35" fmla="*/ 184 h 256"/>
              <a:gd name="T36" fmla="*/ 94 w 445"/>
              <a:gd name="T37" fmla="*/ 222 h 256"/>
              <a:gd name="T38" fmla="*/ 85 w 445"/>
              <a:gd name="T39" fmla="*/ 253 h 256"/>
              <a:gd name="T40" fmla="*/ 85 w 445"/>
              <a:gd name="T41" fmla="*/ 256 h 256"/>
              <a:gd name="T42" fmla="*/ 0 w 445"/>
              <a:gd name="T43" fmla="*/ 256 h 256"/>
              <a:gd name="T44" fmla="*/ 2 w 445"/>
              <a:gd name="T45" fmla="*/ 239 h 256"/>
              <a:gd name="T46" fmla="*/ 21 w 445"/>
              <a:gd name="T47" fmla="*/ 173 h 256"/>
              <a:gd name="T48" fmla="*/ 81 w 445"/>
              <a:gd name="T49" fmla="*/ 98 h 256"/>
              <a:gd name="T50" fmla="*/ 146 w 445"/>
              <a:gd name="T51" fmla="*/ 72 h 256"/>
              <a:gd name="T52" fmla="*/ 166 w 445"/>
              <a:gd name="T53" fmla="*/ 68 h 256"/>
              <a:gd name="T54" fmla="*/ 192 w 445"/>
              <a:gd name="T55" fmla="*/ 35 h 256"/>
              <a:gd name="T56" fmla="*/ 193 w 445"/>
              <a:gd name="T57" fmla="*/ 3 h 256"/>
              <a:gd name="T58" fmla="*/ 193 w 445"/>
              <a:gd name="T59" fmla="*/ 0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45" h="256">
                <a:moveTo>
                  <a:pt x="193" y="0"/>
                </a:moveTo>
                <a:cubicBezTo>
                  <a:pt x="194" y="0"/>
                  <a:pt x="195" y="0"/>
                  <a:pt x="196" y="0"/>
                </a:cubicBezTo>
                <a:cubicBezTo>
                  <a:pt x="238" y="0"/>
                  <a:pt x="279" y="0"/>
                  <a:pt x="320" y="0"/>
                </a:cubicBezTo>
                <a:cubicBezTo>
                  <a:pt x="324" y="0"/>
                  <a:pt x="324" y="0"/>
                  <a:pt x="324" y="4"/>
                </a:cubicBezTo>
                <a:cubicBezTo>
                  <a:pt x="324" y="17"/>
                  <a:pt x="324" y="29"/>
                  <a:pt x="327" y="41"/>
                </a:cubicBezTo>
                <a:cubicBezTo>
                  <a:pt x="329" y="50"/>
                  <a:pt x="333" y="58"/>
                  <a:pt x="339" y="65"/>
                </a:cubicBezTo>
                <a:cubicBezTo>
                  <a:pt x="346" y="71"/>
                  <a:pt x="355" y="75"/>
                  <a:pt x="364" y="75"/>
                </a:cubicBezTo>
                <a:cubicBezTo>
                  <a:pt x="390" y="75"/>
                  <a:pt x="415" y="75"/>
                  <a:pt x="441" y="75"/>
                </a:cubicBezTo>
                <a:cubicBezTo>
                  <a:pt x="442" y="75"/>
                  <a:pt x="444" y="75"/>
                  <a:pt x="445" y="75"/>
                </a:cubicBezTo>
                <a:cubicBezTo>
                  <a:pt x="445" y="107"/>
                  <a:pt x="445" y="139"/>
                  <a:pt x="445" y="171"/>
                </a:cubicBezTo>
                <a:cubicBezTo>
                  <a:pt x="444" y="171"/>
                  <a:pt x="443" y="171"/>
                  <a:pt x="442" y="171"/>
                </a:cubicBezTo>
                <a:cubicBezTo>
                  <a:pt x="423" y="171"/>
                  <a:pt x="403" y="171"/>
                  <a:pt x="383" y="171"/>
                </a:cubicBezTo>
                <a:cubicBezTo>
                  <a:pt x="367" y="170"/>
                  <a:pt x="351" y="173"/>
                  <a:pt x="336" y="181"/>
                </a:cubicBezTo>
                <a:cubicBezTo>
                  <a:pt x="328" y="186"/>
                  <a:pt x="320" y="191"/>
                  <a:pt x="312" y="197"/>
                </a:cubicBezTo>
                <a:cubicBezTo>
                  <a:pt x="294" y="211"/>
                  <a:pt x="274" y="217"/>
                  <a:pt x="252" y="215"/>
                </a:cubicBezTo>
                <a:cubicBezTo>
                  <a:pt x="234" y="213"/>
                  <a:pt x="220" y="206"/>
                  <a:pt x="207" y="195"/>
                </a:cubicBezTo>
                <a:cubicBezTo>
                  <a:pt x="200" y="189"/>
                  <a:pt x="193" y="183"/>
                  <a:pt x="186" y="178"/>
                </a:cubicBezTo>
                <a:cubicBezTo>
                  <a:pt x="162" y="166"/>
                  <a:pt x="140" y="169"/>
                  <a:pt x="119" y="184"/>
                </a:cubicBezTo>
                <a:cubicBezTo>
                  <a:pt x="106" y="193"/>
                  <a:pt x="98" y="207"/>
                  <a:pt x="94" y="222"/>
                </a:cubicBezTo>
                <a:cubicBezTo>
                  <a:pt x="90" y="232"/>
                  <a:pt x="88" y="242"/>
                  <a:pt x="85" y="253"/>
                </a:cubicBezTo>
                <a:cubicBezTo>
                  <a:pt x="85" y="254"/>
                  <a:pt x="85" y="254"/>
                  <a:pt x="85" y="256"/>
                </a:cubicBezTo>
                <a:cubicBezTo>
                  <a:pt x="57" y="256"/>
                  <a:pt x="28" y="256"/>
                  <a:pt x="0" y="256"/>
                </a:cubicBezTo>
                <a:cubicBezTo>
                  <a:pt x="0" y="250"/>
                  <a:pt x="1" y="245"/>
                  <a:pt x="2" y="239"/>
                </a:cubicBezTo>
                <a:cubicBezTo>
                  <a:pt x="5" y="216"/>
                  <a:pt x="11" y="194"/>
                  <a:pt x="21" y="173"/>
                </a:cubicBezTo>
                <a:cubicBezTo>
                  <a:pt x="34" y="143"/>
                  <a:pt x="54" y="117"/>
                  <a:pt x="81" y="98"/>
                </a:cubicBezTo>
                <a:cubicBezTo>
                  <a:pt x="101" y="84"/>
                  <a:pt x="123" y="76"/>
                  <a:pt x="146" y="72"/>
                </a:cubicBezTo>
                <a:cubicBezTo>
                  <a:pt x="153" y="71"/>
                  <a:pt x="160" y="70"/>
                  <a:pt x="166" y="68"/>
                </a:cubicBezTo>
                <a:cubicBezTo>
                  <a:pt x="182" y="64"/>
                  <a:pt x="191" y="52"/>
                  <a:pt x="192" y="35"/>
                </a:cubicBezTo>
                <a:cubicBezTo>
                  <a:pt x="193" y="24"/>
                  <a:pt x="192" y="14"/>
                  <a:pt x="193" y="3"/>
                </a:cubicBezTo>
                <a:cubicBezTo>
                  <a:pt x="193" y="2"/>
                  <a:pt x="193" y="1"/>
                  <a:pt x="193" y="0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íṥļiḋê">
            <a:extLst>
              <a:ext uri="{FF2B5EF4-FFF2-40B4-BE49-F238E27FC236}">
                <a16:creationId xmlns:a16="http://schemas.microsoft.com/office/drawing/2014/main" id="{91317EA4-CE66-4E48-AC3C-2D3E69E24C19}"/>
              </a:ext>
            </a:extLst>
          </p:cNvPr>
          <p:cNvSpPr/>
          <p:nvPr/>
        </p:nvSpPr>
        <p:spPr bwMode="auto">
          <a:xfrm flipH="1">
            <a:off x="3993929" y="1268398"/>
            <a:ext cx="1164989" cy="576640"/>
          </a:xfrm>
          <a:custGeom>
            <a:avLst/>
            <a:gdLst>
              <a:gd name="T0" fmla="*/ 174 w 292"/>
              <a:gd name="T1" fmla="*/ 128 h 145"/>
              <a:gd name="T2" fmla="*/ 189 w 292"/>
              <a:gd name="T3" fmla="*/ 128 h 145"/>
              <a:gd name="T4" fmla="*/ 197 w 292"/>
              <a:gd name="T5" fmla="*/ 135 h 145"/>
              <a:gd name="T6" fmla="*/ 192 w 292"/>
              <a:gd name="T7" fmla="*/ 144 h 145"/>
              <a:gd name="T8" fmla="*/ 188 w 292"/>
              <a:gd name="T9" fmla="*/ 145 h 145"/>
              <a:gd name="T10" fmla="*/ 105 w 292"/>
              <a:gd name="T11" fmla="*/ 145 h 145"/>
              <a:gd name="T12" fmla="*/ 97 w 292"/>
              <a:gd name="T13" fmla="*/ 137 h 145"/>
              <a:gd name="T14" fmla="*/ 105 w 292"/>
              <a:gd name="T15" fmla="*/ 128 h 145"/>
              <a:gd name="T16" fmla="*/ 113 w 292"/>
              <a:gd name="T17" fmla="*/ 128 h 145"/>
              <a:gd name="T18" fmla="*/ 120 w 292"/>
              <a:gd name="T19" fmla="*/ 128 h 145"/>
              <a:gd name="T20" fmla="*/ 120 w 292"/>
              <a:gd name="T21" fmla="*/ 118 h 145"/>
              <a:gd name="T22" fmla="*/ 120 w 292"/>
              <a:gd name="T23" fmla="*/ 85 h 145"/>
              <a:gd name="T24" fmla="*/ 118 w 292"/>
              <a:gd name="T25" fmla="*/ 82 h 145"/>
              <a:gd name="T26" fmla="*/ 107 w 292"/>
              <a:gd name="T27" fmla="*/ 75 h 145"/>
              <a:gd name="T28" fmla="*/ 104 w 292"/>
              <a:gd name="T29" fmla="*/ 74 h 145"/>
              <a:gd name="T30" fmla="*/ 54 w 292"/>
              <a:gd name="T31" fmla="*/ 86 h 145"/>
              <a:gd name="T32" fmla="*/ 16 w 292"/>
              <a:gd name="T33" fmla="*/ 76 h 145"/>
              <a:gd name="T34" fmla="*/ 15 w 292"/>
              <a:gd name="T35" fmla="*/ 19 h 145"/>
              <a:gd name="T36" fmla="*/ 44 w 292"/>
              <a:gd name="T37" fmla="*/ 5 h 145"/>
              <a:gd name="T38" fmla="*/ 59 w 292"/>
              <a:gd name="T39" fmla="*/ 8 h 145"/>
              <a:gd name="T40" fmla="*/ 105 w 292"/>
              <a:gd name="T41" fmla="*/ 18 h 145"/>
              <a:gd name="T42" fmla="*/ 108 w 292"/>
              <a:gd name="T43" fmla="*/ 17 h 145"/>
              <a:gd name="T44" fmla="*/ 186 w 292"/>
              <a:gd name="T45" fmla="*/ 17 h 145"/>
              <a:gd name="T46" fmla="*/ 189 w 292"/>
              <a:gd name="T47" fmla="*/ 18 h 145"/>
              <a:gd name="T48" fmla="*/ 241 w 292"/>
              <a:gd name="T49" fmla="*/ 6 h 145"/>
              <a:gd name="T50" fmla="*/ 263 w 292"/>
              <a:gd name="T51" fmla="*/ 8 h 145"/>
              <a:gd name="T52" fmla="*/ 289 w 292"/>
              <a:gd name="T53" fmla="*/ 53 h 145"/>
              <a:gd name="T54" fmla="*/ 247 w 292"/>
              <a:gd name="T55" fmla="*/ 88 h 145"/>
              <a:gd name="T56" fmla="*/ 230 w 292"/>
              <a:gd name="T57" fmla="*/ 83 h 145"/>
              <a:gd name="T58" fmla="*/ 189 w 292"/>
              <a:gd name="T59" fmla="*/ 74 h 145"/>
              <a:gd name="T60" fmla="*/ 186 w 292"/>
              <a:gd name="T61" fmla="*/ 75 h 145"/>
              <a:gd name="T62" fmla="*/ 175 w 292"/>
              <a:gd name="T63" fmla="*/ 82 h 145"/>
              <a:gd name="T64" fmla="*/ 173 w 292"/>
              <a:gd name="T65" fmla="*/ 84 h 145"/>
              <a:gd name="T66" fmla="*/ 173 w 292"/>
              <a:gd name="T67" fmla="*/ 127 h 145"/>
              <a:gd name="T68" fmla="*/ 174 w 292"/>
              <a:gd name="T69" fmla="*/ 128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2" h="145">
                <a:moveTo>
                  <a:pt x="174" y="128"/>
                </a:moveTo>
                <a:cubicBezTo>
                  <a:pt x="179" y="128"/>
                  <a:pt x="184" y="128"/>
                  <a:pt x="189" y="128"/>
                </a:cubicBezTo>
                <a:cubicBezTo>
                  <a:pt x="193" y="128"/>
                  <a:pt x="196" y="131"/>
                  <a:pt x="197" y="135"/>
                </a:cubicBezTo>
                <a:cubicBezTo>
                  <a:pt x="197" y="139"/>
                  <a:pt x="196" y="142"/>
                  <a:pt x="192" y="144"/>
                </a:cubicBezTo>
                <a:cubicBezTo>
                  <a:pt x="191" y="144"/>
                  <a:pt x="190" y="145"/>
                  <a:pt x="188" y="145"/>
                </a:cubicBezTo>
                <a:cubicBezTo>
                  <a:pt x="161" y="145"/>
                  <a:pt x="133" y="145"/>
                  <a:pt x="105" y="145"/>
                </a:cubicBezTo>
                <a:cubicBezTo>
                  <a:pt x="100" y="145"/>
                  <a:pt x="97" y="141"/>
                  <a:pt x="97" y="137"/>
                </a:cubicBezTo>
                <a:cubicBezTo>
                  <a:pt x="97" y="132"/>
                  <a:pt x="100" y="129"/>
                  <a:pt x="105" y="128"/>
                </a:cubicBezTo>
                <a:cubicBezTo>
                  <a:pt x="107" y="128"/>
                  <a:pt x="110" y="128"/>
                  <a:pt x="113" y="128"/>
                </a:cubicBezTo>
                <a:cubicBezTo>
                  <a:pt x="115" y="129"/>
                  <a:pt x="117" y="128"/>
                  <a:pt x="120" y="128"/>
                </a:cubicBezTo>
                <a:cubicBezTo>
                  <a:pt x="120" y="125"/>
                  <a:pt x="120" y="122"/>
                  <a:pt x="120" y="118"/>
                </a:cubicBezTo>
                <a:cubicBezTo>
                  <a:pt x="120" y="107"/>
                  <a:pt x="120" y="96"/>
                  <a:pt x="120" y="85"/>
                </a:cubicBezTo>
                <a:cubicBezTo>
                  <a:pt x="120" y="83"/>
                  <a:pt x="120" y="82"/>
                  <a:pt x="118" y="82"/>
                </a:cubicBezTo>
                <a:cubicBezTo>
                  <a:pt x="114" y="79"/>
                  <a:pt x="111" y="77"/>
                  <a:pt x="107" y="75"/>
                </a:cubicBezTo>
                <a:cubicBezTo>
                  <a:pt x="106" y="74"/>
                  <a:pt x="105" y="74"/>
                  <a:pt x="104" y="74"/>
                </a:cubicBezTo>
                <a:cubicBezTo>
                  <a:pt x="87" y="77"/>
                  <a:pt x="70" y="81"/>
                  <a:pt x="54" y="86"/>
                </a:cubicBezTo>
                <a:cubicBezTo>
                  <a:pt x="39" y="91"/>
                  <a:pt x="27" y="86"/>
                  <a:pt x="16" y="76"/>
                </a:cubicBezTo>
                <a:cubicBezTo>
                  <a:pt x="0" y="60"/>
                  <a:pt x="0" y="36"/>
                  <a:pt x="15" y="19"/>
                </a:cubicBezTo>
                <a:cubicBezTo>
                  <a:pt x="22" y="10"/>
                  <a:pt x="32" y="5"/>
                  <a:pt x="44" y="5"/>
                </a:cubicBezTo>
                <a:cubicBezTo>
                  <a:pt x="49" y="5"/>
                  <a:pt x="54" y="6"/>
                  <a:pt x="59" y="8"/>
                </a:cubicBezTo>
                <a:cubicBezTo>
                  <a:pt x="74" y="12"/>
                  <a:pt x="89" y="16"/>
                  <a:pt x="105" y="18"/>
                </a:cubicBezTo>
                <a:cubicBezTo>
                  <a:pt x="106" y="18"/>
                  <a:pt x="107" y="18"/>
                  <a:pt x="108" y="17"/>
                </a:cubicBezTo>
                <a:cubicBezTo>
                  <a:pt x="129" y="0"/>
                  <a:pt x="165" y="0"/>
                  <a:pt x="186" y="17"/>
                </a:cubicBezTo>
                <a:cubicBezTo>
                  <a:pt x="186" y="18"/>
                  <a:pt x="188" y="18"/>
                  <a:pt x="189" y="18"/>
                </a:cubicBezTo>
                <a:cubicBezTo>
                  <a:pt x="207" y="16"/>
                  <a:pt x="224" y="11"/>
                  <a:pt x="241" y="6"/>
                </a:cubicBezTo>
                <a:cubicBezTo>
                  <a:pt x="249" y="3"/>
                  <a:pt x="256" y="4"/>
                  <a:pt x="263" y="8"/>
                </a:cubicBezTo>
                <a:cubicBezTo>
                  <a:pt x="280" y="16"/>
                  <a:pt x="292" y="33"/>
                  <a:pt x="289" y="53"/>
                </a:cubicBezTo>
                <a:cubicBezTo>
                  <a:pt x="286" y="73"/>
                  <a:pt x="267" y="89"/>
                  <a:pt x="247" y="88"/>
                </a:cubicBezTo>
                <a:cubicBezTo>
                  <a:pt x="241" y="87"/>
                  <a:pt x="236" y="85"/>
                  <a:pt x="230" y="83"/>
                </a:cubicBezTo>
                <a:cubicBezTo>
                  <a:pt x="216" y="80"/>
                  <a:pt x="203" y="77"/>
                  <a:pt x="189" y="74"/>
                </a:cubicBezTo>
                <a:cubicBezTo>
                  <a:pt x="188" y="74"/>
                  <a:pt x="187" y="74"/>
                  <a:pt x="186" y="75"/>
                </a:cubicBezTo>
                <a:cubicBezTo>
                  <a:pt x="182" y="77"/>
                  <a:pt x="179" y="79"/>
                  <a:pt x="175" y="82"/>
                </a:cubicBezTo>
                <a:cubicBezTo>
                  <a:pt x="174" y="82"/>
                  <a:pt x="173" y="83"/>
                  <a:pt x="173" y="84"/>
                </a:cubicBezTo>
                <a:cubicBezTo>
                  <a:pt x="173" y="99"/>
                  <a:pt x="173" y="113"/>
                  <a:pt x="173" y="127"/>
                </a:cubicBezTo>
                <a:cubicBezTo>
                  <a:pt x="173" y="127"/>
                  <a:pt x="173" y="128"/>
                  <a:pt x="174" y="128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îŝľíde">
            <a:extLst>
              <a:ext uri="{FF2B5EF4-FFF2-40B4-BE49-F238E27FC236}">
                <a16:creationId xmlns:a16="http://schemas.microsoft.com/office/drawing/2014/main" id="{E8BA55D9-D641-4859-835A-ECF629C70EAB}"/>
              </a:ext>
            </a:extLst>
          </p:cNvPr>
          <p:cNvSpPr/>
          <p:nvPr/>
        </p:nvSpPr>
        <p:spPr bwMode="auto">
          <a:xfrm flipH="1">
            <a:off x="3543153" y="2193363"/>
            <a:ext cx="257585" cy="550295"/>
          </a:xfrm>
          <a:custGeom>
            <a:avLst/>
            <a:gdLst>
              <a:gd name="T0" fmla="*/ 65 w 65"/>
              <a:gd name="T1" fmla="*/ 138 h 138"/>
              <a:gd name="T2" fmla="*/ 15 w 65"/>
              <a:gd name="T3" fmla="*/ 138 h 138"/>
              <a:gd name="T4" fmla="*/ 11 w 65"/>
              <a:gd name="T5" fmla="*/ 128 h 138"/>
              <a:gd name="T6" fmla="*/ 2 w 65"/>
              <a:gd name="T7" fmla="*/ 119 h 138"/>
              <a:gd name="T8" fmla="*/ 0 w 65"/>
              <a:gd name="T9" fmla="*/ 116 h 138"/>
              <a:gd name="T10" fmla="*/ 0 w 65"/>
              <a:gd name="T11" fmla="*/ 23 h 138"/>
              <a:gd name="T12" fmla="*/ 2 w 65"/>
              <a:gd name="T13" fmla="*/ 19 h 138"/>
              <a:gd name="T14" fmla="*/ 14 w 65"/>
              <a:gd name="T15" fmla="*/ 3 h 138"/>
              <a:gd name="T16" fmla="*/ 15 w 65"/>
              <a:gd name="T17" fmla="*/ 0 h 138"/>
              <a:gd name="T18" fmla="*/ 65 w 65"/>
              <a:gd name="T19" fmla="*/ 0 h 138"/>
              <a:gd name="T20" fmla="*/ 65 w 65"/>
              <a:gd name="T21" fmla="*/ 13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5" h="138">
                <a:moveTo>
                  <a:pt x="65" y="138"/>
                </a:moveTo>
                <a:cubicBezTo>
                  <a:pt x="48" y="138"/>
                  <a:pt x="32" y="138"/>
                  <a:pt x="15" y="138"/>
                </a:cubicBezTo>
                <a:cubicBezTo>
                  <a:pt x="14" y="134"/>
                  <a:pt x="13" y="131"/>
                  <a:pt x="11" y="128"/>
                </a:cubicBezTo>
                <a:cubicBezTo>
                  <a:pt x="9" y="124"/>
                  <a:pt x="6" y="121"/>
                  <a:pt x="2" y="119"/>
                </a:cubicBezTo>
                <a:cubicBezTo>
                  <a:pt x="1" y="118"/>
                  <a:pt x="0" y="117"/>
                  <a:pt x="0" y="116"/>
                </a:cubicBezTo>
                <a:cubicBezTo>
                  <a:pt x="0" y="85"/>
                  <a:pt x="0" y="54"/>
                  <a:pt x="0" y="23"/>
                </a:cubicBezTo>
                <a:cubicBezTo>
                  <a:pt x="0" y="21"/>
                  <a:pt x="0" y="20"/>
                  <a:pt x="2" y="19"/>
                </a:cubicBezTo>
                <a:cubicBezTo>
                  <a:pt x="9" y="16"/>
                  <a:pt x="12" y="10"/>
                  <a:pt x="14" y="3"/>
                </a:cubicBezTo>
                <a:cubicBezTo>
                  <a:pt x="14" y="2"/>
                  <a:pt x="15" y="1"/>
                  <a:pt x="15" y="0"/>
                </a:cubicBezTo>
                <a:cubicBezTo>
                  <a:pt x="32" y="0"/>
                  <a:pt x="48" y="0"/>
                  <a:pt x="65" y="0"/>
                </a:cubicBezTo>
                <a:cubicBezTo>
                  <a:pt x="65" y="46"/>
                  <a:pt x="65" y="92"/>
                  <a:pt x="65" y="138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íSľïḑê">
            <a:extLst>
              <a:ext uri="{FF2B5EF4-FFF2-40B4-BE49-F238E27FC236}">
                <a16:creationId xmlns:a16="http://schemas.microsoft.com/office/drawing/2014/main" id="{55873A96-AC75-466C-B7E4-A2FC74C800AA}"/>
              </a:ext>
            </a:extLst>
          </p:cNvPr>
          <p:cNvSpPr/>
          <p:nvPr/>
        </p:nvSpPr>
        <p:spPr bwMode="auto">
          <a:xfrm flipH="1">
            <a:off x="4283713" y="1862601"/>
            <a:ext cx="576640" cy="96595"/>
          </a:xfrm>
          <a:custGeom>
            <a:avLst/>
            <a:gdLst>
              <a:gd name="T0" fmla="*/ 72 w 144"/>
              <a:gd name="T1" fmla="*/ 0 h 24"/>
              <a:gd name="T2" fmla="*/ 134 w 144"/>
              <a:gd name="T3" fmla="*/ 0 h 24"/>
              <a:gd name="T4" fmla="*/ 141 w 144"/>
              <a:gd name="T5" fmla="*/ 2 h 24"/>
              <a:gd name="T6" fmla="*/ 142 w 144"/>
              <a:gd name="T7" fmla="*/ 3 h 24"/>
              <a:gd name="T8" fmla="*/ 142 w 144"/>
              <a:gd name="T9" fmla="*/ 20 h 24"/>
              <a:gd name="T10" fmla="*/ 135 w 144"/>
              <a:gd name="T11" fmla="*/ 23 h 24"/>
              <a:gd name="T12" fmla="*/ 107 w 144"/>
              <a:gd name="T13" fmla="*/ 23 h 24"/>
              <a:gd name="T14" fmla="*/ 9 w 144"/>
              <a:gd name="T15" fmla="*/ 23 h 24"/>
              <a:gd name="T16" fmla="*/ 2 w 144"/>
              <a:gd name="T17" fmla="*/ 21 h 24"/>
              <a:gd name="T18" fmla="*/ 0 w 144"/>
              <a:gd name="T19" fmla="*/ 17 h 24"/>
              <a:gd name="T20" fmla="*/ 0 w 144"/>
              <a:gd name="T21" fmla="*/ 7 h 24"/>
              <a:gd name="T22" fmla="*/ 7 w 144"/>
              <a:gd name="T23" fmla="*/ 0 h 24"/>
              <a:gd name="T24" fmla="*/ 20 w 144"/>
              <a:gd name="T25" fmla="*/ 0 h 24"/>
              <a:gd name="T26" fmla="*/ 72 w 144"/>
              <a:gd name="T2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4" h="24">
                <a:moveTo>
                  <a:pt x="72" y="0"/>
                </a:moveTo>
                <a:cubicBezTo>
                  <a:pt x="93" y="0"/>
                  <a:pt x="113" y="0"/>
                  <a:pt x="134" y="0"/>
                </a:cubicBezTo>
                <a:cubicBezTo>
                  <a:pt x="136" y="0"/>
                  <a:pt x="138" y="1"/>
                  <a:pt x="141" y="2"/>
                </a:cubicBezTo>
                <a:cubicBezTo>
                  <a:pt x="141" y="2"/>
                  <a:pt x="142" y="3"/>
                  <a:pt x="142" y="3"/>
                </a:cubicBezTo>
                <a:cubicBezTo>
                  <a:pt x="144" y="6"/>
                  <a:pt x="144" y="18"/>
                  <a:pt x="142" y="20"/>
                </a:cubicBezTo>
                <a:cubicBezTo>
                  <a:pt x="140" y="22"/>
                  <a:pt x="137" y="23"/>
                  <a:pt x="135" y="23"/>
                </a:cubicBezTo>
                <a:cubicBezTo>
                  <a:pt x="126" y="24"/>
                  <a:pt x="116" y="23"/>
                  <a:pt x="107" y="23"/>
                </a:cubicBezTo>
                <a:cubicBezTo>
                  <a:pt x="74" y="23"/>
                  <a:pt x="42" y="23"/>
                  <a:pt x="9" y="23"/>
                </a:cubicBezTo>
                <a:cubicBezTo>
                  <a:pt x="7" y="23"/>
                  <a:pt x="4" y="22"/>
                  <a:pt x="2" y="21"/>
                </a:cubicBezTo>
                <a:cubicBezTo>
                  <a:pt x="1" y="20"/>
                  <a:pt x="0" y="18"/>
                  <a:pt x="0" y="17"/>
                </a:cubicBezTo>
                <a:cubicBezTo>
                  <a:pt x="0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6" y="0"/>
                  <a:pt x="20" y="0"/>
                </a:cubicBezTo>
                <a:cubicBezTo>
                  <a:pt x="37" y="0"/>
                  <a:pt x="55" y="0"/>
                  <a:pt x="72" y="0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íṥḻîdé">
            <a:extLst>
              <a:ext uri="{FF2B5EF4-FFF2-40B4-BE49-F238E27FC236}">
                <a16:creationId xmlns:a16="http://schemas.microsoft.com/office/drawing/2014/main" id="{9B3B5AA2-C691-412A-911C-A23BF35BF449}"/>
              </a:ext>
            </a:extLst>
          </p:cNvPr>
          <p:cNvSpPr/>
          <p:nvPr/>
        </p:nvSpPr>
        <p:spPr bwMode="auto">
          <a:xfrm flipH="1">
            <a:off x="5226240" y="3018808"/>
            <a:ext cx="412723" cy="117084"/>
          </a:xfrm>
          <a:custGeom>
            <a:avLst/>
            <a:gdLst>
              <a:gd name="T0" fmla="*/ 51 w 103"/>
              <a:gd name="T1" fmla="*/ 30 h 30"/>
              <a:gd name="T2" fmla="*/ 11 w 103"/>
              <a:gd name="T3" fmla="*/ 30 h 30"/>
              <a:gd name="T4" fmla="*/ 3 w 103"/>
              <a:gd name="T5" fmla="*/ 25 h 30"/>
              <a:gd name="T6" fmla="*/ 2 w 103"/>
              <a:gd name="T7" fmla="*/ 5 h 30"/>
              <a:gd name="T8" fmla="*/ 11 w 103"/>
              <a:gd name="T9" fmla="*/ 0 h 30"/>
              <a:gd name="T10" fmla="*/ 92 w 103"/>
              <a:gd name="T11" fmla="*/ 0 h 30"/>
              <a:gd name="T12" fmla="*/ 100 w 103"/>
              <a:gd name="T13" fmla="*/ 5 h 30"/>
              <a:gd name="T14" fmla="*/ 100 w 103"/>
              <a:gd name="T15" fmla="*/ 25 h 30"/>
              <a:gd name="T16" fmla="*/ 92 w 103"/>
              <a:gd name="T17" fmla="*/ 30 h 30"/>
              <a:gd name="T18" fmla="*/ 51 w 103"/>
              <a:gd name="T19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3" h="30">
                <a:moveTo>
                  <a:pt x="51" y="30"/>
                </a:moveTo>
                <a:cubicBezTo>
                  <a:pt x="38" y="30"/>
                  <a:pt x="24" y="30"/>
                  <a:pt x="11" y="30"/>
                </a:cubicBezTo>
                <a:cubicBezTo>
                  <a:pt x="7" y="30"/>
                  <a:pt x="4" y="28"/>
                  <a:pt x="3" y="25"/>
                </a:cubicBezTo>
                <a:cubicBezTo>
                  <a:pt x="0" y="18"/>
                  <a:pt x="0" y="12"/>
                  <a:pt x="2" y="5"/>
                </a:cubicBezTo>
                <a:cubicBezTo>
                  <a:pt x="4" y="1"/>
                  <a:pt x="7" y="0"/>
                  <a:pt x="11" y="0"/>
                </a:cubicBezTo>
                <a:cubicBezTo>
                  <a:pt x="38" y="0"/>
                  <a:pt x="65" y="0"/>
                  <a:pt x="92" y="0"/>
                </a:cubicBezTo>
                <a:cubicBezTo>
                  <a:pt x="96" y="0"/>
                  <a:pt x="98" y="1"/>
                  <a:pt x="100" y="5"/>
                </a:cubicBezTo>
                <a:cubicBezTo>
                  <a:pt x="103" y="12"/>
                  <a:pt x="103" y="18"/>
                  <a:pt x="100" y="25"/>
                </a:cubicBezTo>
                <a:cubicBezTo>
                  <a:pt x="98" y="29"/>
                  <a:pt x="96" y="30"/>
                  <a:pt x="92" y="30"/>
                </a:cubicBezTo>
                <a:cubicBezTo>
                  <a:pt x="78" y="30"/>
                  <a:pt x="65" y="30"/>
                  <a:pt x="51" y="30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" name="îṩḻîḍé">
            <a:extLst>
              <a:ext uri="{FF2B5EF4-FFF2-40B4-BE49-F238E27FC236}">
                <a16:creationId xmlns:a16="http://schemas.microsoft.com/office/drawing/2014/main" id="{CA0A465E-9F3F-488B-9DB3-08BAC6CDEAA9}"/>
              </a:ext>
            </a:extLst>
          </p:cNvPr>
          <p:cNvSpPr/>
          <p:nvPr/>
        </p:nvSpPr>
        <p:spPr>
          <a:xfrm rot="5400000">
            <a:off x="2612439" y="1794610"/>
            <a:ext cx="430920" cy="1379391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9" name="iS1ide">
            <a:extLst>
              <a:ext uri="{FF2B5EF4-FFF2-40B4-BE49-F238E27FC236}">
                <a16:creationId xmlns:a16="http://schemas.microsoft.com/office/drawing/2014/main" id="{7B389C6A-FA6D-41DE-8D3A-70C9B1677348}"/>
              </a:ext>
            </a:extLst>
          </p:cNvPr>
          <p:cNvSpPr/>
          <p:nvPr/>
        </p:nvSpPr>
        <p:spPr>
          <a:xfrm>
            <a:off x="1903371" y="1"/>
            <a:ext cx="431012" cy="2484345"/>
          </a:xfrm>
          <a:custGeom>
            <a:avLst/>
            <a:gdLst>
              <a:gd name="connsiteX0" fmla="*/ 0 w 431012"/>
              <a:gd name="connsiteY0" fmla="*/ 0 h 2484345"/>
              <a:gd name="connsiteX1" fmla="*/ 431012 w 431012"/>
              <a:gd name="connsiteY1" fmla="*/ 0 h 2484345"/>
              <a:gd name="connsiteX2" fmla="*/ 431012 w 431012"/>
              <a:gd name="connsiteY2" fmla="*/ 2484345 h 2484345"/>
              <a:gd name="connsiteX3" fmla="*/ 0 w 431012"/>
              <a:gd name="connsiteY3" fmla="*/ 2484345 h 2484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12" h="2484345">
                <a:moveTo>
                  <a:pt x="0" y="0"/>
                </a:moveTo>
                <a:lnTo>
                  <a:pt x="431012" y="0"/>
                </a:lnTo>
                <a:lnTo>
                  <a:pt x="431012" y="2484345"/>
                </a:lnTo>
                <a:lnTo>
                  <a:pt x="0" y="2484345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10" name="iṧḻîḍê">
            <a:extLst>
              <a:ext uri="{FF2B5EF4-FFF2-40B4-BE49-F238E27FC236}">
                <a16:creationId xmlns:a16="http://schemas.microsoft.com/office/drawing/2014/main" id="{BDA22C8F-C395-47CB-AE8F-F906CC6DAB99}"/>
              </a:ext>
            </a:extLst>
          </p:cNvPr>
          <p:cNvSpPr/>
          <p:nvPr/>
        </p:nvSpPr>
        <p:spPr>
          <a:xfrm>
            <a:off x="1903199" y="2245402"/>
            <a:ext cx="454365" cy="454364"/>
          </a:xfrm>
          <a:prstGeom prst="ellipse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1" name="ïslïďé">
            <a:extLst>
              <a:ext uri="{FF2B5EF4-FFF2-40B4-BE49-F238E27FC236}">
                <a16:creationId xmlns:a16="http://schemas.microsoft.com/office/drawing/2014/main" id="{91DFED27-63F0-4592-96A5-797584A6A3CD}"/>
              </a:ext>
            </a:extLst>
          </p:cNvPr>
          <p:cNvSpPr txBox="1"/>
          <p:nvPr/>
        </p:nvSpPr>
        <p:spPr>
          <a:xfrm>
            <a:off x="6792454" y="1223677"/>
            <a:ext cx="539201" cy="438211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prstTxWarp prst="textPlain">
              <a:avLst/>
            </a:prstTxWarp>
            <a:normAutofit fontScale="55000" lnSpcReduction="20000"/>
          </a:bodyPr>
          <a:lstStyle/>
          <a:p>
            <a:r>
              <a:rPr lang="en-US" sz="4800" dirty="0"/>
              <a:t>“</a:t>
            </a:r>
          </a:p>
        </p:txBody>
      </p:sp>
      <p:sp>
        <p:nvSpPr>
          <p:cNvPr id="12" name="iŝļiḍé">
            <a:extLst>
              <a:ext uri="{FF2B5EF4-FFF2-40B4-BE49-F238E27FC236}">
                <a16:creationId xmlns:a16="http://schemas.microsoft.com/office/drawing/2014/main" id="{476C5EAA-3F7D-425E-87A8-CC961CF08322}"/>
              </a:ext>
            </a:extLst>
          </p:cNvPr>
          <p:cNvSpPr/>
          <p:nvPr/>
        </p:nvSpPr>
        <p:spPr>
          <a:xfrm rot="18900000">
            <a:off x="5254742" y="3524649"/>
            <a:ext cx="355704" cy="355704"/>
          </a:xfrm>
          <a:prstGeom prst="teardrop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3" name="iṣļïḑê">
            <a:extLst>
              <a:ext uri="{FF2B5EF4-FFF2-40B4-BE49-F238E27FC236}">
                <a16:creationId xmlns:a16="http://schemas.microsoft.com/office/drawing/2014/main" id="{02A716C4-F708-4F68-8027-DC9BE29FAC3A}"/>
              </a:ext>
            </a:extLst>
          </p:cNvPr>
          <p:cNvSpPr txBox="1"/>
          <p:nvPr/>
        </p:nvSpPr>
        <p:spPr>
          <a:xfrm>
            <a:off x="3816781" y="2167717"/>
            <a:ext cx="1512169" cy="584775"/>
          </a:xfrm>
          <a:prstGeom prst="rect">
            <a:avLst/>
          </a:prstGeom>
          <a:noFill/>
        </p:spPr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key words</a:t>
            </a:r>
          </a:p>
        </p:txBody>
      </p:sp>
      <p:sp>
        <p:nvSpPr>
          <p:cNvPr id="14" name="işľïḋe">
            <a:extLst>
              <a:ext uri="{FF2B5EF4-FFF2-40B4-BE49-F238E27FC236}">
                <a16:creationId xmlns:a16="http://schemas.microsoft.com/office/drawing/2014/main" id="{32488F28-2637-40A2-A70B-78A102F934F9}"/>
              </a:ext>
            </a:extLst>
          </p:cNvPr>
          <p:cNvSpPr txBox="1"/>
          <p:nvPr/>
        </p:nvSpPr>
        <p:spPr>
          <a:xfrm>
            <a:off x="6654835" y="1806008"/>
            <a:ext cx="4865653" cy="15432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 fontScale="92500" lnSpcReduction="20000"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Unified fonts make reading more fluent.</a:t>
            </a:r>
          </a:p>
          <a:p>
            <a:pPr>
              <a:lnSpc>
                <a:spcPct val="150000"/>
              </a:lnSpc>
            </a:pPr>
            <a:r>
              <a:rPr lang="en-US" altLang="zh-CN" b="1" dirty="0"/>
              <a:t>Theme color makes PPT more convenient to change.</a:t>
            </a:r>
          </a:p>
          <a:p>
            <a:pPr>
              <a:lnSpc>
                <a:spcPct val="150000"/>
              </a:lnSpc>
            </a:pPr>
            <a:r>
              <a:rPr lang="en-US" altLang="zh-CN" sz="1400" dirty="0"/>
              <a:t>Adjust the spacing to adapt to Chinese typesetting, use the reference line in PPT.</a:t>
            </a:r>
            <a:endParaRPr lang="en-US" sz="1600" b="1" dirty="0"/>
          </a:p>
        </p:txBody>
      </p:sp>
      <p:sp>
        <p:nvSpPr>
          <p:cNvPr id="31" name="iśḻíďé">
            <a:extLst>
              <a:ext uri="{FF2B5EF4-FFF2-40B4-BE49-F238E27FC236}">
                <a16:creationId xmlns:a16="http://schemas.microsoft.com/office/drawing/2014/main" id="{D27A7347-185A-4943-A0B7-0811D2F87903}"/>
              </a:ext>
            </a:extLst>
          </p:cNvPr>
          <p:cNvSpPr/>
          <p:nvPr/>
        </p:nvSpPr>
        <p:spPr>
          <a:xfrm rot="18900000">
            <a:off x="4899520" y="4343400"/>
            <a:ext cx="371806" cy="371806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2" name="iṧ1iďê">
            <a:extLst>
              <a:ext uri="{FF2B5EF4-FFF2-40B4-BE49-F238E27FC236}">
                <a16:creationId xmlns:a16="http://schemas.microsoft.com/office/drawing/2014/main" id="{8673FD2B-BA73-414B-BB1B-04D018D3AA49}"/>
              </a:ext>
            </a:extLst>
          </p:cNvPr>
          <p:cNvSpPr/>
          <p:nvPr/>
        </p:nvSpPr>
        <p:spPr bwMode="auto">
          <a:xfrm>
            <a:off x="4969867" y="4390178"/>
            <a:ext cx="231116" cy="218513"/>
          </a:xfrm>
          <a:custGeom>
            <a:avLst/>
            <a:gdLst>
              <a:gd name="connsiteX0" fmla="*/ 446385 w 597810"/>
              <a:gd name="connsiteY0" fmla="*/ 350589 h 565214"/>
              <a:gd name="connsiteX1" fmla="*/ 478157 w 597810"/>
              <a:gd name="connsiteY1" fmla="*/ 350589 h 565214"/>
              <a:gd name="connsiteX2" fmla="*/ 478157 w 597810"/>
              <a:gd name="connsiteY2" fmla="*/ 422953 h 565214"/>
              <a:gd name="connsiteX3" fmla="*/ 535248 w 597810"/>
              <a:gd name="connsiteY3" fmla="*/ 422953 h 565214"/>
              <a:gd name="connsiteX4" fmla="*/ 535248 w 597810"/>
              <a:gd name="connsiteY4" fmla="*/ 454674 h 565214"/>
              <a:gd name="connsiteX5" fmla="*/ 446385 w 597810"/>
              <a:gd name="connsiteY5" fmla="*/ 454674 h 565214"/>
              <a:gd name="connsiteX6" fmla="*/ 463750 w 597810"/>
              <a:gd name="connsiteY6" fmla="*/ 337170 h 565214"/>
              <a:gd name="connsiteX7" fmla="*/ 369411 w 597810"/>
              <a:gd name="connsiteY7" fmla="*/ 431362 h 565214"/>
              <a:gd name="connsiteX8" fmla="*/ 463750 w 597810"/>
              <a:gd name="connsiteY8" fmla="*/ 525554 h 565214"/>
              <a:gd name="connsiteX9" fmla="*/ 558088 w 597810"/>
              <a:gd name="connsiteY9" fmla="*/ 431362 h 565214"/>
              <a:gd name="connsiteX10" fmla="*/ 463750 w 597810"/>
              <a:gd name="connsiteY10" fmla="*/ 337170 h 565214"/>
              <a:gd name="connsiteX11" fmla="*/ 463750 w 597810"/>
              <a:gd name="connsiteY11" fmla="*/ 297510 h 565214"/>
              <a:gd name="connsiteX12" fmla="*/ 597810 w 597810"/>
              <a:gd name="connsiteY12" fmla="*/ 431362 h 565214"/>
              <a:gd name="connsiteX13" fmla="*/ 463750 w 597810"/>
              <a:gd name="connsiteY13" fmla="*/ 565214 h 565214"/>
              <a:gd name="connsiteX14" fmla="*/ 393740 w 597810"/>
              <a:gd name="connsiteY14" fmla="*/ 545384 h 565214"/>
              <a:gd name="connsiteX15" fmla="*/ 0 w 597810"/>
              <a:gd name="connsiteY15" fmla="*/ 545384 h 565214"/>
              <a:gd name="connsiteX16" fmla="*/ 97318 w 597810"/>
              <a:gd name="connsiteY16" fmla="*/ 383274 h 565214"/>
              <a:gd name="connsiteX17" fmla="*/ 122144 w 597810"/>
              <a:gd name="connsiteY17" fmla="*/ 361957 h 565214"/>
              <a:gd name="connsiteX18" fmla="*/ 190167 w 597810"/>
              <a:gd name="connsiteY18" fmla="*/ 330725 h 565214"/>
              <a:gd name="connsiteX19" fmla="*/ 222937 w 597810"/>
              <a:gd name="connsiteY19" fmla="*/ 302963 h 565214"/>
              <a:gd name="connsiteX20" fmla="*/ 279541 w 597810"/>
              <a:gd name="connsiteY20" fmla="*/ 358983 h 565214"/>
              <a:gd name="connsiteX21" fmla="*/ 335647 w 597810"/>
              <a:gd name="connsiteY21" fmla="*/ 302963 h 565214"/>
              <a:gd name="connsiteX22" fmla="*/ 368418 w 597810"/>
              <a:gd name="connsiteY22" fmla="*/ 330725 h 565214"/>
              <a:gd name="connsiteX23" fmla="*/ 373383 w 597810"/>
              <a:gd name="connsiteY23" fmla="*/ 332708 h 565214"/>
              <a:gd name="connsiteX24" fmla="*/ 463750 w 597810"/>
              <a:gd name="connsiteY24" fmla="*/ 297510 h 565214"/>
              <a:gd name="connsiteX25" fmla="*/ 279051 w 597810"/>
              <a:gd name="connsiteY25" fmla="*/ 0 h 565214"/>
              <a:gd name="connsiteX26" fmla="*/ 279547 w 597810"/>
              <a:gd name="connsiteY26" fmla="*/ 0 h 565214"/>
              <a:gd name="connsiteX27" fmla="*/ 280044 w 597810"/>
              <a:gd name="connsiteY27" fmla="*/ 0 h 565214"/>
              <a:gd name="connsiteX28" fmla="*/ 408651 w 597810"/>
              <a:gd name="connsiteY28" fmla="*/ 126938 h 565214"/>
              <a:gd name="connsiteX29" fmla="*/ 279547 w 597810"/>
              <a:gd name="connsiteY29" fmla="*/ 309908 h 565214"/>
              <a:gd name="connsiteX30" fmla="*/ 279051 w 597810"/>
              <a:gd name="connsiteY30" fmla="*/ 309908 h 565214"/>
              <a:gd name="connsiteX31" fmla="*/ 149947 w 597810"/>
              <a:gd name="connsiteY31" fmla="*/ 126938 h 565214"/>
              <a:gd name="connsiteX32" fmla="*/ 279051 w 597810"/>
              <a:gd name="connsiteY32" fmla="*/ 0 h 56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97810" h="565214">
                <a:moveTo>
                  <a:pt x="446385" y="350589"/>
                </a:moveTo>
                <a:lnTo>
                  <a:pt x="478157" y="350589"/>
                </a:lnTo>
                <a:lnTo>
                  <a:pt x="478157" y="422953"/>
                </a:lnTo>
                <a:lnTo>
                  <a:pt x="535248" y="422953"/>
                </a:lnTo>
                <a:lnTo>
                  <a:pt x="535248" y="454674"/>
                </a:lnTo>
                <a:lnTo>
                  <a:pt x="446385" y="454674"/>
                </a:lnTo>
                <a:close/>
                <a:moveTo>
                  <a:pt x="463750" y="337170"/>
                </a:moveTo>
                <a:cubicBezTo>
                  <a:pt x="411615" y="337170"/>
                  <a:pt x="369411" y="379308"/>
                  <a:pt x="369411" y="431362"/>
                </a:cubicBezTo>
                <a:cubicBezTo>
                  <a:pt x="369411" y="483416"/>
                  <a:pt x="411615" y="525554"/>
                  <a:pt x="463750" y="525554"/>
                </a:cubicBezTo>
                <a:cubicBezTo>
                  <a:pt x="515884" y="525554"/>
                  <a:pt x="558088" y="483416"/>
                  <a:pt x="558088" y="431362"/>
                </a:cubicBezTo>
                <a:cubicBezTo>
                  <a:pt x="558088" y="379308"/>
                  <a:pt x="515884" y="337170"/>
                  <a:pt x="463750" y="337170"/>
                </a:cubicBezTo>
                <a:close/>
                <a:moveTo>
                  <a:pt x="463750" y="297510"/>
                </a:moveTo>
                <a:cubicBezTo>
                  <a:pt x="537731" y="297510"/>
                  <a:pt x="597810" y="357496"/>
                  <a:pt x="597810" y="431362"/>
                </a:cubicBezTo>
                <a:cubicBezTo>
                  <a:pt x="597810" y="505228"/>
                  <a:pt x="537731" y="565214"/>
                  <a:pt x="463750" y="565214"/>
                </a:cubicBezTo>
                <a:cubicBezTo>
                  <a:pt x="437931" y="565214"/>
                  <a:pt x="414098" y="557778"/>
                  <a:pt x="393740" y="545384"/>
                </a:cubicBezTo>
                <a:lnTo>
                  <a:pt x="0" y="545384"/>
                </a:lnTo>
                <a:lnTo>
                  <a:pt x="97318" y="383274"/>
                </a:lnTo>
                <a:cubicBezTo>
                  <a:pt x="103276" y="373359"/>
                  <a:pt x="112214" y="365923"/>
                  <a:pt x="122144" y="361957"/>
                </a:cubicBezTo>
                <a:lnTo>
                  <a:pt x="190167" y="330725"/>
                </a:lnTo>
                <a:lnTo>
                  <a:pt x="222937" y="302963"/>
                </a:lnTo>
                <a:lnTo>
                  <a:pt x="279541" y="358983"/>
                </a:lnTo>
                <a:lnTo>
                  <a:pt x="335647" y="302963"/>
                </a:lnTo>
                <a:lnTo>
                  <a:pt x="368418" y="330725"/>
                </a:lnTo>
                <a:lnTo>
                  <a:pt x="373383" y="332708"/>
                </a:lnTo>
                <a:cubicBezTo>
                  <a:pt x="397216" y="310895"/>
                  <a:pt x="428993" y="297510"/>
                  <a:pt x="463750" y="297510"/>
                </a:cubicBezTo>
                <a:close/>
                <a:moveTo>
                  <a:pt x="279051" y="0"/>
                </a:moveTo>
                <a:cubicBezTo>
                  <a:pt x="279051" y="0"/>
                  <a:pt x="279547" y="0"/>
                  <a:pt x="279547" y="0"/>
                </a:cubicBezTo>
                <a:cubicBezTo>
                  <a:pt x="279547" y="0"/>
                  <a:pt x="279547" y="0"/>
                  <a:pt x="280044" y="0"/>
                </a:cubicBezTo>
                <a:cubicBezTo>
                  <a:pt x="360485" y="1983"/>
                  <a:pt x="409644" y="47602"/>
                  <a:pt x="408651" y="126938"/>
                </a:cubicBezTo>
                <a:cubicBezTo>
                  <a:pt x="407658" y="241481"/>
                  <a:pt x="359492" y="310900"/>
                  <a:pt x="279547" y="309908"/>
                </a:cubicBezTo>
                <a:cubicBezTo>
                  <a:pt x="279547" y="309908"/>
                  <a:pt x="279051" y="309908"/>
                  <a:pt x="279051" y="309908"/>
                </a:cubicBezTo>
                <a:cubicBezTo>
                  <a:pt x="199602" y="310900"/>
                  <a:pt x="151437" y="241481"/>
                  <a:pt x="149947" y="126938"/>
                </a:cubicBezTo>
                <a:cubicBezTo>
                  <a:pt x="148954" y="47602"/>
                  <a:pt x="198609" y="1983"/>
                  <a:pt x="2790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29" name="íšľíḓé">
            <a:extLst>
              <a:ext uri="{FF2B5EF4-FFF2-40B4-BE49-F238E27FC236}">
                <a16:creationId xmlns:a16="http://schemas.microsoft.com/office/drawing/2014/main" id="{A8E8203B-B1EC-4B9A-8912-D0D42B84F418}"/>
              </a:ext>
            </a:extLst>
          </p:cNvPr>
          <p:cNvSpPr/>
          <p:nvPr/>
        </p:nvSpPr>
        <p:spPr>
          <a:xfrm rot="18900000">
            <a:off x="5353282" y="4858774"/>
            <a:ext cx="432200" cy="432200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0" name="işļíďé">
            <a:extLst>
              <a:ext uri="{FF2B5EF4-FFF2-40B4-BE49-F238E27FC236}">
                <a16:creationId xmlns:a16="http://schemas.microsoft.com/office/drawing/2014/main" id="{D87A7280-124E-4D8C-BCAC-B4E84345A462}"/>
              </a:ext>
            </a:extLst>
          </p:cNvPr>
          <p:cNvSpPr/>
          <p:nvPr/>
        </p:nvSpPr>
        <p:spPr bwMode="auto">
          <a:xfrm>
            <a:off x="5435055" y="4913150"/>
            <a:ext cx="268657" cy="254007"/>
          </a:xfrm>
          <a:custGeom>
            <a:avLst/>
            <a:gdLst>
              <a:gd name="connsiteX0" fmla="*/ 446385 w 597810"/>
              <a:gd name="connsiteY0" fmla="*/ 350589 h 565214"/>
              <a:gd name="connsiteX1" fmla="*/ 478157 w 597810"/>
              <a:gd name="connsiteY1" fmla="*/ 350589 h 565214"/>
              <a:gd name="connsiteX2" fmla="*/ 478157 w 597810"/>
              <a:gd name="connsiteY2" fmla="*/ 422953 h 565214"/>
              <a:gd name="connsiteX3" fmla="*/ 535248 w 597810"/>
              <a:gd name="connsiteY3" fmla="*/ 422953 h 565214"/>
              <a:gd name="connsiteX4" fmla="*/ 535248 w 597810"/>
              <a:gd name="connsiteY4" fmla="*/ 454674 h 565214"/>
              <a:gd name="connsiteX5" fmla="*/ 446385 w 597810"/>
              <a:gd name="connsiteY5" fmla="*/ 454674 h 565214"/>
              <a:gd name="connsiteX6" fmla="*/ 463750 w 597810"/>
              <a:gd name="connsiteY6" fmla="*/ 337170 h 565214"/>
              <a:gd name="connsiteX7" fmla="*/ 369411 w 597810"/>
              <a:gd name="connsiteY7" fmla="*/ 431362 h 565214"/>
              <a:gd name="connsiteX8" fmla="*/ 463750 w 597810"/>
              <a:gd name="connsiteY8" fmla="*/ 525554 h 565214"/>
              <a:gd name="connsiteX9" fmla="*/ 558088 w 597810"/>
              <a:gd name="connsiteY9" fmla="*/ 431362 h 565214"/>
              <a:gd name="connsiteX10" fmla="*/ 463750 w 597810"/>
              <a:gd name="connsiteY10" fmla="*/ 337170 h 565214"/>
              <a:gd name="connsiteX11" fmla="*/ 463750 w 597810"/>
              <a:gd name="connsiteY11" fmla="*/ 297510 h 565214"/>
              <a:gd name="connsiteX12" fmla="*/ 597810 w 597810"/>
              <a:gd name="connsiteY12" fmla="*/ 431362 h 565214"/>
              <a:gd name="connsiteX13" fmla="*/ 463750 w 597810"/>
              <a:gd name="connsiteY13" fmla="*/ 565214 h 565214"/>
              <a:gd name="connsiteX14" fmla="*/ 393740 w 597810"/>
              <a:gd name="connsiteY14" fmla="*/ 545384 h 565214"/>
              <a:gd name="connsiteX15" fmla="*/ 0 w 597810"/>
              <a:gd name="connsiteY15" fmla="*/ 545384 h 565214"/>
              <a:gd name="connsiteX16" fmla="*/ 97318 w 597810"/>
              <a:gd name="connsiteY16" fmla="*/ 383274 h 565214"/>
              <a:gd name="connsiteX17" fmla="*/ 122144 w 597810"/>
              <a:gd name="connsiteY17" fmla="*/ 361957 h 565214"/>
              <a:gd name="connsiteX18" fmla="*/ 190167 w 597810"/>
              <a:gd name="connsiteY18" fmla="*/ 330725 h 565214"/>
              <a:gd name="connsiteX19" fmla="*/ 222937 w 597810"/>
              <a:gd name="connsiteY19" fmla="*/ 302963 h 565214"/>
              <a:gd name="connsiteX20" fmla="*/ 279541 w 597810"/>
              <a:gd name="connsiteY20" fmla="*/ 358983 h 565214"/>
              <a:gd name="connsiteX21" fmla="*/ 335647 w 597810"/>
              <a:gd name="connsiteY21" fmla="*/ 302963 h 565214"/>
              <a:gd name="connsiteX22" fmla="*/ 368418 w 597810"/>
              <a:gd name="connsiteY22" fmla="*/ 330725 h 565214"/>
              <a:gd name="connsiteX23" fmla="*/ 373383 w 597810"/>
              <a:gd name="connsiteY23" fmla="*/ 332708 h 565214"/>
              <a:gd name="connsiteX24" fmla="*/ 463750 w 597810"/>
              <a:gd name="connsiteY24" fmla="*/ 297510 h 565214"/>
              <a:gd name="connsiteX25" fmla="*/ 279051 w 597810"/>
              <a:gd name="connsiteY25" fmla="*/ 0 h 565214"/>
              <a:gd name="connsiteX26" fmla="*/ 279547 w 597810"/>
              <a:gd name="connsiteY26" fmla="*/ 0 h 565214"/>
              <a:gd name="connsiteX27" fmla="*/ 280044 w 597810"/>
              <a:gd name="connsiteY27" fmla="*/ 0 h 565214"/>
              <a:gd name="connsiteX28" fmla="*/ 408651 w 597810"/>
              <a:gd name="connsiteY28" fmla="*/ 126938 h 565214"/>
              <a:gd name="connsiteX29" fmla="*/ 279547 w 597810"/>
              <a:gd name="connsiteY29" fmla="*/ 309908 h 565214"/>
              <a:gd name="connsiteX30" fmla="*/ 279051 w 597810"/>
              <a:gd name="connsiteY30" fmla="*/ 309908 h 565214"/>
              <a:gd name="connsiteX31" fmla="*/ 149947 w 597810"/>
              <a:gd name="connsiteY31" fmla="*/ 126938 h 565214"/>
              <a:gd name="connsiteX32" fmla="*/ 279051 w 597810"/>
              <a:gd name="connsiteY32" fmla="*/ 0 h 56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97810" h="565214">
                <a:moveTo>
                  <a:pt x="446385" y="350589"/>
                </a:moveTo>
                <a:lnTo>
                  <a:pt x="478157" y="350589"/>
                </a:lnTo>
                <a:lnTo>
                  <a:pt x="478157" y="422953"/>
                </a:lnTo>
                <a:lnTo>
                  <a:pt x="535248" y="422953"/>
                </a:lnTo>
                <a:lnTo>
                  <a:pt x="535248" y="454674"/>
                </a:lnTo>
                <a:lnTo>
                  <a:pt x="446385" y="454674"/>
                </a:lnTo>
                <a:close/>
                <a:moveTo>
                  <a:pt x="463750" y="337170"/>
                </a:moveTo>
                <a:cubicBezTo>
                  <a:pt x="411615" y="337170"/>
                  <a:pt x="369411" y="379308"/>
                  <a:pt x="369411" y="431362"/>
                </a:cubicBezTo>
                <a:cubicBezTo>
                  <a:pt x="369411" y="483416"/>
                  <a:pt x="411615" y="525554"/>
                  <a:pt x="463750" y="525554"/>
                </a:cubicBezTo>
                <a:cubicBezTo>
                  <a:pt x="515884" y="525554"/>
                  <a:pt x="558088" y="483416"/>
                  <a:pt x="558088" y="431362"/>
                </a:cubicBezTo>
                <a:cubicBezTo>
                  <a:pt x="558088" y="379308"/>
                  <a:pt x="515884" y="337170"/>
                  <a:pt x="463750" y="337170"/>
                </a:cubicBezTo>
                <a:close/>
                <a:moveTo>
                  <a:pt x="463750" y="297510"/>
                </a:moveTo>
                <a:cubicBezTo>
                  <a:pt x="537731" y="297510"/>
                  <a:pt x="597810" y="357496"/>
                  <a:pt x="597810" y="431362"/>
                </a:cubicBezTo>
                <a:cubicBezTo>
                  <a:pt x="597810" y="505228"/>
                  <a:pt x="537731" y="565214"/>
                  <a:pt x="463750" y="565214"/>
                </a:cubicBezTo>
                <a:cubicBezTo>
                  <a:pt x="437931" y="565214"/>
                  <a:pt x="414098" y="557778"/>
                  <a:pt x="393740" y="545384"/>
                </a:cubicBezTo>
                <a:lnTo>
                  <a:pt x="0" y="545384"/>
                </a:lnTo>
                <a:lnTo>
                  <a:pt x="97318" y="383274"/>
                </a:lnTo>
                <a:cubicBezTo>
                  <a:pt x="103276" y="373359"/>
                  <a:pt x="112214" y="365923"/>
                  <a:pt x="122144" y="361957"/>
                </a:cubicBezTo>
                <a:lnTo>
                  <a:pt x="190167" y="330725"/>
                </a:lnTo>
                <a:lnTo>
                  <a:pt x="222937" y="302963"/>
                </a:lnTo>
                <a:lnTo>
                  <a:pt x="279541" y="358983"/>
                </a:lnTo>
                <a:lnTo>
                  <a:pt x="335647" y="302963"/>
                </a:lnTo>
                <a:lnTo>
                  <a:pt x="368418" y="330725"/>
                </a:lnTo>
                <a:lnTo>
                  <a:pt x="373383" y="332708"/>
                </a:lnTo>
                <a:cubicBezTo>
                  <a:pt x="397216" y="310895"/>
                  <a:pt x="428993" y="297510"/>
                  <a:pt x="463750" y="297510"/>
                </a:cubicBezTo>
                <a:close/>
                <a:moveTo>
                  <a:pt x="279051" y="0"/>
                </a:moveTo>
                <a:cubicBezTo>
                  <a:pt x="279051" y="0"/>
                  <a:pt x="279547" y="0"/>
                  <a:pt x="279547" y="0"/>
                </a:cubicBezTo>
                <a:cubicBezTo>
                  <a:pt x="279547" y="0"/>
                  <a:pt x="279547" y="0"/>
                  <a:pt x="280044" y="0"/>
                </a:cubicBezTo>
                <a:cubicBezTo>
                  <a:pt x="360485" y="1983"/>
                  <a:pt x="409644" y="47602"/>
                  <a:pt x="408651" y="126938"/>
                </a:cubicBezTo>
                <a:cubicBezTo>
                  <a:pt x="407658" y="241481"/>
                  <a:pt x="359492" y="310900"/>
                  <a:pt x="279547" y="309908"/>
                </a:cubicBezTo>
                <a:cubicBezTo>
                  <a:pt x="279547" y="309908"/>
                  <a:pt x="279051" y="309908"/>
                  <a:pt x="279051" y="309908"/>
                </a:cubicBezTo>
                <a:cubicBezTo>
                  <a:pt x="199602" y="310900"/>
                  <a:pt x="151437" y="241481"/>
                  <a:pt x="149947" y="126938"/>
                </a:cubicBezTo>
                <a:cubicBezTo>
                  <a:pt x="148954" y="47602"/>
                  <a:pt x="198609" y="1983"/>
                  <a:pt x="2790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17" name="îSliḑè">
            <a:extLst>
              <a:ext uri="{FF2B5EF4-FFF2-40B4-BE49-F238E27FC236}">
                <a16:creationId xmlns:a16="http://schemas.microsoft.com/office/drawing/2014/main" id="{6077CDC7-D93B-4EA0-BCEF-B0C2DA06FAAB}"/>
              </a:ext>
            </a:extLst>
          </p:cNvPr>
          <p:cNvSpPr/>
          <p:nvPr/>
        </p:nvSpPr>
        <p:spPr>
          <a:xfrm rot="18900000">
            <a:off x="5609118" y="3970527"/>
            <a:ext cx="254765" cy="254765"/>
          </a:xfrm>
          <a:prstGeom prst="teardrop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" name="íSḻiḓé">
            <a:extLst>
              <a:ext uri="{FF2B5EF4-FFF2-40B4-BE49-F238E27FC236}">
                <a16:creationId xmlns:a16="http://schemas.microsoft.com/office/drawing/2014/main" id="{199CDBD0-05DA-4783-9B6F-ADBA491CA7CD}"/>
              </a:ext>
            </a:extLst>
          </p:cNvPr>
          <p:cNvSpPr/>
          <p:nvPr/>
        </p:nvSpPr>
        <p:spPr>
          <a:xfrm rot="18900000">
            <a:off x="5368425" y="4284238"/>
            <a:ext cx="292694" cy="292694"/>
          </a:xfrm>
          <a:prstGeom prst="teardrop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9" name="ïŝḻïdé">
            <a:extLst>
              <a:ext uri="{FF2B5EF4-FFF2-40B4-BE49-F238E27FC236}">
                <a16:creationId xmlns:a16="http://schemas.microsoft.com/office/drawing/2014/main" id="{0BF0D335-A313-4D6F-A947-5B559B40FA88}"/>
              </a:ext>
            </a:extLst>
          </p:cNvPr>
          <p:cNvSpPr/>
          <p:nvPr/>
        </p:nvSpPr>
        <p:spPr>
          <a:xfrm rot="18900000">
            <a:off x="5016291" y="4868930"/>
            <a:ext cx="275704" cy="275704"/>
          </a:xfrm>
          <a:prstGeom prst="teardrop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0" name="îšḷîḑé">
            <a:extLst>
              <a:ext uri="{FF2B5EF4-FFF2-40B4-BE49-F238E27FC236}">
                <a16:creationId xmlns:a16="http://schemas.microsoft.com/office/drawing/2014/main" id="{3315B924-32EA-476E-B57B-BB10539C3A9D}"/>
              </a:ext>
            </a:extLst>
          </p:cNvPr>
          <p:cNvSpPr/>
          <p:nvPr/>
        </p:nvSpPr>
        <p:spPr>
          <a:xfrm rot="18900000">
            <a:off x="5252710" y="5380039"/>
            <a:ext cx="346876" cy="346876"/>
          </a:xfrm>
          <a:prstGeom prst="teardrop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1" name="íŝlîḓe">
            <a:extLst>
              <a:ext uri="{FF2B5EF4-FFF2-40B4-BE49-F238E27FC236}">
                <a16:creationId xmlns:a16="http://schemas.microsoft.com/office/drawing/2014/main" id="{FCBBF634-FAE6-4037-A961-CC64A2AD1C34}"/>
              </a:ext>
            </a:extLst>
          </p:cNvPr>
          <p:cNvSpPr/>
          <p:nvPr/>
        </p:nvSpPr>
        <p:spPr>
          <a:xfrm rot="18900000">
            <a:off x="5350267" y="4004303"/>
            <a:ext cx="136281" cy="136281"/>
          </a:xfrm>
          <a:prstGeom prst="teardrop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7685AC7B-B23B-4BCF-A6CA-D1392327569D}"/>
              </a:ext>
            </a:extLst>
          </p:cNvPr>
          <p:cNvCxnSpPr>
            <a:cxnSpLocks/>
          </p:cNvCxnSpPr>
          <p:nvPr/>
        </p:nvCxnSpPr>
        <p:spPr>
          <a:xfrm>
            <a:off x="6743700" y="3607001"/>
            <a:ext cx="4776788" cy="0"/>
          </a:xfrm>
          <a:prstGeom prst="line">
            <a:avLst/>
          </a:prstGeom>
          <a:ln w="952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îṣľíḓê">
            <a:extLst>
              <a:ext uri="{FF2B5EF4-FFF2-40B4-BE49-F238E27FC236}">
                <a16:creationId xmlns:a16="http://schemas.microsoft.com/office/drawing/2014/main" id="{C9E33436-7ACD-42BD-B880-BB47B165772B}"/>
              </a:ext>
            </a:extLst>
          </p:cNvPr>
          <p:cNvSpPr/>
          <p:nvPr/>
        </p:nvSpPr>
        <p:spPr bwMode="auto">
          <a:xfrm>
            <a:off x="6654834" y="4792210"/>
            <a:ext cx="4865653" cy="1351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endParaRPr lang="en-US" altLang="zh-CN" sz="8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You can use the icon library in </a:t>
            </a:r>
            <a:r>
              <a:rPr lang="en-US" altLang="zh-CN" sz="800" dirty="0" err="1"/>
              <a:t>iSlide</a:t>
            </a:r>
            <a:r>
              <a:rPr lang="en-US" altLang="zh-CN" sz="800" dirty="0"/>
              <a:t>  (www.islide.cc) to filter and replace existing icon elements with one click.</a:t>
            </a:r>
          </a:p>
        </p:txBody>
      </p:sp>
      <p:sp>
        <p:nvSpPr>
          <p:cNvPr id="24" name="îşlîḓê">
            <a:extLst>
              <a:ext uri="{FF2B5EF4-FFF2-40B4-BE49-F238E27FC236}">
                <a16:creationId xmlns:a16="http://schemas.microsoft.com/office/drawing/2014/main" id="{8FCE5D18-06BF-4684-B685-0AE8334D820F}"/>
              </a:ext>
            </a:extLst>
          </p:cNvPr>
          <p:cNvSpPr txBox="1"/>
          <p:nvPr/>
        </p:nvSpPr>
        <p:spPr bwMode="auto">
          <a:xfrm>
            <a:off x="6654834" y="4372976"/>
            <a:ext cx="4865653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25" name="ï$1ïḍe">
            <a:extLst>
              <a:ext uri="{FF2B5EF4-FFF2-40B4-BE49-F238E27FC236}">
                <a16:creationId xmlns:a16="http://schemas.microsoft.com/office/drawing/2014/main" id="{001EBA9B-600E-486A-BFB2-9DC69EA2C8AB}"/>
              </a:ext>
            </a:extLst>
          </p:cNvPr>
          <p:cNvSpPr/>
          <p:nvPr/>
        </p:nvSpPr>
        <p:spPr bwMode="auto">
          <a:xfrm>
            <a:off x="653465" y="4792210"/>
            <a:ext cx="4169052" cy="1351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endParaRPr lang="en-US" altLang="zh-CN" sz="8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800" dirty="0"/>
              <a:t>You can use the icon library in </a:t>
            </a:r>
            <a:r>
              <a:rPr lang="en-US" altLang="zh-CN" sz="800" dirty="0" err="1"/>
              <a:t>iSlide</a:t>
            </a:r>
            <a:r>
              <a:rPr lang="en-US" altLang="zh-CN" sz="800" dirty="0"/>
              <a:t>  (www.islide.cc) to filter and replace existing icon elements with one click.</a:t>
            </a:r>
          </a:p>
        </p:txBody>
      </p:sp>
      <p:sp>
        <p:nvSpPr>
          <p:cNvPr id="26" name="ïśḻïḓe">
            <a:extLst>
              <a:ext uri="{FF2B5EF4-FFF2-40B4-BE49-F238E27FC236}">
                <a16:creationId xmlns:a16="http://schemas.microsoft.com/office/drawing/2014/main" id="{46B9C923-0318-4A1F-B792-7C110675CA89}"/>
              </a:ext>
            </a:extLst>
          </p:cNvPr>
          <p:cNvSpPr txBox="1"/>
          <p:nvPr/>
        </p:nvSpPr>
        <p:spPr bwMode="auto">
          <a:xfrm>
            <a:off x="653465" y="4337846"/>
            <a:ext cx="4169052" cy="454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solidFill>
                  <a:schemeClr val="accent3"/>
                </a:solidFill>
              </a:rPr>
              <a:t>Text here</a:t>
            </a: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53E2E6F9-F6D0-4126-A1F4-1A7DEC4AD8F4}"/>
              </a:ext>
            </a:extLst>
          </p:cNvPr>
          <p:cNvCxnSpPr>
            <a:cxnSpLocks/>
            <a:endCxn id="31" idx="3"/>
          </p:cNvCxnSpPr>
          <p:nvPr/>
        </p:nvCxnSpPr>
        <p:spPr>
          <a:xfrm flipV="1">
            <a:off x="742950" y="4715206"/>
            <a:ext cx="4342473" cy="18719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416F0359-5026-42B3-8B8E-7AAAC27B5A4E}"/>
              </a:ext>
            </a:extLst>
          </p:cNvPr>
          <p:cNvCxnSpPr>
            <a:stCxn id="29" idx="7"/>
          </p:cNvCxnSpPr>
          <p:nvPr/>
        </p:nvCxnSpPr>
        <p:spPr>
          <a:xfrm flipV="1">
            <a:off x="5569382" y="4742326"/>
            <a:ext cx="5951105" cy="2693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>
            <a:extLst>
              <a:ext uri="{FF2B5EF4-FFF2-40B4-BE49-F238E27FC236}">
                <a16:creationId xmlns:a16="http://schemas.microsoft.com/office/drawing/2014/main" id="{CF007512-4E57-44E5-AFA2-901E3A8D6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9" y="1"/>
            <a:ext cx="10850563" cy="1028699"/>
          </a:xfr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64567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F1F6AC7-91D6-407B-9021-B0BC380B4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CD589FA-4EE6-409F-98F9-5A13DC65D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EF6AE5F-AE15-401B-9CD1-1206A6AE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4C7B164-AB3F-4E03-B5CA-38CF4ADB5253}"/>
              </a:ext>
            </a:extLst>
          </p:cNvPr>
          <p:cNvCxnSpPr>
            <a:stCxn id="21" idx="2"/>
            <a:endCxn id="35" idx="0"/>
          </p:cNvCxnSpPr>
          <p:nvPr/>
        </p:nvCxnSpPr>
        <p:spPr>
          <a:xfrm>
            <a:off x="2063787" y="3812030"/>
            <a:ext cx="0" cy="48106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7B3AAA6-B9A9-4802-8F18-8A1D147047EC}"/>
              </a:ext>
            </a:extLst>
          </p:cNvPr>
          <p:cNvCxnSpPr>
            <a:stCxn id="22" idx="2"/>
            <a:endCxn id="33" idx="0"/>
          </p:cNvCxnSpPr>
          <p:nvPr/>
        </p:nvCxnSpPr>
        <p:spPr>
          <a:xfrm>
            <a:off x="4080674" y="3812030"/>
            <a:ext cx="0" cy="1299612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FC77C7EB-DAF5-44C2-B687-9A889902F406}"/>
              </a:ext>
            </a:extLst>
          </p:cNvPr>
          <p:cNvCxnSpPr>
            <a:stCxn id="23" idx="2"/>
            <a:endCxn id="31" idx="0"/>
          </p:cNvCxnSpPr>
          <p:nvPr/>
        </p:nvCxnSpPr>
        <p:spPr>
          <a:xfrm flipH="1">
            <a:off x="6097560" y="3812030"/>
            <a:ext cx="1" cy="48106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ABDD5361-947B-4BF9-AD16-FB4D2779A57D}"/>
              </a:ext>
            </a:extLst>
          </p:cNvPr>
          <p:cNvCxnSpPr>
            <a:stCxn id="24" idx="2"/>
            <a:endCxn id="29" idx="0"/>
          </p:cNvCxnSpPr>
          <p:nvPr/>
        </p:nvCxnSpPr>
        <p:spPr>
          <a:xfrm flipH="1">
            <a:off x="8112886" y="3812030"/>
            <a:ext cx="1562" cy="1299612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31089299-1FE1-4EE5-B021-6B9E3FF20846}"/>
              </a:ext>
            </a:extLst>
          </p:cNvPr>
          <p:cNvCxnSpPr>
            <a:stCxn id="25" idx="2"/>
            <a:endCxn id="27" idx="0"/>
          </p:cNvCxnSpPr>
          <p:nvPr/>
        </p:nvCxnSpPr>
        <p:spPr>
          <a:xfrm flipH="1">
            <a:off x="10128213" y="3812030"/>
            <a:ext cx="3122" cy="48106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îśļîḍé">
            <a:extLst>
              <a:ext uri="{FF2B5EF4-FFF2-40B4-BE49-F238E27FC236}">
                <a16:creationId xmlns:a16="http://schemas.microsoft.com/office/drawing/2014/main" id="{1DCE4FFF-C106-41B4-9018-CC5625CDAA54}"/>
              </a:ext>
            </a:extLst>
          </p:cNvPr>
          <p:cNvSpPr/>
          <p:nvPr/>
        </p:nvSpPr>
        <p:spPr>
          <a:xfrm>
            <a:off x="1758183" y="1699119"/>
            <a:ext cx="611212" cy="54681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cubicBezTo>
                  <a:pt x="0" y="0"/>
                  <a:pt x="0" y="0"/>
                  <a:pt x="0" y="0"/>
                </a:cubicBezTo>
                <a:cubicBezTo>
                  <a:pt x="45804" y="108591"/>
                  <a:pt x="45804" y="108591"/>
                  <a:pt x="45804" y="108591"/>
                </a:cubicBezTo>
                <a:cubicBezTo>
                  <a:pt x="48454" y="115774"/>
                  <a:pt x="54132" y="120000"/>
                  <a:pt x="60189" y="120000"/>
                </a:cubicBezTo>
                <a:cubicBezTo>
                  <a:pt x="66246" y="120000"/>
                  <a:pt x="71545" y="115774"/>
                  <a:pt x="74574" y="108591"/>
                </a:cubicBezTo>
                <a:lnTo>
                  <a:pt x="12000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îSḻïḋê">
            <a:extLst>
              <a:ext uri="{FF2B5EF4-FFF2-40B4-BE49-F238E27FC236}">
                <a16:creationId xmlns:a16="http://schemas.microsoft.com/office/drawing/2014/main" id="{D2FAEF7D-A449-4C7F-BB9C-CD16F53B1AF2}"/>
              </a:ext>
            </a:extLst>
          </p:cNvPr>
          <p:cNvSpPr/>
          <p:nvPr/>
        </p:nvSpPr>
        <p:spPr>
          <a:xfrm>
            <a:off x="1522030" y="1441500"/>
            <a:ext cx="1083515" cy="192330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1459" y="13573"/>
                </a:moveTo>
                <a:cubicBezTo>
                  <a:pt x="120000" y="13573"/>
                  <a:pt x="120000" y="13573"/>
                  <a:pt x="120000" y="13573"/>
                </a:cubicBezTo>
                <a:cubicBezTo>
                  <a:pt x="120000" y="8888"/>
                  <a:pt x="120000" y="8888"/>
                  <a:pt x="120000" y="8888"/>
                </a:cubicBezTo>
                <a:cubicBezTo>
                  <a:pt x="120000" y="3963"/>
                  <a:pt x="112953" y="0"/>
                  <a:pt x="104199" y="0"/>
                </a:cubicBezTo>
                <a:cubicBezTo>
                  <a:pt x="15800" y="0"/>
                  <a:pt x="15800" y="0"/>
                  <a:pt x="15800" y="0"/>
                </a:cubicBezTo>
                <a:cubicBezTo>
                  <a:pt x="7046" y="0"/>
                  <a:pt x="0" y="3963"/>
                  <a:pt x="0" y="8888"/>
                </a:cubicBezTo>
                <a:cubicBezTo>
                  <a:pt x="0" y="13573"/>
                  <a:pt x="0" y="13573"/>
                  <a:pt x="0" y="13573"/>
                </a:cubicBezTo>
                <a:cubicBezTo>
                  <a:pt x="8540" y="13573"/>
                  <a:pt x="8540" y="13573"/>
                  <a:pt x="8540" y="13573"/>
                </a:cubicBezTo>
                <a:cubicBezTo>
                  <a:pt x="8540" y="28228"/>
                  <a:pt x="8540" y="28228"/>
                  <a:pt x="8540" y="28228"/>
                </a:cubicBezTo>
                <a:cubicBezTo>
                  <a:pt x="8540" y="32312"/>
                  <a:pt x="10462" y="36396"/>
                  <a:pt x="13879" y="39879"/>
                </a:cubicBezTo>
                <a:cubicBezTo>
                  <a:pt x="30747" y="57177"/>
                  <a:pt x="30747" y="57177"/>
                  <a:pt x="30747" y="57177"/>
                </a:cubicBezTo>
                <a:cubicBezTo>
                  <a:pt x="32455" y="58858"/>
                  <a:pt x="32455" y="61021"/>
                  <a:pt x="30747" y="62702"/>
                </a:cubicBezTo>
                <a:cubicBezTo>
                  <a:pt x="14519" y="78198"/>
                  <a:pt x="14519" y="78198"/>
                  <a:pt x="14519" y="78198"/>
                </a:cubicBezTo>
                <a:cubicBezTo>
                  <a:pt x="10676" y="81921"/>
                  <a:pt x="8540" y="86126"/>
                  <a:pt x="8540" y="90450"/>
                </a:cubicBezTo>
                <a:cubicBezTo>
                  <a:pt x="8540" y="106306"/>
                  <a:pt x="8540" y="106306"/>
                  <a:pt x="8540" y="106306"/>
                </a:cubicBezTo>
                <a:cubicBezTo>
                  <a:pt x="0" y="106306"/>
                  <a:pt x="0" y="106306"/>
                  <a:pt x="0" y="106306"/>
                </a:cubicBezTo>
                <a:cubicBezTo>
                  <a:pt x="0" y="111111"/>
                  <a:pt x="0" y="111111"/>
                  <a:pt x="0" y="111111"/>
                </a:cubicBezTo>
                <a:cubicBezTo>
                  <a:pt x="0" y="115915"/>
                  <a:pt x="7046" y="120000"/>
                  <a:pt x="15800" y="120000"/>
                </a:cubicBezTo>
                <a:cubicBezTo>
                  <a:pt x="104199" y="120000"/>
                  <a:pt x="104199" y="120000"/>
                  <a:pt x="104199" y="120000"/>
                </a:cubicBezTo>
                <a:cubicBezTo>
                  <a:pt x="112953" y="120000"/>
                  <a:pt x="120000" y="115915"/>
                  <a:pt x="120000" y="111111"/>
                </a:cubicBezTo>
                <a:cubicBezTo>
                  <a:pt x="120000" y="106306"/>
                  <a:pt x="120000" y="106306"/>
                  <a:pt x="120000" y="106306"/>
                </a:cubicBezTo>
                <a:cubicBezTo>
                  <a:pt x="111459" y="106306"/>
                  <a:pt x="111459" y="106306"/>
                  <a:pt x="111459" y="106306"/>
                </a:cubicBezTo>
                <a:cubicBezTo>
                  <a:pt x="111459" y="90450"/>
                  <a:pt x="111459" y="90450"/>
                  <a:pt x="111459" y="90450"/>
                </a:cubicBezTo>
                <a:cubicBezTo>
                  <a:pt x="111459" y="86126"/>
                  <a:pt x="109323" y="81921"/>
                  <a:pt x="105480" y="78198"/>
                </a:cubicBezTo>
                <a:cubicBezTo>
                  <a:pt x="89252" y="62702"/>
                  <a:pt x="89252" y="62702"/>
                  <a:pt x="89252" y="62702"/>
                </a:cubicBezTo>
                <a:cubicBezTo>
                  <a:pt x="87544" y="61021"/>
                  <a:pt x="87544" y="58858"/>
                  <a:pt x="89252" y="57177"/>
                </a:cubicBezTo>
                <a:cubicBezTo>
                  <a:pt x="106120" y="39879"/>
                  <a:pt x="106120" y="39879"/>
                  <a:pt x="106120" y="39879"/>
                </a:cubicBezTo>
                <a:cubicBezTo>
                  <a:pt x="109537" y="36396"/>
                  <a:pt x="111459" y="32312"/>
                  <a:pt x="111459" y="28228"/>
                </a:cubicBezTo>
                <a:lnTo>
                  <a:pt x="111459" y="13573"/>
                </a:lnTo>
                <a:close/>
                <a:moveTo>
                  <a:pt x="97793" y="27027"/>
                </a:moveTo>
                <a:cubicBezTo>
                  <a:pt x="97793" y="30630"/>
                  <a:pt x="96085" y="34114"/>
                  <a:pt x="93096" y="37357"/>
                </a:cubicBezTo>
                <a:cubicBezTo>
                  <a:pt x="75160" y="55495"/>
                  <a:pt x="75160" y="55495"/>
                  <a:pt x="75160" y="55495"/>
                </a:cubicBezTo>
                <a:cubicBezTo>
                  <a:pt x="72384" y="58258"/>
                  <a:pt x="72597" y="61861"/>
                  <a:pt x="75373" y="64624"/>
                </a:cubicBezTo>
                <a:cubicBezTo>
                  <a:pt x="92455" y="80960"/>
                  <a:pt x="92455" y="80960"/>
                  <a:pt x="92455" y="80960"/>
                </a:cubicBezTo>
                <a:cubicBezTo>
                  <a:pt x="95871" y="84204"/>
                  <a:pt x="97793" y="87927"/>
                  <a:pt x="97793" y="91771"/>
                </a:cubicBezTo>
                <a:cubicBezTo>
                  <a:pt x="97793" y="106306"/>
                  <a:pt x="97793" y="106306"/>
                  <a:pt x="97793" y="106306"/>
                </a:cubicBezTo>
                <a:cubicBezTo>
                  <a:pt x="88185" y="106306"/>
                  <a:pt x="88185" y="106306"/>
                  <a:pt x="88185" y="106306"/>
                </a:cubicBezTo>
                <a:cubicBezTo>
                  <a:pt x="83701" y="102942"/>
                  <a:pt x="72811" y="100540"/>
                  <a:pt x="60000" y="100540"/>
                </a:cubicBezTo>
                <a:cubicBezTo>
                  <a:pt x="47188" y="100540"/>
                  <a:pt x="36085" y="102942"/>
                  <a:pt x="31814" y="106306"/>
                </a:cubicBezTo>
                <a:cubicBezTo>
                  <a:pt x="22206" y="106306"/>
                  <a:pt x="22206" y="106306"/>
                  <a:pt x="22206" y="106306"/>
                </a:cubicBezTo>
                <a:cubicBezTo>
                  <a:pt x="22206" y="91771"/>
                  <a:pt x="22206" y="91771"/>
                  <a:pt x="22206" y="91771"/>
                </a:cubicBezTo>
                <a:cubicBezTo>
                  <a:pt x="22206" y="87927"/>
                  <a:pt x="23914" y="84204"/>
                  <a:pt x="27544" y="80960"/>
                </a:cubicBezTo>
                <a:cubicBezTo>
                  <a:pt x="44412" y="64624"/>
                  <a:pt x="44412" y="64624"/>
                  <a:pt x="44412" y="64624"/>
                </a:cubicBezTo>
                <a:cubicBezTo>
                  <a:pt x="47402" y="61861"/>
                  <a:pt x="47402" y="58258"/>
                  <a:pt x="44626" y="55495"/>
                </a:cubicBezTo>
                <a:cubicBezTo>
                  <a:pt x="26903" y="37357"/>
                  <a:pt x="26903" y="37357"/>
                  <a:pt x="26903" y="37357"/>
                </a:cubicBezTo>
                <a:cubicBezTo>
                  <a:pt x="23914" y="34114"/>
                  <a:pt x="22206" y="30630"/>
                  <a:pt x="22206" y="27027"/>
                </a:cubicBezTo>
                <a:cubicBezTo>
                  <a:pt x="22206" y="13573"/>
                  <a:pt x="22206" y="13573"/>
                  <a:pt x="22206" y="13573"/>
                </a:cubicBezTo>
                <a:cubicBezTo>
                  <a:pt x="97793" y="13573"/>
                  <a:pt x="97793" y="13573"/>
                  <a:pt x="97793" y="13573"/>
                </a:cubicBezTo>
                <a:lnTo>
                  <a:pt x="97793" y="2702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ïṧḻïḓe">
            <a:extLst>
              <a:ext uri="{FF2B5EF4-FFF2-40B4-BE49-F238E27FC236}">
                <a16:creationId xmlns:a16="http://schemas.microsoft.com/office/drawing/2014/main" id="{1358A89B-AB1E-4BE8-B9B5-1A64D57291C9}"/>
              </a:ext>
            </a:extLst>
          </p:cNvPr>
          <p:cNvSpPr/>
          <p:nvPr/>
        </p:nvSpPr>
        <p:spPr>
          <a:xfrm>
            <a:off x="3539548" y="1435230"/>
            <a:ext cx="1082253" cy="192456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1459" y="13573"/>
                </a:moveTo>
                <a:cubicBezTo>
                  <a:pt x="120000" y="13573"/>
                  <a:pt x="120000" y="13573"/>
                  <a:pt x="120000" y="13573"/>
                </a:cubicBezTo>
                <a:cubicBezTo>
                  <a:pt x="120000" y="8888"/>
                  <a:pt x="120000" y="8888"/>
                  <a:pt x="120000" y="8888"/>
                </a:cubicBezTo>
                <a:cubicBezTo>
                  <a:pt x="120000" y="3963"/>
                  <a:pt x="112953" y="0"/>
                  <a:pt x="104199" y="0"/>
                </a:cubicBezTo>
                <a:cubicBezTo>
                  <a:pt x="15800" y="0"/>
                  <a:pt x="15800" y="0"/>
                  <a:pt x="15800" y="0"/>
                </a:cubicBezTo>
                <a:cubicBezTo>
                  <a:pt x="7046" y="0"/>
                  <a:pt x="0" y="3963"/>
                  <a:pt x="0" y="8888"/>
                </a:cubicBezTo>
                <a:cubicBezTo>
                  <a:pt x="0" y="13573"/>
                  <a:pt x="0" y="13573"/>
                  <a:pt x="0" y="13573"/>
                </a:cubicBezTo>
                <a:cubicBezTo>
                  <a:pt x="8540" y="13573"/>
                  <a:pt x="8540" y="13573"/>
                  <a:pt x="8540" y="13573"/>
                </a:cubicBezTo>
                <a:cubicBezTo>
                  <a:pt x="8540" y="28228"/>
                  <a:pt x="8540" y="28228"/>
                  <a:pt x="8540" y="28228"/>
                </a:cubicBezTo>
                <a:cubicBezTo>
                  <a:pt x="8540" y="32312"/>
                  <a:pt x="10462" y="36396"/>
                  <a:pt x="13879" y="40000"/>
                </a:cubicBezTo>
                <a:cubicBezTo>
                  <a:pt x="30747" y="57297"/>
                  <a:pt x="30747" y="57297"/>
                  <a:pt x="30747" y="57297"/>
                </a:cubicBezTo>
                <a:cubicBezTo>
                  <a:pt x="32455" y="58978"/>
                  <a:pt x="32455" y="61021"/>
                  <a:pt x="30747" y="62702"/>
                </a:cubicBezTo>
                <a:cubicBezTo>
                  <a:pt x="14519" y="78198"/>
                  <a:pt x="14519" y="78198"/>
                  <a:pt x="14519" y="78198"/>
                </a:cubicBezTo>
                <a:cubicBezTo>
                  <a:pt x="10676" y="81921"/>
                  <a:pt x="8540" y="86126"/>
                  <a:pt x="8540" y="90450"/>
                </a:cubicBezTo>
                <a:cubicBezTo>
                  <a:pt x="8540" y="106426"/>
                  <a:pt x="8540" y="106426"/>
                  <a:pt x="8540" y="106426"/>
                </a:cubicBezTo>
                <a:cubicBezTo>
                  <a:pt x="0" y="106426"/>
                  <a:pt x="0" y="106426"/>
                  <a:pt x="0" y="106426"/>
                </a:cubicBezTo>
                <a:cubicBezTo>
                  <a:pt x="0" y="111111"/>
                  <a:pt x="0" y="111111"/>
                  <a:pt x="0" y="111111"/>
                </a:cubicBezTo>
                <a:cubicBezTo>
                  <a:pt x="0" y="116036"/>
                  <a:pt x="7046" y="120000"/>
                  <a:pt x="15800" y="120000"/>
                </a:cubicBezTo>
                <a:cubicBezTo>
                  <a:pt x="104199" y="120000"/>
                  <a:pt x="104199" y="120000"/>
                  <a:pt x="104199" y="120000"/>
                </a:cubicBezTo>
                <a:cubicBezTo>
                  <a:pt x="112953" y="120000"/>
                  <a:pt x="120000" y="116036"/>
                  <a:pt x="120000" y="111111"/>
                </a:cubicBezTo>
                <a:cubicBezTo>
                  <a:pt x="120000" y="106426"/>
                  <a:pt x="120000" y="106426"/>
                  <a:pt x="120000" y="106426"/>
                </a:cubicBezTo>
                <a:cubicBezTo>
                  <a:pt x="111459" y="106426"/>
                  <a:pt x="111459" y="106426"/>
                  <a:pt x="111459" y="106426"/>
                </a:cubicBezTo>
                <a:cubicBezTo>
                  <a:pt x="111459" y="90450"/>
                  <a:pt x="111459" y="90450"/>
                  <a:pt x="111459" y="90450"/>
                </a:cubicBezTo>
                <a:cubicBezTo>
                  <a:pt x="111459" y="86126"/>
                  <a:pt x="109323" y="81921"/>
                  <a:pt x="105480" y="78198"/>
                </a:cubicBezTo>
                <a:cubicBezTo>
                  <a:pt x="89252" y="62702"/>
                  <a:pt x="89252" y="62702"/>
                  <a:pt x="89252" y="62702"/>
                </a:cubicBezTo>
                <a:cubicBezTo>
                  <a:pt x="87544" y="61021"/>
                  <a:pt x="87544" y="58978"/>
                  <a:pt x="89252" y="57177"/>
                </a:cubicBezTo>
                <a:cubicBezTo>
                  <a:pt x="106120" y="40000"/>
                  <a:pt x="106120" y="40000"/>
                  <a:pt x="106120" y="40000"/>
                </a:cubicBezTo>
                <a:cubicBezTo>
                  <a:pt x="109537" y="36396"/>
                  <a:pt x="111459" y="32312"/>
                  <a:pt x="111459" y="28228"/>
                </a:cubicBezTo>
                <a:lnTo>
                  <a:pt x="111459" y="13573"/>
                </a:lnTo>
                <a:close/>
                <a:moveTo>
                  <a:pt x="97793" y="27027"/>
                </a:moveTo>
                <a:cubicBezTo>
                  <a:pt x="97793" y="30630"/>
                  <a:pt x="96085" y="34234"/>
                  <a:pt x="93096" y="37357"/>
                </a:cubicBezTo>
                <a:cubicBezTo>
                  <a:pt x="75160" y="55495"/>
                  <a:pt x="75160" y="55495"/>
                  <a:pt x="75160" y="55495"/>
                </a:cubicBezTo>
                <a:cubicBezTo>
                  <a:pt x="72384" y="58378"/>
                  <a:pt x="72597" y="61861"/>
                  <a:pt x="75373" y="64624"/>
                </a:cubicBezTo>
                <a:cubicBezTo>
                  <a:pt x="92455" y="80960"/>
                  <a:pt x="92455" y="80960"/>
                  <a:pt x="92455" y="80960"/>
                </a:cubicBezTo>
                <a:cubicBezTo>
                  <a:pt x="95871" y="84204"/>
                  <a:pt x="97793" y="88048"/>
                  <a:pt x="97793" y="91771"/>
                </a:cubicBezTo>
                <a:cubicBezTo>
                  <a:pt x="97793" y="106426"/>
                  <a:pt x="97793" y="106426"/>
                  <a:pt x="97793" y="106426"/>
                </a:cubicBezTo>
                <a:cubicBezTo>
                  <a:pt x="88185" y="106426"/>
                  <a:pt x="88185" y="106426"/>
                  <a:pt x="88185" y="106426"/>
                </a:cubicBezTo>
                <a:cubicBezTo>
                  <a:pt x="83701" y="102942"/>
                  <a:pt x="72811" y="100540"/>
                  <a:pt x="60000" y="100540"/>
                </a:cubicBezTo>
                <a:cubicBezTo>
                  <a:pt x="47188" y="100540"/>
                  <a:pt x="36085" y="102942"/>
                  <a:pt x="31814" y="106426"/>
                </a:cubicBezTo>
                <a:cubicBezTo>
                  <a:pt x="22206" y="106426"/>
                  <a:pt x="22206" y="106426"/>
                  <a:pt x="22206" y="106426"/>
                </a:cubicBezTo>
                <a:cubicBezTo>
                  <a:pt x="22206" y="91771"/>
                  <a:pt x="22206" y="91771"/>
                  <a:pt x="22206" y="91771"/>
                </a:cubicBezTo>
                <a:cubicBezTo>
                  <a:pt x="22206" y="88048"/>
                  <a:pt x="23914" y="84204"/>
                  <a:pt x="27544" y="80960"/>
                </a:cubicBezTo>
                <a:cubicBezTo>
                  <a:pt x="44412" y="64624"/>
                  <a:pt x="44412" y="64624"/>
                  <a:pt x="44412" y="64624"/>
                </a:cubicBezTo>
                <a:cubicBezTo>
                  <a:pt x="47402" y="61861"/>
                  <a:pt x="47402" y="58378"/>
                  <a:pt x="44626" y="55495"/>
                </a:cubicBezTo>
                <a:cubicBezTo>
                  <a:pt x="26903" y="37357"/>
                  <a:pt x="26903" y="37357"/>
                  <a:pt x="26903" y="37357"/>
                </a:cubicBezTo>
                <a:cubicBezTo>
                  <a:pt x="23914" y="34234"/>
                  <a:pt x="22206" y="30630"/>
                  <a:pt x="22206" y="27027"/>
                </a:cubicBezTo>
                <a:cubicBezTo>
                  <a:pt x="22206" y="13573"/>
                  <a:pt x="22206" y="13573"/>
                  <a:pt x="22206" y="13573"/>
                </a:cubicBezTo>
                <a:cubicBezTo>
                  <a:pt x="97793" y="13573"/>
                  <a:pt x="97793" y="13573"/>
                  <a:pt x="97793" y="13573"/>
                </a:cubicBezTo>
                <a:lnTo>
                  <a:pt x="97793" y="2702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5" name="iṡľïḍè">
            <a:extLst>
              <a:ext uri="{FF2B5EF4-FFF2-40B4-BE49-F238E27FC236}">
                <a16:creationId xmlns:a16="http://schemas.microsoft.com/office/drawing/2014/main" id="{2DE49669-D9E2-4511-870D-9FF2E9F9BD25}"/>
              </a:ext>
            </a:extLst>
          </p:cNvPr>
          <p:cNvSpPr/>
          <p:nvPr/>
        </p:nvSpPr>
        <p:spPr>
          <a:xfrm>
            <a:off x="3852732" y="2493490"/>
            <a:ext cx="455885" cy="26140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120000"/>
                </a:moveTo>
                <a:cubicBezTo>
                  <a:pt x="0" y="120000"/>
                  <a:pt x="0" y="120000"/>
                  <a:pt x="0" y="120000"/>
                </a:cubicBezTo>
                <a:cubicBezTo>
                  <a:pt x="45569" y="11470"/>
                  <a:pt x="45569" y="11470"/>
                  <a:pt x="45569" y="11470"/>
                </a:cubicBezTo>
                <a:cubicBezTo>
                  <a:pt x="48101" y="4411"/>
                  <a:pt x="53670" y="0"/>
                  <a:pt x="59746" y="0"/>
                </a:cubicBezTo>
                <a:cubicBezTo>
                  <a:pt x="65822" y="0"/>
                  <a:pt x="71392" y="4411"/>
                  <a:pt x="74430" y="11470"/>
                </a:cubicBezTo>
                <a:lnTo>
                  <a:pt x="120000" y="12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6" name="íṧḻîďe">
            <a:extLst>
              <a:ext uri="{FF2B5EF4-FFF2-40B4-BE49-F238E27FC236}">
                <a16:creationId xmlns:a16="http://schemas.microsoft.com/office/drawing/2014/main" id="{607AD52A-99D5-47B2-9999-B192D5517915}"/>
              </a:ext>
            </a:extLst>
          </p:cNvPr>
          <p:cNvSpPr/>
          <p:nvPr/>
        </p:nvSpPr>
        <p:spPr>
          <a:xfrm>
            <a:off x="3780539" y="1888592"/>
            <a:ext cx="600270" cy="45209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cubicBezTo>
                  <a:pt x="0" y="0"/>
                  <a:pt x="0" y="0"/>
                  <a:pt x="0" y="0"/>
                </a:cubicBezTo>
                <a:cubicBezTo>
                  <a:pt x="45652" y="108972"/>
                  <a:pt x="45652" y="108972"/>
                  <a:pt x="45652" y="108972"/>
                </a:cubicBezTo>
                <a:cubicBezTo>
                  <a:pt x="48260" y="116108"/>
                  <a:pt x="53913" y="120000"/>
                  <a:pt x="60000" y="120000"/>
                </a:cubicBezTo>
                <a:cubicBezTo>
                  <a:pt x="66086" y="120000"/>
                  <a:pt x="71739" y="116108"/>
                  <a:pt x="74347" y="108972"/>
                </a:cubicBezTo>
                <a:lnTo>
                  <a:pt x="12000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íšľîḋè">
            <a:extLst>
              <a:ext uri="{FF2B5EF4-FFF2-40B4-BE49-F238E27FC236}">
                <a16:creationId xmlns:a16="http://schemas.microsoft.com/office/drawing/2014/main" id="{B1AC749A-E8F8-4AD5-B7CE-D3A3449FBB98}"/>
              </a:ext>
            </a:extLst>
          </p:cNvPr>
          <p:cNvSpPr/>
          <p:nvPr/>
        </p:nvSpPr>
        <p:spPr>
          <a:xfrm>
            <a:off x="5555804" y="1435230"/>
            <a:ext cx="1083515" cy="192456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1459" y="13573"/>
                </a:moveTo>
                <a:cubicBezTo>
                  <a:pt x="120000" y="13573"/>
                  <a:pt x="120000" y="13573"/>
                  <a:pt x="120000" y="13573"/>
                </a:cubicBezTo>
                <a:cubicBezTo>
                  <a:pt x="120000" y="8888"/>
                  <a:pt x="120000" y="8888"/>
                  <a:pt x="120000" y="8888"/>
                </a:cubicBezTo>
                <a:cubicBezTo>
                  <a:pt x="120000" y="3963"/>
                  <a:pt x="112953" y="0"/>
                  <a:pt x="104199" y="0"/>
                </a:cubicBezTo>
                <a:cubicBezTo>
                  <a:pt x="15800" y="0"/>
                  <a:pt x="15800" y="0"/>
                  <a:pt x="15800" y="0"/>
                </a:cubicBezTo>
                <a:cubicBezTo>
                  <a:pt x="7046" y="0"/>
                  <a:pt x="0" y="3963"/>
                  <a:pt x="0" y="8888"/>
                </a:cubicBezTo>
                <a:cubicBezTo>
                  <a:pt x="0" y="13573"/>
                  <a:pt x="0" y="13573"/>
                  <a:pt x="0" y="13573"/>
                </a:cubicBezTo>
                <a:cubicBezTo>
                  <a:pt x="8540" y="13573"/>
                  <a:pt x="8540" y="13573"/>
                  <a:pt x="8540" y="13573"/>
                </a:cubicBezTo>
                <a:cubicBezTo>
                  <a:pt x="8540" y="28228"/>
                  <a:pt x="8540" y="28228"/>
                  <a:pt x="8540" y="28228"/>
                </a:cubicBezTo>
                <a:cubicBezTo>
                  <a:pt x="8540" y="32312"/>
                  <a:pt x="10462" y="36396"/>
                  <a:pt x="13879" y="40000"/>
                </a:cubicBezTo>
                <a:cubicBezTo>
                  <a:pt x="30960" y="57297"/>
                  <a:pt x="30960" y="57297"/>
                  <a:pt x="30960" y="57297"/>
                </a:cubicBezTo>
                <a:cubicBezTo>
                  <a:pt x="32455" y="58978"/>
                  <a:pt x="32455" y="61021"/>
                  <a:pt x="30747" y="62702"/>
                </a:cubicBezTo>
                <a:cubicBezTo>
                  <a:pt x="14519" y="78198"/>
                  <a:pt x="14519" y="78198"/>
                  <a:pt x="14519" y="78198"/>
                </a:cubicBezTo>
                <a:cubicBezTo>
                  <a:pt x="10676" y="81921"/>
                  <a:pt x="8540" y="86126"/>
                  <a:pt x="8540" y="90450"/>
                </a:cubicBezTo>
                <a:cubicBezTo>
                  <a:pt x="8540" y="106426"/>
                  <a:pt x="8540" y="106426"/>
                  <a:pt x="8540" y="106426"/>
                </a:cubicBezTo>
                <a:cubicBezTo>
                  <a:pt x="0" y="106426"/>
                  <a:pt x="0" y="106426"/>
                  <a:pt x="0" y="106426"/>
                </a:cubicBezTo>
                <a:cubicBezTo>
                  <a:pt x="0" y="111111"/>
                  <a:pt x="0" y="111111"/>
                  <a:pt x="0" y="111111"/>
                </a:cubicBezTo>
                <a:cubicBezTo>
                  <a:pt x="0" y="116036"/>
                  <a:pt x="7046" y="120000"/>
                  <a:pt x="15800" y="120000"/>
                </a:cubicBezTo>
                <a:cubicBezTo>
                  <a:pt x="104199" y="120000"/>
                  <a:pt x="104199" y="120000"/>
                  <a:pt x="104199" y="120000"/>
                </a:cubicBezTo>
                <a:cubicBezTo>
                  <a:pt x="112953" y="120000"/>
                  <a:pt x="120000" y="116036"/>
                  <a:pt x="120000" y="111111"/>
                </a:cubicBezTo>
                <a:cubicBezTo>
                  <a:pt x="120000" y="106426"/>
                  <a:pt x="120000" y="106426"/>
                  <a:pt x="120000" y="106426"/>
                </a:cubicBezTo>
                <a:cubicBezTo>
                  <a:pt x="111459" y="106426"/>
                  <a:pt x="111459" y="106426"/>
                  <a:pt x="111459" y="106426"/>
                </a:cubicBezTo>
                <a:cubicBezTo>
                  <a:pt x="111459" y="90450"/>
                  <a:pt x="111459" y="90450"/>
                  <a:pt x="111459" y="90450"/>
                </a:cubicBezTo>
                <a:cubicBezTo>
                  <a:pt x="111459" y="86126"/>
                  <a:pt x="109537" y="81921"/>
                  <a:pt x="105480" y="78198"/>
                </a:cubicBezTo>
                <a:cubicBezTo>
                  <a:pt x="89466" y="62702"/>
                  <a:pt x="89466" y="62702"/>
                  <a:pt x="89466" y="62702"/>
                </a:cubicBezTo>
                <a:cubicBezTo>
                  <a:pt x="87544" y="61021"/>
                  <a:pt x="87544" y="58978"/>
                  <a:pt x="89252" y="57177"/>
                </a:cubicBezTo>
                <a:cubicBezTo>
                  <a:pt x="106120" y="40000"/>
                  <a:pt x="106120" y="40000"/>
                  <a:pt x="106120" y="40000"/>
                </a:cubicBezTo>
                <a:cubicBezTo>
                  <a:pt x="109750" y="36396"/>
                  <a:pt x="111459" y="32312"/>
                  <a:pt x="111459" y="28228"/>
                </a:cubicBezTo>
                <a:lnTo>
                  <a:pt x="111459" y="13573"/>
                </a:lnTo>
                <a:close/>
                <a:moveTo>
                  <a:pt x="97793" y="27027"/>
                </a:moveTo>
                <a:cubicBezTo>
                  <a:pt x="97793" y="30630"/>
                  <a:pt x="96085" y="34234"/>
                  <a:pt x="93096" y="37357"/>
                </a:cubicBezTo>
                <a:cubicBezTo>
                  <a:pt x="75373" y="55495"/>
                  <a:pt x="75373" y="55495"/>
                  <a:pt x="75373" y="55495"/>
                </a:cubicBezTo>
                <a:cubicBezTo>
                  <a:pt x="72597" y="58378"/>
                  <a:pt x="72597" y="61861"/>
                  <a:pt x="75587" y="64624"/>
                </a:cubicBezTo>
                <a:cubicBezTo>
                  <a:pt x="92669" y="80960"/>
                  <a:pt x="92669" y="80960"/>
                  <a:pt x="92669" y="80960"/>
                </a:cubicBezTo>
                <a:cubicBezTo>
                  <a:pt x="96085" y="84204"/>
                  <a:pt x="97793" y="88048"/>
                  <a:pt x="97793" y="91771"/>
                </a:cubicBezTo>
                <a:cubicBezTo>
                  <a:pt x="97793" y="106426"/>
                  <a:pt x="97793" y="106426"/>
                  <a:pt x="97793" y="106426"/>
                </a:cubicBezTo>
                <a:cubicBezTo>
                  <a:pt x="88185" y="106426"/>
                  <a:pt x="88185" y="106426"/>
                  <a:pt x="88185" y="106426"/>
                </a:cubicBezTo>
                <a:cubicBezTo>
                  <a:pt x="83914" y="102942"/>
                  <a:pt x="73024" y="100540"/>
                  <a:pt x="60000" y="100540"/>
                </a:cubicBezTo>
                <a:cubicBezTo>
                  <a:pt x="47188" y="100540"/>
                  <a:pt x="36298" y="102942"/>
                  <a:pt x="31814" y="106426"/>
                </a:cubicBezTo>
                <a:cubicBezTo>
                  <a:pt x="22206" y="106426"/>
                  <a:pt x="22206" y="106426"/>
                  <a:pt x="22206" y="106426"/>
                </a:cubicBezTo>
                <a:cubicBezTo>
                  <a:pt x="22206" y="91771"/>
                  <a:pt x="22206" y="91771"/>
                  <a:pt x="22206" y="91771"/>
                </a:cubicBezTo>
                <a:cubicBezTo>
                  <a:pt x="22206" y="88048"/>
                  <a:pt x="24128" y="84204"/>
                  <a:pt x="27544" y="80960"/>
                </a:cubicBezTo>
                <a:cubicBezTo>
                  <a:pt x="44626" y="64624"/>
                  <a:pt x="44626" y="64624"/>
                  <a:pt x="44626" y="64624"/>
                </a:cubicBezTo>
                <a:cubicBezTo>
                  <a:pt x="47402" y="61861"/>
                  <a:pt x="47615" y="58378"/>
                  <a:pt x="44839" y="55495"/>
                </a:cubicBezTo>
                <a:cubicBezTo>
                  <a:pt x="26903" y="37357"/>
                  <a:pt x="26903" y="37357"/>
                  <a:pt x="26903" y="37357"/>
                </a:cubicBezTo>
                <a:cubicBezTo>
                  <a:pt x="23914" y="34234"/>
                  <a:pt x="22206" y="30630"/>
                  <a:pt x="22206" y="27027"/>
                </a:cubicBezTo>
                <a:cubicBezTo>
                  <a:pt x="22206" y="13573"/>
                  <a:pt x="22206" y="13573"/>
                  <a:pt x="22206" y="13573"/>
                </a:cubicBezTo>
                <a:cubicBezTo>
                  <a:pt x="97793" y="13573"/>
                  <a:pt x="97793" y="13573"/>
                  <a:pt x="97793" y="13573"/>
                </a:cubicBezTo>
                <a:lnTo>
                  <a:pt x="97793" y="2702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2" name="iṣļïḍe">
            <a:extLst>
              <a:ext uri="{FF2B5EF4-FFF2-40B4-BE49-F238E27FC236}">
                <a16:creationId xmlns:a16="http://schemas.microsoft.com/office/drawing/2014/main" id="{2D4A302B-A757-4672-BDD0-45134351487E}"/>
              </a:ext>
            </a:extLst>
          </p:cNvPr>
          <p:cNvSpPr/>
          <p:nvPr/>
        </p:nvSpPr>
        <p:spPr>
          <a:xfrm>
            <a:off x="5832996" y="2017447"/>
            <a:ext cx="529129" cy="31957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cubicBezTo>
                  <a:pt x="0" y="0"/>
                  <a:pt x="0" y="0"/>
                  <a:pt x="0" y="0"/>
                </a:cubicBezTo>
                <a:cubicBezTo>
                  <a:pt x="45569" y="109014"/>
                  <a:pt x="45569" y="109014"/>
                  <a:pt x="45569" y="109014"/>
                </a:cubicBezTo>
                <a:cubicBezTo>
                  <a:pt x="48101" y="115774"/>
                  <a:pt x="53670" y="120000"/>
                  <a:pt x="59746" y="120000"/>
                </a:cubicBezTo>
                <a:cubicBezTo>
                  <a:pt x="65822" y="120000"/>
                  <a:pt x="71392" y="115774"/>
                  <a:pt x="74430" y="109014"/>
                </a:cubicBezTo>
                <a:lnTo>
                  <a:pt x="1200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3" name="ïŝḻidè">
            <a:extLst>
              <a:ext uri="{FF2B5EF4-FFF2-40B4-BE49-F238E27FC236}">
                <a16:creationId xmlns:a16="http://schemas.microsoft.com/office/drawing/2014/main" id="{451C1672-AD35-47CE-A829-6A05B0EDD830}"/>
              </a:ext>
            </a:extLst>
          </p:cNvPr>
          <p:cNvSpPr/>
          <p:nvPr/>
        </p:nvSpPr>
        <p:spPr>
          <a:xfrm rot="10800000">
            <a:off x="5832996" y="2438470"/>
            <a:ext cx="529129" cy="31957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cubicBezTo>
                  <a:pt x="0" y="0"/>
                  <a:pt x="0" y="0"/>
                  <a:pt x="0" y="0"/>
                </a:cubicBezTo>
                <a:cubicBezTo>
                  <a:pt x="45569" y="109014"/>
                  <a:pt x="45569" y="109014"/>
                  <a:pt x="45569" y="109014"/>
                </a:cubicBezTo>
                <a:cubicBezTo>
                  <a:pt x="48101" y="115774"/>
                  <a:pt x="53670" y="120000"/>
                  <a:pt x="59746" y="120000"/>
                </a:cubicBezTo>
                <a:cubicBezTo>
                  <a:pt x="65822" y="120000"/>
                  <a:pt x="71392" y="115774"/>
                  <a:pt x="74430" y="109014"/>
                </a:cubicBezTo>
                <a:lnTo>
                  <a:pt x="1200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ïşḻíḑé">
            <a:extLst>
              <a:ext uri="{FF2B5EF4-FFF2-40B4-BE49-F238E27FC236}">
                <a16:creationId xmlns:a16="http://schemas.microsoft.com/office/drawing/2014/main" id="{E0520CB7-BB8D-48EA-9EB5-B7A4068BD778}"/>
              </a:ext>
            </a:extLst>
          </p:cNvPr>
          <p:cNvSpPr/>
          <p:nvPr/>
        </p:nvSpPr>
        <p:spPr>
          <a:xfrm>
            <a:off x="7571761" y="1435230"/>
            <a:ext cx="1082253" cy="192456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1459" y="13573"/>
                </a:moveTo>
                <a:cubicBezTo>
                  <a:pt x="120000" y="13573"/>
                  <a:pt x="120000" y="13573"/>
                  <a:pt x="120000" y="13573"/>
                </a:cubicBezTo>
                <a:cubicBezTo>
                  <a:pt x="120000" y="8888"/>
                  <a:pt x="120000" y="8888"/>
                  <a:pt x="120000" y="8888"/>
                </a:cubicBezTo>
                <a:cubicBezTo>
                  <a:pt x="120000" y="3963"/>
                  <a:pt x="112953" y="0"/>
                  <a:pt x="104199" y="0"/>
                </a:cubicBezTo>
                <a:cubicBezTo>
                  <a:pt x="15800" y="0"/>
                  <a:pt x="15800" y="0"/>
                  <a:pt x="15800" y="0"/>
                </a:cubicBezTo>
                <a:cubicBezTo>
                  <a:pt x="7046" y="0"/>
                  <a:pt x="0" y="3963"/>
                  <a:pt x="0" y="8888"/>
                </a:cubicBezTo>
                <a:cubicBezTo>
                  <a:pt x="0" y="13573"/>
                  <a:pt x="0" y="13573"/>
                  <a:pt x="0" y="13573"/>
                </a:cubicBezTo>
                <a:cubicBezTo>
                  <a:pt x="8540" y="13573"/>
                  <a:pt x="8540" y="13573"/>
                  <a:pt x="8540" y="13573"/>
                </a:cubicBezTo>
                <a:cubicBezTo>
                  <a:pt x="8540" y="28228"/>
                  <a:pt x="8540" y="28228"/>
                  <a:pt x="8540" y="28228"/>
                </a:cubicBezTo>
                <a:cubicBezTo>
                  <a:pt x="8540" y="32312"/>
                  <a:pt x="10462" y="36396"/>
                  <a:pt x="13879" y="40000"/>
                </a:cubicBezTo>
                <a:cubicBezTo>
                  <a:pt x="30747" y="57297"/>
                  <a:pt x="30747" y="57297"/>
                  <a:pt x="30747" y="57297"/>
                </a:cubicBezTo>
                <a:cubicBezTo>
                  <a:pt x="32455" y="58978"/>
                  <a:pt x="32455" y="61021"/>
                  <a:pt x="30747" y="62702"/>
                </a:cubicBezTo>
                <a:cubicBezTo>
                  <a:pt x="14519" y="78198"/>
                  <a:pt x="14519" y="78198"/>
                  <a:pt x="14519" y="78198"/>
                </a:cubicBezTo>
                <a:cubicBezTo>
                  <a:pt x="10676" y="81921"/>
                  <a:pt x="8540" y="86126"/>
                  <a:pt x="8540" y="90450"/>
                </a:cubicBezTo>
                <a:cubicBezTo>
                  <a:pt x="8540" y="106426"/>
                  <a:pt x="8540" y="106426"/>
                  <a:pt x="8540" y="106426"/>
                </a:cubicBezTo>
                <a:cubicBezTo>
                  <a:pt x="0" y="106426"/>
                  <a:pt x="0" y="106426"/>
                  <a:pt x="0" y="106426"/>
                </a:cubicBezTo>
                <a:cubicBezTo>
                  <a:pt x="0" y="111111"/>
                  <a:pt x="0" y="111111"/>
                  <a:pt x="0" y="111111"/>
                </a:cubicBezTo>
                <a:cubicBezTo>
                  <a:pt x="0" y="116036"/>
                  <a:pt x="7046" y="120000"/>
                  <a:pt x="15800" y="120000"/>
                </a:cubicBezTo>
                <a:cubicBezTo>
                  <a:pt x="104199" y="120000"/>
                  <a:pt x="104199" y="120000"/>
                  <a:pt x="104199" y="120000"/>
                </a:cubicBezTo>
                <a:cubicBezTo>
                  <a:pt x="112953" y="120000"/>
                  <a:pt x="120000" y="116036"/>
                  <a:pt x="120000" y="111111"/>
                </a:cubicBezTo>
                <a:cubicBezTo>
                  <a:pt x="120000" y="106426"/>
                  <a:pt x="120000" y="106426"/>
                  <a:pt x="120000" y="106426"/>
                </a:cubicBezTo>
                <a:cubicBezTo>
                  <a:pt x="111459" y="106426"/>
                  <a:pt x="111459" y="106426"/>
                  <a:pt x="111459" y="106426"/>
                </a:cubicBezTo>
                <a:cubicBezTo>
                  <a:pt x="111459" y="90450"/>
                  <a:pt x="111459" y="90450"/>
                  <a:pt x="111459" y="90450"/>
                </a:cubicBezTo>
                <a:cubicBezTo>
                  <a:pt x="111459" y="86126"/>
                  <a:pt x="109323" y="81921"/>
                  <a:pt x="105480" y="78198"/>
                </a:cubicBezTo>
                <a:cubicBezTo>
                  <a:pt x="89252" y="62702"/>
                  <a:pt x="89252" y="62702"/>
                  <a:pt x="89252" y="62702"/>
                </a:cubicBezTo>
                <a:cubicBezTo>
                  <a:pt x="87544" y="61021"/>
                  <a:pt x="87544" y="58978"/>
                  <a:pt x="89252" y="57177"/>
                </a:cubicBezTo>
                <a:cubicBezTo>
                  <a:pt x="106120" y="40000"/>
                  <a:pt x="106120" y="40000"/>
                  <a:pt x="106120" y="40000"/>
                </a:cubicBezTo>
                <a:cubicBezTo>
                  <a:pt x="109537" y="36396"/>
                  <a:pt x="111459" y="32312"/>
                  <a:pt x="111459" y="28228"/>
                </a:cubicBezTo>
                <a:lnTo>
                  <a:pt x="111459" y="13573"/>
                </a:lnTo>
                <a:close/>
                <a:moveTo>
                  <a:pt x="97793" y="27027"/>
                </a:moveTo>
                <a:cubicBezTo>
                  <a:pt x="97793" y="30630"/>
                  <a:pt x="96085" y="34234"/>
                  <a:pt x="93096" y="37357"/>
                </a:cubicBezTo>
                <a:cubicBezTo>
                  <a:pt x="75160" y="55495"/>
                  <a:pt x="75160" y="55495"/>
                  <a:pt x="75160" y="55495"/>
                </a:cubicBezTo>
                <a:cubicBezTo>
                  <a:pt x="72384" y="58378"/>
                  <a:pt x="72597" y="61861"/>
                  <a:pt x="75373" y="64624"/>
                </a:cubicBezTo>
                <a:cubicBezTo>
                  <a:pt x="92455" y="80960"/>
                  <a:pt x="92455" y="80960"/>
                  <a:pt x="92455" y="80960"/>
                </a:cubicBezTo>
                <a:cubicBezTo>
                  <a:pt x="95871" y="84204"/>
                  <a:pt x="97793" y="88048"/>
                  <a:pt x="97793" y="91771"/>
                </a:cubicBezTo>
                <a:cubicBezTo>
                  <a:pt x="97793" y="106426"/>
                  <a:pt x="97793" y="106426"/>
                  <a:pt x="97793" y="106426"/>
                </a:cubicBezTo>
                <a:cubicBezTo>
                  <a:pt x="88185" y="106426"/>
                  <a:pt x="88185" y="106426"/>
                  <a:pt x="88185" y="106426"/>
                </a:cubicBezTo>
                <a:cubicBezTo>
                  <a:pt x="83701" y="102942"/>
                  <a:pt x="72811" y="100540"/>
                  <a:pt x="60000" y="100540"/>
                </a:cubicBezTo>
                <a:cubicBezTo>
                  <a:pt x="47188" y="100540"/>
                  <a:pt x="36085" y="102942"/>
                  <a:pt x="31814" y="106426"/>
                </a:cubicBezTo>
                <a:cubicBezTo>
                  <a:pt x="22206" y="106426"/>
                  <a:pt x="22206" y="106426"/>
                  <a:pt x="22206" y="106426"/>
                </a:cubicBezTo>
                <a:cubicBezTo>
                  <a:pt x="22206" y="91771"/>
                  <a:pt x="22206" y="91771"/>
                  <a:pt x="22206" y="91771"/>
                </a:cubicBezTo>
                <a:cubicBezTo>
                  <a:pt x="22206" y="88048"/>
                  <a:pt x="23914" y="84204"/>
                  <a:pt x="27544" y="80960"/>
                </a:cubicBezTo>
                <a:cubicBezTo>
                  <a:pt x="44412" y="64624"/>
                  <a:pt x="44412" y="64624"/>
                  <a:pt x="44412" y="64624"/>
                </a:cubicBezTo>
                <a:cubicBezTo>
                  <a:pt x="47402" y="61861"/>
                  <a:pt x="47402" y="58378"/>
                  <a:pt x="44626" y="55495"/>
                </a:cubicBezTo>
                <a:cubicBezTo>
                  <a:pt x="26903" y="37357"/>
                  <a:pt x="26903" y="37357"/>
                  <a:pt x="26903" y="37357"/>
                </a:cubicBezTo>
                <a:cubicBezTo>
                  <a:pt x="23914" y="34234"/>
                  <a:pt x="22206" y="30630"/>
                  <a:pt x="22206" y="27027"/>
                </a:cubicBezTo>
                <a:cubicBezTo>
                  <a:pt x="22206" y="13573"/>
                  <a:pt x="22206" y="13573"/>
                  <a:pt x="22206" y="13573"/>
                </a:cubicBezTo>
                <a:cubicBezTo>
                  <a:pt x="97793" y="13573"/>
                  <a:pt x="97793" y="13573"/>
                  <a:pt x="97793" y="13573"/>
                </a:cubicBezTo>
                <a:lnTo>
                  <a:pt x="97793" y="2702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îṧḻiḍé">
            <a:extLst>
              <a:ext uri="{FF2B5EF4-FFF2-40B4-BE49-F238E27FC236}">
                <a16:creationId xmlns:a16="http://schemas.microsoft.com/office/drawing/2014/main" id="{89587C74-170D-4C40-B65B-EC2A3083AC84}"/>
              </a:ext>
            </a:extLst>
          </p:cNvPr>
          <p:cNvSpPr/>
          <p:nvPr/>
        </p:nvSpPr>
        <p:spPr>
          <a:xfrm rot="10800000">
            <a:off x="7812752" y="2441233"/>
            <a:ext cx="600270" cy="45209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cubicBezTo>
                  <a:pt x="0" y="0"/>
                  <a:pt x="0" y="0"/>
                  <a:pt x="0" y="0"/>
                </a:cubicBezTo>
                <a:cubicBezTo>
                  <a:pt x="45652" y="108972"/>
                  <a:pt x="45652" y="108972"/>
                  <a:pt x="45652" y="108972"/>
                </a:cubicBezTo>
                <a:cubicBezTo>
                  <a:pt x="48260" y="116108"/>
                  <a:pt x="53913" y="120000"/>
                  <a:pt x="60000" y="120000"/>
                </a:cubicBezTo>
                <a:cubicBezTo>
                  <a:pt x="66086" y="120000"/>
                  <a:pt x="71739" y="116108"/>
                  <a:pt x="74347" y="108972"/>
                </a:cubicBezTo>
                <a:lnTo>
                  <a:pt x="12000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ïš1ïḍè">
            <a:extLst>
              <a:ext uri="{FF2B5EF4-FFF2-40B4-BE49-F238E27FC236}">
                <a16:creationId xmlns:a16="http://schemas.microsoft.com/office/drawing/2014/main" id="{95CF35BC-5556-4E56-B6A5-A706A357D864}"/>
              </a:ext>
            </a:extLst>
          </p:cNvPr>
          <p:cNvSpPr/>
          <p:nvPr/>
        </p:nvSpPr>
        <p:spPr>
          <a:xfrm rot="10800000">
            <a:off x="7884944" y="2076765"/>
            <a:ext cx="455885" cy="26140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120000"/>
                </a:moveTo>
                <a:cubicBezTo>
                  <a:pt x="0" y="120000"/>
                  <a:pt x="0" y="120000"/>
                  <a:pt x="0" y="120000"/>
                </a:cubicBezTo>
                <a:cubicBezTo>
                  <a:pt x="45569" y="11470"/>
                  <a:pt x="45569" y="11470"/>
                  <a:pt x="45569" y="11470"/>
                </a:cubicBezTo>
                <a:cubicBezTo>
                  <a:pt x="48101" y="4411"/>
                  <a:pt x="53670" y="0"/>
                  <a:pt x="59746" y="0"/>
                </a:cubicBezTo>
                <a:cubicBezTo>
                  <a:pt x="65822" y="0"/>
                  <a:pt x="71392" y="4411"/>
                  <a:pt x="74430" y="11470"/>
                </a:cubicBezTo>
                <a:lnTo>
                  <a:pt x="120000" y="12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íSļîḓe">
            <a:extLst>
              <a:ext uri="{FF2B5EF4-FFF2-40B4-BE49-F238E27FC236}">
                <a16:creationId xmlns:a16="http://schemas.microsoft.com/office/drawing/2014/main" id="{FEF28142-C87D-4B70-8E93-26F2AA9F8443}"/>
              </a:ext>
            </a:extLst>
          </p:cNvPr>
          <p:cNvSpPr/>
          <p:nvPr/>
        </p:nvSpPr>
        <p:spPr>
          <a:xfrm>
            <a:off x="9822608" y="2488439"/>
            <a:ext cx="611212" cy="52281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120000"/>
                </a:moveTo>
                <a:cubicBezTo>
                  <a:pt x="0" y="120000"/>
                  <a:pt x="0" y="120000"/>
                  <a:pt x="0" y="120000"/>
                </a:cubicBezTo>
                <a:cubicBezTo>
                  <a:pt x="45425" y="11070"/>
                  <a:pt x="45425" y="11070"/>
                  <a:pt x="45425" y="11070"/>
                </a:cubicBezTo>
                <a:cubicBezTo>
                  <a:pt x="48454" y="3985"/>
                  <a:pt x="53753" y="0"/>
                  <a:pt x="59810" y="0"/>
                </a:cubicBezTo>
                <a:cubicBezTo>
                  <a:pt x="65867" y="0"/>
                  <a:pt x="71545" y="3985"/>
                  <a:pt x="74574" y="11070"/>
                </a:cubicBezTo>
                <a:lnTo>
                  <a:pt x="120000" y="12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îśḻídé">
            <a:extLst>
              <a:ext uri="{FF2B5EF4-FFF2-40B4-BE49-F238E27FC236}">
                <a16:creationId xmlns:a16="http://schemas.microsoft.com/office/drawing/2014/main" id="{A1CF5D66-19A2-4287-899E-4D7A6B00BAD5}"/>
              </a:ext>
            </a:extLst>
          </p:cNvPr>
          <p:cNvSpPr/>
          <p:nvPr/>
        </p:nvSpPr>
        <p:spPr>
          <a:xfrm>
            <a:off x="9586456" y="1435230"/>
            <a:ext cx="1083515" cy="192456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1459" y="13573"/>
                </a:moveTo>
                <a:cubicBezTo>
                  <a:pt x="120000" y="13573"/>
                  <a:pt x="120000" y="13573"/>
                  <a:pt x="120000" y="13573"/>
                </a:cubicBezTo>
                <a:cubicBezTo>
                  <a:pt x="120000" y="8888"/>
                  <a:pt x="120000" y="8888"/>
                  <a:pt x="120000" y="8888"/>
                </a:cubicBezTo>
                <a:cubicBezTo>
                  <a:pt x="120000" y="3963"/>
                  <a:pt x="112953" y="0"/>
                  <a:pt x="104199" y="0"/>
                </a:cubicBezTo>
                <a:cubicBezTo>
                  <a:pt x="15800" y="0"/>
                  <a:pt x="15800" y="0"/>
                  <a:pt x="15800" y="0"/>
                </a:cubicBezTo>
                <a:cubicBezTo>
                  <a:pt x="7046" y="0"/>
                  <a:pt x="0" y="3963"/>
                  <a:pt x="0" y="8888"/>
                </a:cubicBezTo>
                <a:cubicBezTo>
                  <a:pt x="0" y="13573"/>
                  <a:pt x="0" y="13573"/>
                  <a:pt x="0" y="13573"/>
                </a:cubicBezTo>
                <a:cubicBezTo>
                  <a:pt x="8540" y="13573"/>
                  <a:pt x="8540" y="13573"/>
                  <a:pt x="8540" y="13573"/>
                </a:cubicBezTo>
                <a:cubicBezTo>
                  <a:pt x="8540" y="28228"/>
                  <a:pt x="8540" y="28228"/>
                  <a:pt x="8540" y="28228"/>
                </a:cubicBezTo>
                <a:cubicBezTo>
                  <a:pt x="8540" y="32312"/>
                  <a:pt x="10462" y="36396"/>
                  <a:pt x="13879" y="40000"/>
                </a:cubicBezTo>
                <a:cubicBezTo>
                  <a:pt x="30747" y="57297"/>
                  <a:pt x="30747" y="57297"/>
                  <a:pt x="30747" y="57297"/>
                </a:cubicBezTo>
                <a:cubicBezTo>
                  <a:pt x="32455" y="58978"/>
                  <a:pt x="32455" y="61021"/>
                  <a:pt x="30747" y="62702"/>
                </a:cubicBezTo>
                <a:cubicBezTo>
                  <a:pt x="14519" y="78198"/>
                  <a:pt x="14519" y="78198"/>
                  <a:pt x="14519" y="78198"/>
                </a:cubicBezTo>
                <a:cubicBezTo>
                  <a:pt x="10676" y="81921"/>
                  <a:pt x="8540" y="86126"/>
                  <a:pt x="8540" y="90450"/>
                </a:cubicBezTo>
                <a:cubicBezTo>
                  <a:pt x="8540" y="106426"/>
                  <a:pt x="8540" y="106426"/>
                  <a:pt x="8540" y="106426"/>
                </a:cubicBezTo>
                <a:cubicBezTo>
                  <a:pt x="0" y="106426"/>
                  <a:pt x="0" y="106426"/>
                  <a:pt x="0" y="106426"/>
                </a:cubicBezTo>
                <a:cubicBezTo>
                  <a:pt x="0" y="111111"/>
                  <a:pt x="0" y="111111"/>
                  <a:pt x="0" y="111111"/>
                </a:cubicBezTo>
                <a:cubicBezTo>
                  <a:pt x="0" y="116036"/>
                  <a:pt x="7046" y="120000"/>
                  <a:pt x="15800" y="120000"/>
                </a:cubicBezTo>
                <a:cubicBezTo>
                  <a:pt x="104199" y="120000"/>
                  <a:pt x="104199" y="120000"/>
                  <a:pt x="104199" y="120000"/>
                </a:cubicBezTo>
                <a:cubicBezTo>
                  <a:pt x="112953" y="120000"/>
                  <a:pt x="120000" y="116036"/>
                  <a:pt x="120000" y="111111"/>
                </a:cubicBezTo>
                <a:cubicBezTo>
                  <a:pt x="120000" y="106426"/>
                  <a:pt x="120000" y="106426"/>
                  <a:pt x="120000" y="106426"/>
                </a:cubicBezTo>
                <a:cubicBezTo>
                  <a:pt x="111459" y="106426"/>
                  <a:pt x="111459" y="106426"/>
                  <a:pt x="111459" y="106426"/>
                </a:cubicBezTo>
                <a:cubicBezTo>
                  <a:pt x="111459" y="90450"/>
                  <a:pt x="111459" y="90450"/>
                  <a:pt x="111459" y="90450"/>
                </a:cubicBezTo>
                <a:cubicBezTo>
                  <a:pt x="111459" y="86126"/>
                  <a:pt x="109323" y="81921"/>
                  <a:pt x="105480" y="78198"/>
                </a:cubicBezTo>
                <a:cubicBezTo>
                  <a:pt x="89252" y="62702"/>
                  <a:pt x="89252" y="62702"/>
                  <a:pt x="89252" y="62702"/>
                </a:cubicBezTo>
                <a:cubicBezTo>
                  <a:pt x="87544" y="61021"/>
                  <a:pt x="87544" y="58978"/>
                  <a:pt x="89252" y="57177"/>
                </a:cubicBezTo>
                <a:cubicBezTo>
                  <a:pt x="106120" y="40000"/>
                  <a:pt x="106120" y="40000"/>
                  <a:pt x="106120" y="40000"/>
                </a:cubicBezTo>
                <a:cubicBezTo>
                  <a:pt x="109537" y="36396"/>
                  <a:pt x="111459" y="32312"/>
                  <a:pt x="111459" y="28228"/>
                </a:cubicBezTo>
                <a:lnTo>
                  <a:pt x="111459" y="13573"/>
                </a:lnTo>
                <a:close/>
                <a:moveTo>
                  <a:pt x="97793" y="27027"/>
                </a:moveTo>
                <a:cubicBezTo>
                  <a:pt x="97793" y="30630"/>
                  <a:pt x="96085" y="34234"/>
                  <a:pt x="93096" y="37357"/>
                </a:cubicBezTo>
                <a:cubicBezTo>
                  <a:pt x="75160" y="55495"/>
                  <a:pt x="75160" y="55495"/>
                  <a:pt x="75160" y="55495"/>
                </a:cubicBezTo>
                <a:cubicBezTo>
                  <a:pt x="72384" y="58378"/>
                  <a:pt x="72597" y="61861"/>
                  <a:pt x="75373" y="64624"/>
                </a:cubicBezTo>
                <a:cubicBezTo>
                  <a:pt x="92455" y="80960"/>
                  <a:pt x="92455" y="80960"/>
                  <a:pt x="92455" y="80960"/>
                </a:cubicBezTo>
                <a:cubicBezTo>
                  <a:pt x="95871" y="84204"/>
                  <a:pt x="97793" y="88048"/>
                  <a:pt x="97793" y="91771"/>
                </a:cubicBezTo>
                <a:cubicBezTo>
                  <a:pt x="97793" y="106426"/>
                  <a:pt x="97793" y="106426"/>
                  <a:pt x="97793" y="106426"/>
                </a:cubicBezTo>
                <a:cubicBezTo>
                  <a:pt x="88185" y="106426"/>
                  <a:pt x="88185" y="106426"/>
                  <a:pt x="88185" y="106426"/>
                </a:cubicBezTo>
                <a:cubicBezTo>
                  <a:pt x="83701" y="102942"/>
                  <a:pt x="72811" y="100540"/>
                  <a:pt x="60000" y="100540"/>
                </a:cubicBezTo>
                <a:cubicBezTo>
                  <a:pt x="47188" y="100540"/>
                  <a:pt x="36085" y="102942"/>
                  <a:pt x="31814" y="106426"/>
                </a:cubicBezTo>
                <a:cubicBezTo>
                  <a:pt x="22206" y="106426"/>
                  <a:pt x="22206" y="106426"/>
                  <a:pt x="22206" y="106426"/>
                </a:cubicBezTo>
                <a:cubicBezTo>
                  <a:pt x="22206" y="91771"/>
                  <a:pt x="22206" y="91771"/>
                  <a:pt x="22206" y="91771"/>
                </a:cubicBezTo>
                <a:cubicBezTo>
                  <a:pt x="22206" y="88048"/>
                  <a:pt x="23914" y="84204"/>
                  <a:pt x="27544" y="80960"/>
                </a:cubicBezTo>
                <a:cubicBezTo>
                  <a:pt x="44412" y="64624"/>
                  <a:pt x="44412" y="64624"/>
                  <a:pt x="44412" y="64624"/>
                </a:cubicBezTo>
                <a:cubicBezTo>
                  <a:pt x="47402" y="61861"/>
                  <a:pt x="47402" y="58378"/>
                  <a:pt x="44626" y="55495"/>
                </a:cubicBezTo>
                <a:cubicBezTo>
                  <a:pt x="26903" y="37357"/>
                  <a:pt x="26903" y="37357"/>
                  <a:pt x="26903" y="37357"/>
                </a:cubicBezTo>
                <a:cubicBezTo>
                  <a:pt x="23914" y="34234"/>
                  <a:pt x="22206" y="30630"/>
                  <a:pt x="22206" y="27027"/>
                </a:cubicBezTo>
                <a:cubicBezTo>
                  <a:pt x="22206" y="13573"/>
                  <a:pt x="22206" y="13573"/>
                  <a:pt x="22206" y="13573"/>
                </a:cubicBezTo>
                <a:cubicBezTo>
                  <a:pt x="97793" y="13573"/>
                  <a:pt x="97793" y="13573"/>
                  <a:pt x="97793" y="13573"/>
                </a:cubicBezTo>
                <a:lnTo>
                  <a:pt x="97793" y="27027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îsḷíďê">
            <a:extLst>
              <a:ext uri="{FF2B5EF4-FFF2-40B4-BE49-F238E27FC236}">
                <a16:creationId xmlns:a16="http://schemas.microsoft.com/office/drawing/2014/main" id="{04780004-3186-49D9-9428-DE360B0C954D}"/>
              </a:ext>
            </a:extLst>
          </p:cNvPr>
          <p:cNvSpPr/>
          <p:nvPr/>
        </p:nvSpPr>
        <p:spPr bwMode="auto">
          <a:xfrm>
            <a:off x="983902" y="4644235"/>
            <a:ext cx="2159770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5" name="iSlïdè">
            <a:extLst>
              <a:ext uri="{FF2B5EF4-FFF2-40B4-BE49-F238E27FC236}">
                <a16:creationId xmlns:a16="http://schemas.microsoft.com/office/drawing/2014/main" id="{1EAB11C7-5738-44A9-B832-C1399CB19669}"/>
              </a:ext>
            </a:extLst>
          </p:cNvPr>
          <p:cNvSpPr txBox="1"/>
          <p:nvPr/>
        </p:nvSpPr>
        <p:spPr bwMode="auto">
          <a:xfrm>
            <a:off x="983902" y="4293096"/>
            <a:ext cx="2159770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  <a:endParaRPr lang="en-US" altLang="zh-CN" sz="1800" b="1" dirty="0"/>
          </a:p>
        </p:txBody>
      </p:sp>
      <p:sp>
        <p:nvSpPr>
          <p:cNvPr id="32" name="íšlïďé">
            <a:extLst>
              <a:ext uri="{FF2B5EF4-FFF2-40B4-BE49-F238E27FC236}">
                <a16:creationId xmlns:a16="http://schemas.microsoft.com/office/drawing/2014/main" id="{4AC638FA-387D-4B92-ACA8-2DA7559F9140}"/>
              </a:ext>
            </a:extLst>
          </p:cNvPr>
          <p:cNvSpPr/>
          <p:nvPr/>
        </p:nvSpPr>
        <p:spPr bwMode="auto">
          <a:xfrm>
            <a:off x="3001452" y="5462781"/>
            <a:ext cx="215844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3" name="ïşlíďe">
            <a:extLst>
              <a:ext uri="{FF2B5EF4-FFF2-40B4-BE49-F238E27FC236}">
                <a16:creationId xmlns:a16="http://schemas.microsoft.com/office/drawing/2014/main" id="{BEC094E4-D8BC-48C1-B0CC-B9E10FA9F008}"/>
              </a:ext>
            </a:extLst>
          </p:cNvPr>
          <p:cNvSpPr txBox="1"/>
          <p:nvPr/>
        </p:nvSpPr>
        <p:spPr bwMode="auto">
          <a:xfrm>
            <a:off x="3001452" y="5111642"/>
            <a:ext cx="215844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30" name="ï$lïďe">
            <a:extLst>
              <a:ext uri="{FF2B5EF4-FFF2-40B4-BE49-F238E27FC236}">
                <a16:creationId xmlns:a16="http://schemas.microsoft.com/office/drawing/2014/main" id="{519B5F05-DF4B-4447-94F2-7003DE7309E6}"/>
              </a:ext>
            </a:extLst>
          </p:cNvPr>
          <p:cNvSpPr/>
          <p:nvPr/>
        </p:nvSpPr>
        <p:spPr bwMode="auto">
          <a:xfrm>
            <a:off x="5019899" y="4644235"/>
            <a:ext cx="2155322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1" name="ïṡḷiḓè">
            <a:extLst>
              <a:ext uri="{FF2B5EF4-FFF2-40B4-BE49-F238E27FC236}">
                <a16:creationId xmlns:a16="http://schemas.microsoft.com/office/drawing/2014/main" id="{F75108DF-4BCE-4610-BDD9-838116DB9DFD}"/>
              </a:ext>
            </a:extLst>
          </p:cNvPr>
          <p:cNvSpPr txBox="1"/>
          <p:nvPr/>
        </p:nvSpPr>
        <p:spPr bwMode="auto">
          <a:xfrm>
            <a:off x="5019899" y="4293096"/>
            <a:ext cx="2155322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28" name="ïṩḻíďè">
            <a:extLst>
              <a:ext uri="{FF2B5EF4-FFF2-40B4-BE49-F238E27FC236}">
                <a16:creationId xmlns:a16="http://schemas.microsoft.com/office/drawing/2014/main" id="{DF4A814B-8774-4D7D-BF57-62AE16D09DE5}"/>
              </a:ext>
            </a:extLst>
          </p:cNvPr>
          <p:cNvSpPr/>
          <p:nvPr/>
        </p:nvSpPr>
        <p:spPr bwMode="auto">
          <a:xfrm>
            <a:off x="7033428" y="5462781"/>
            <a:ext cx="2158916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9" name="iṥ1iḋê">
            <a:extLst>
              <a:ext uri="{FF2B5EF4-FFF2-40B4-BE49-F238E27FC236}">
                <a16:creationId xmlns:a16="http://schemas.microsoft.com/office/drawing/2014/main" id="{A8919A4D-DD8D-4BF3-BF87-629D61571306}"/>
              </a:ext>
            </a:extLst>
          </p:cNvPr>
          <p:cNvSpPr txBox="1"/>
          <p:nvPr/>
        </p:nvSpPr>
        <p:spPr bwMode="auto">
          <a:xfrm>
            <a:off x="7033428" y="5111642"/>
            <a:ext cx="215891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26" name="ïṣliḋe">
            <a:extLst>
              <a:ext uri="{FF2B5EF4-FFF2-40B4-BE49-F238E27FC236}">
                <a16:creationId xmlns:a16="http://schemas.microsoft.com/office/drawing/2014/main" id="{A1496DEA-3215-4C29-BDE9-172DFA1F62A8}"/>
              </a:ext>
            </a:extLst>
          </p:cNvPr>
          <p:cNvSpPr/>
          <p:nvPr/>
        </p:nvSpPr>
        <p:spPr bwMode="auto">
          <a:xfrm>
            <a:off x="9048757" y="4644235"/>
            <a:ext cx="2158912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7" name="íSlîḑé">
            <a:extLst>
              <a:ext uri="{FF2B5EF4-FFF2-40B4-BE49-F238E27FC236}">
                <a16:creationId xmlns:a16="http://schemas.microsoft.com/office/drawing/2014/main" id="{FDCFE01C-146E-4525-A192-D2852BF160AB}"/>
              </a:ext>
            </a:extLst>
          </p:cNvPr>
          <p:cNvSpPr txBox="1"/>
          <p:nvPr/>
        </p:nvSpPr>
        <p:spPr bwMode="auto">
          <a:xfrm>
            <a:off x="9048757" y="4293096"/>
            <a:ext cx="2158912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21" name="î$liďé">
            <a:extLst>
              <a:ext uri="{FF2B5EF4-FFF2-40B4-BE49-F238E27FC236}">
                <a16:creationId xmlns:a16="http://schemas.microsoft.com/office/drawing/2014/main" id="{5034A3F1-10DD-44E8-90E4-34B4050EB6B6}"/>
              </a:ext>
            </a:extLst>
          </p:cNvPr>
          <p:cNvSpPr/>
          <p:nvPr/>
        </p:nvSpPr>
        <p:spPr>
          <a:xfrm>
            <a:off x="1631739" y="3433936"/>
            <a:ext cx="864096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</a:p>
        </p:txBody>
      </p:sp>
      <p:sp>
        <p:nvSpPr>
          <p:cNvPr id="22" name="î$lïdé">
            <a:extLst>
              <a:ext uri="{FF2B5EF4-FFF2-40B4-BE49-F238E27FC236}">
                <a16:creationId xmlns:a16="http://schemas.microsoft.com/office/drawing/2014/main" id="{59EF5568-4883-45C9-9DE4-4D86FC22229B}"/>
              </a:ext>
            </a:extLst>
          </p:cNvPr>
          <p:cNvSpPr/>
          <p:nvPr/>
        </p:nvSpPr>
        <p:spPr>
          <a:xfrm>
            <a:off x="3648626" y="3433936"/>
            <a:ext cx="864096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</a:p>
        </p:txBody>
      </p:sp>
      <p:sp>
        <p:nvSpPr>
          <p:cNvPr id="23" name="îŝ1iḍè">
            <a:extLst>
              <a:ext uri="{FF2B5EF4-FFF2-40B4-BE49-F238E27FC236}">
                <a16:creationId xmlns:a16="http://schemas.microsoft.com/office/drawing/2014/main" id="{7EE42796-EBAF-46A5-B007-F77362B1E827}"/>
              </a:ext>
            </a:extLst>
          </p:cNvPr>
          <p:cNvSpPr/>
          <p:nvPr/>
        </p:nvSpPr>
        <p:spPr>
          <a:xfrm>
            <a:off x="5665513" y="3433936"/>
            <a:ext cx="864096" cy="378094"/>
          </a:xfrm>
          <a:prstGeom prst="roundRect">
            <a:avLst>
              <a:gd name="adj" fmla="val 11253"/>
            </a:avLst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</a:p>
        </p:txBody>
      </p:sp>
      <p:sp>
        <p:nvSpPr>
          <p:cNvPr id="24" name="iṣḻíďè">
            <a:extLst>
              <a:ext uri="{FF2B5EF4-FFF2-40B4-BE49-F238E27FC236}">
                <a16:creationId xmlns:a16="http://schemas.microsoft.com/office/drawing/2014/main" id="{8D5CF9F3-E881-401A-9493-F030F2F0CBD4}"/>
              </a:ext>
            </a:extLst>
          </p:cNvPr>
          <p:cNvSpPr/>
          <p:nvPr/>
        </p:nvSpPr>
        <p:spPr>
          <a:xfrm>
            <a:off x="7682400" y="3433936"/>
            <a:ext cx="864096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</a:p>
        </p:txBody>
      </p:sp>
      <p:sp>
        <p:nvSpPr>
          <p:cNvPr id="25" name="ïṣ1îďé">
            <a:extLst>
              <a:ext uri="{FF2B5EF4-FFF2-40B4-BE49-F238E27FC236}">
                <a16:creationId xmlns:a16="http://schemas.microsoft.com/office/drawing/2014/main" id="{471C038B-F5A7-4A02-A332-F0578D5E6CCC}"/>
              </a:ext>
            </a:extLst>
          </p:cNvPr>
          <p:cNvSpPr/>
          <p:nvPr/>
        </p:nvSpPr>
        <p:spPr>
          <a:xfrm>
            <a:off x="9699287" y="3433936"/>
            <a:ext cx="864096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</a:p>
        </p:txBody>
      </p:sp>
    </p:spTree>
    <p:extLst>
      <p:ext uri="{BB962C8B-B14F-4D97-AF65-F5344CB8AC3E}">
        <p14:creationId xmlns:p14="http://schemas.microsoft.com/office/powerpoint/2010/main" val="4139216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B76B21-10DE-4EDB-8ED0-D3E0F8511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0724EA5-4835-4C4B-AA22-17002269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3075F4-8135-4DD2-9526-D829638AE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19" name="íš1ïḓè">
            <a:extLst>
              <a:ext uri="{FF2B5EF4-FFF2-40B4-BE49-F238E27FC236}">
                <a16:creationId xmlns:a16="http://schemas.microsoft.com/office/drawing/2014/main" id="{F272EBC4-4CC5-4479-BDD9-0D3553010883}"/>
              </a:ext>
            </a:extLst>
          </p:cNvPr>
          <p:cNvSpPr/>
          <p:nvPr/>
        </p:nvSpPr>
        <p:spPr bwMode="auto">
          <a:xfrm>
            <a:off x="7141925" y="5156320"/>
            <a:ext cx="227013" cy="95250"/>
          </a:xfrm>
          <a:custGeom>
            <a:avLst/>
            <a:gdLst>
              <a:gd name="T0" fmla="*/ 34 w 69"/>
              <a:gd name="T1" fmla="*/ 29 h 29"/>
              <a:gd name="T2" fmla="*/ 69 w 69"/>
              <a:gd name="T3" fmla="*/ 0 h 29"/>
              <a:gd name="T4" fmla="*/ 1 w 69"/>
              <a:gd name="T5" fmla="*/ 0 h 29"/>
              <a:gd name="T6" fmla="*/ 34 w 69"/>
              <a:gd name="T7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29">
                <a:moveTo>
                  <a:pt x="34" y="29"/>
                </a:moveTo>
                <a:cubicBezTo>
                  <a:pt x="34" y="29"/>
                  <a:pt x="69" y="26"/>
                  <a:pt x="69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0" y="29"/>
                  <a:pt x="34" y="2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" name="îṥlíďè">
            <a:extLst>
              <a:ext uri="{FF2B5EF4-FFF2-40B4-BE49-F238E27FC236}">
                <a16:creationId xmlns:a16="http://schemas.microsoft.com/office/drawing/2014/main" id="{B9495962-6683-42FD-89D9-F779624E5205}"/>
              </a:ext>
            </a:extLst>
          </p:cNvPr>
          <p:cNvSpPr/>
          <p:nvPr/>
        </p:nvSpPr>
        <p:spPr bwMode="auto">
          <a:xfrm>
            <a:off x="7253050" y="5156320"/>
            <a:ext cx="1370013" cy="95250"/>
          </a:xfrm>
          <a:custGeom>
            <a:avLst/>
            <a:gdLst>
              <a:gd name="T0" fmla="*/ 0 w 415"/>
              <a:gd name="T1" fmla="*/ 29 h 29"/>
              <a:gd name="T2" fmla="*/ 376 w 415"/>
              <a:gd name="T3" fmla="*/ 29 h 29"/>
              <a:gd name="T4" fmla="*/ 413 w 415"/>
              <a:gd name="T5" fmla="*/ 0 h 29"/>
              <a:gd name="T6" fmla="*/ 35 w 415"/>
              <a:gd name="T7" fmla="*/ 0 h 29"/>
              <a:gd name="T8" fmla="*/ 0 w 415"/>
              <a:gd name="T9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" h="29">
                <a:moveTo>
                  <a:pt x="0" y="29"/>
                </a:moveTo>
                <a:cubicBezTo>
                  <a:pt x="0" y="29"/>
                  <a:pt x="337" y="29"/>
                  <a:pt x="376" y="29"/>
                </a:cubicBezTo>
                <a:cubicBezTo>
                  <a:pt x="415" y="29"/>
                  <a:pt x="413" y="0"/>
                  <a:pt x="413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26"/>
                  <a:pt x="0" y="29"/>
                  <a:pt x="0" y="29"/>
                </a:cubicBezTo>
                <a:close/>
              </a:path>
            </a:pathLst>
          </a:custGeom>
          <a:solidFill>
            <a:srgbClr val="F3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íŝḻiḑê">
            <a:extLst>
              <a:ext uri="{FF2B5EF4-FFF2-40B4-BE49-F238E27FC236}">
                <a16:creationId xmlns:a16="http://schemas.microsoft.com/office/drawing/2014/main" id="{3609D71D-F9AA-4D79-953E-2E8C9B5F02AA}"/>
              </a:ext>
            </a:extLst>
          </p:cNvPr>
          <p:cNvSpPr/>
          <p:nvPr/>
        </p:nvSpPr>
        <p:spPr bwMode="auto">
          <a:xfrm>
            <a:off x="7368938" y="2527420"/>
            <a:ext cx="1250950" cy="262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" name="íşlíḑe">
            <a:extLst>
              <a:ext uri="{FF2B5EF4-FFF2-40B4-BE49-F238E27FC236}">
                <a16:creationId xmlns:a16="http://schemas.microsoft.com/office/drawing/2014/main" id="{EC7CC430-6137-4A6C-BFD4-C8166A0B8A0C}"/>
              </a:ext>
            </a:extLst>
          </p:cNvPr>
          <p:cNvSpPr/>
          <p:nvPr/>
        </p:nvSpPr>
        <p:spPr bwMode="auto">
          <a:xfrm>
            <a:off x="7368938" y="2527420"/>
            <a:ext cx="1250950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" name="îsļïḍê">
            <a:extLst>
              <a:ext uri="{FF2B5EF4-FFF2-40B4-BE49-F238E27FC236}">
                <a16:creationId xmlns:a16="http://schemas.microsoft.com/office/drawing/2014/main" id="{154AE4AA-75A9-4DD6-9993-98401CB4B415}"/>
              </a:ext>
            </a:extLst>
          </p:cNvPr>
          <p:cNvSpPr/>
          <p:nvPr/>
        </p:nvSpPr>
        <p:spPr bwMode="auto">
          <a:xfrm>
            <a:off x="8619888" y="2435345"/>
            <a:ext cx="227013" cy="92075"/>
          </a:xfrm>
          <a:custGeom>
            <a:avLst/>
            <a:gdLst>
              <a:gd name="T0" fmla="*/ 35 w 69"/>
              <a:gd name="T1" fmla="*/ 0 h 28"/>
              <a:gd name="T2" fmla="*/ 0 w 69"/>
              <a:gd name="T3" fmla="*/ 28 h 28"/>
              <a:gd name="T4" fmla="*/ 67 w 69"/>
              <a:gd name="T5" fmla="*/ 28 h 28"/>
              <a:gd name="T6" fmla="*/ 35 w 69"/>
              <a:gd name="T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28">
                <a:moveTo>
                  <a:pt x="35" y="0"/>
                </a:moveTo>
                <a:cubicBezTo>
                  <a:pt x="35" y="0"/>
                  <a:pt x="0" y="3"/>
                  <a:pt x="0" y="28"/>
                </a:cubicBezTo>
                <a:cubicBezTo>
                  <a:pt x="67" y="28"/>
                  <a:pt x="67" y="28"/>
                  <a:pt x="67" y="28"/>
                </a:cubicBezTo>
                <a:cubicBezTo>
                  <a:pt x="67" y="28"/>
                  <a:pt x="69" y="0"/>
                  <a:pt x="35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" name="iŝ1ïḍê">
            <a:extLst>
              <a:ext uri="{FF2B5EF4-FFF2-40B4-BE49-F238E27FC236}">
                <a16:creationId xmlns:a16="http://schemas.microsoft.com/office/drawing/2014/main" id="{7C980B49-74A8-4B8B-8C6E-B2BDEBE130C4}"/>
              </a:ext>
            </a:extLst>
          </p:cNvPr>
          <p:cNvSpPr/>
          <p:nvPr/>
        </p:nvSpPr>
        <p:spPr bwMode="auto">
          <a:xfrm>
            <a:off x="7365763" y="2435345"/>
            <a:ext cx="1370013" cy="92075"/>
          </a:xfrm>
          <a:custGeom>
            <a:avLst/>
            <a:gdLst>
              <a:gd name="T0" fmla="*/ 415 w 415"/>
              <a:gd name="T1" fmla="*/ 0 h 28"/>
              <a:gd name="T2" fmla="*/ 39 w 415"/>
              <a:gd name="T3" fmla="*/ 0 h 28"/>
              <a:gd name="T4" fmla="*/ 1 w 415"/>
              <a:gd name="T5" fmla="*/ 28 h 28"/>
              <a:gd name="T6" fmla="*/ 380 w 415"/>
              <a:gd name="T7" fmla="*/ 28 h 28"/>
              <a:gd name="T8" fmla="*/ 415 w 415"/>
              <a:gd name="T9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" h="28">
                <a:moveTo>
                  <a:pt x="415" y="0"/>
                </a:moveTo>
                <a:cubicBezTo>
                  <a:pt x="415" y="0"/>
                  <a:pt x="78" y="0"/>
                  <a:pt x="39" y="0"/>
                </a:cubicBezTo>
                <a:cubicBezTo>
                  <a:pt x="0" y="0"/>
                  <a:pt x="1" y="28"/>
                  <a:pt x="1" y="28"/>
                </a:cubicBezTo>
                <a:cubicBezTo>
                  <a:pt x="380" y="28"/>
                  <a:pt x="380" y="28"/>
                  <a:pt x="380" y="28"/>
                </a:cubicBezTo>
                <a:cubicBezTo>
                  <a:pt x="380" y="3"/>
                  <a:pt x="415" y="0"/>
                  <a:pt x="41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iṧ1ïďe">
            <a:extLst>
              <a:ext uri="{FF2B5EF4-FFF2-40B4-BE49-F238E27FC236}">
                <a16:creationId xmlns:a16="http://schemas.microsoft.com/office/drawing/2014/main" id="{A42955DF-FB78-46C1-9A06-4DB8E3609282}"/>
              </a:ext>
            </a:extLst>
          </p:cNvPr>
          <p:cNvSpPr/>
          <p:nvPr/>
        </p:nvSpPr>
        <p:spPr bwMode="auto">
          <a:xfrm>
            <a:off x="7445138" y="2633783"/>
            <a:ext cx="134938" cy="22225"/>
          </a:xfrm>
          <a:custGeom>
            <a:avLst/>
            <a:gdLst>
              <a:gd name="T0" fmla="*/ 38 w 41"/>
              <a:gd name="T1" fmla="*/ 7 h 7"/>
              <a:gd name="T2" fmla="*/ 3 w 41"/>
              <a:gd name="T3" fmla="*/ 7 h 7"/>
              <a:gd name="T4" fmla="*/ 0 w 41"/>
              <a:gd name="T5" fmla="*/ 3 h 7"/>
              <a:gd name="T6" fmla="*/ 3 w 41"/>
              <a:gd name="T7" fmla="*/ 0 h 7"/>
              <a:gd name="T8" fmla="*/ 38 w 41"/>
              <a:gd name="T9" fmla="*/ 0 h 7"/>
              <a:gd name="T10" fmla="*/ 41 w 41"/>
              <a:gd name="T11" fmla="*/ 3 h 7"/>
              <a:gd name="T12" fmla="*/ 38 w 41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7">
                <a:moveTo>
                  <a:pt x="38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0" y="0"/>
                  <a:pt x="41" y="1"/>
                  <a:pt x="41" y="3"/>
                </a:cubicBezTo>
                <a:cubicBezTo>
                  <a:pt x="41" y="5"/>
                  <a:pt x="40" y="7"/>
                  <a:pt x="38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6" name="íšḷïḍê">
            <a:extLst>
              <a:ext uri="{FF2B5EF4-FFF2-40B4-BE49-F238E27FC236}">
                <a16:creationId xmlns:a16="http://schemas.microsoft.com/office/drawing/2014/main" id="{54B5E1B1-464A-4685-BB12-6C670CB72B8D}"/>
              </a:ext>
            </a:extLst>
          </p:cNvPr>
          <p:cNvSpPr/>
          <p:nvPr/>
        </p:nvSpPr>
        <p:spPr bwMode="auto">
          <a:xfrm>
            <a:off x="7622938" y="2633783"/>
            <a:ext cx="152400" cy="22225"/>
          </a:xfrm>
          <a:custGeom>
            <a:avLst/>
            <a:gdLst>
              <a:gd name="T0" fmla="*/ 43 w 46"/>
              <a:gd name="T1" fmla="*/ 7 h 7"/>
              <a:gd name="T2" fmla="*/ 3 w 46"/>
              <a:gd name="T3" fmla="*/ 7 h 7"/>
              <a:gd name="T4" fmla="*/ 0 w 46"/>
              <a:gd name="T5" fmla="*/ 3 h 7"/>
              <a:gd name="T6" fmla="*/ 3 w 46"/>
              <a:gd name="T7" fmla="*/ 0 h 7"/>
              <a:gd name="T8" fmla="*/ 43 w 46"/>
              <a:gd name="T9" fmla="*/ 0 h 7"/>
              <a:gd name="T10" fmla="*/ 46 w 46"/>
              <a:gd name="T11" fmla="*/ 3 h 7"/>
              <a:gd name="T12" fmla="*/ 43 w 4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7">
                <a:moveTo>
                  <a:pt x="43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5" y="0"/>
                  <a:pt x="46" y="1"/>
                  <a:pt x="46" y="3"/>
                </a:cubicBezTo>
                <a:cubicBezTo>
                  <a:pt x="46" y="5"/>
                  <a:pt x="45" y="7"/>
                  <a:pt x="43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7" name="iSḻïḑè">
            <a:extLst>
              <a:ext uri="{FF2B5EF4-FFF2-40B4-BE49-F238E27FC236}">
                <a16:creationId xmlns:a16="http://schemas.microsoft.com/office/drawing/2014/main" id="{F222A390-5219-4ABF-BDE7-C2E966BCF89C}"/>
              </a:ext>
            </a:extLst>
          </p:cNvPr>
          <p:cNvSpPr/>
          <p:nvPr/>
        </p:nvSpPr>
        <p:spPr bwMode="auto">
          <a:xfrm>
            <a:off x="7445138" y="2722683"/>
            <a:ext cx="465138" cy="22225"/>
          </a:xfrm>
          <a:custGeom>
            <a:avLst/>
            <a:gdLst>
              <a:gd name="T0" fmla="*/ 137 w 141"/>
              <a:gd name="T1" fmla="*/ 7 h 7"/>
              <a:gd name="T2" fmla="*/ 3 w 141"/>
              <a:gd name="T3" fmla="*/ 7 h 7"/>
              <a:gd name="T4" fmla="*/ 0 w 141"/>
              <a:gd name="T5" fmla="*/ 4 h 7"/>
              <a:gd name="T6" fmla="*/ 3 w 141"/>
              <a:gd name="T7" fmla="*/ 0 h 7"/>
              <a:gd name="T8" fmla="*/ 137 w 141"/>
              <a:gd name="T9" fmla="*/ 0 h 7"/>
              <a:gd name="T10" fmla="*/ 141 w 141"/>
              <a:gd name="T11" fmla="*/ 4 h 7"/>
              <a:gd name="T12" fmla="*/ 137 w 141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1" h="7">
                <a:moveTo>
                  <a:pt x="137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39" y="0"/>
                  <a:pt x="141" y="2"/>
                  <a:pt x="141" y="4"/>
                </a:cubicBezTo>
                <a:cubicBezTo>
                  <a:pt x="141" y="6"/>
                  <a:pt x="139" y="7"/>
                  <a:pt x="137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8" name="ïSľïḍé">
            <a:extLst>
              <a:ext uri="{FF2B5EF4-FFF2-40B4-BE49-F238E27FC236}">
                <a16:creationId xmlns:a16="http://schemas.microsoft.com/office/drawing/2014/main" id="{71F08F60-B914-41BB-96F2-84B342817386}"/>
              </a:ext>
            </a:extLst>
          </p:cNvPr>
          <p:cNvSpPr/>
          <p:nvPr/>
        </p:nvSpPr>
        <p:spPr bwMode="auto">
          <a:xfrm>
            <a:off x="7445138" y="2821108"/>
            <a:ext cx="241300" cy="23813"/>
          </a:xfrm>
          <a:custGeom>
            <a:avLst/>
            <a:gdLst>
              <a:gd name="T0" fmla="*/ 70 w 73"/>
              <a:gd name="T1" fmla="*/ 7 h 7"/>
              <a:gd name="T2" fmla="*/ 3 w 73"/>
              <a:gd name="T3" fmla="*/ 7 h 7"/>
              <a:gd name="T4" fmla="*/ 0 w 73"/>
              <a:gd name="T5" fmla="*/ 3 h 7"/>
              <a:gd name="T6" fmla="*/ 3 w 73"/>
              <a:gd name="T7" fmla="*/ 0 h 7"/>
              <a:gd name="T8" fmla="*/ 70 w 73"/>
              <a:gd name="T9" fmla="*/ 0 h 7"/>
              <a:gd name="T10" fmla="*/ 73 w 73"/>
              <a:gd name="T11" fmla="*/ 3 h 7"/>
              <a:gd name="T12" fmla="*/ 70 w 7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3" h="7">
                <a:moveTo>
                  <a:pt x="70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2" y="0"/>
                  <a:pt x="73" y="1"/>
                  <a:pt x="73" y="3"/>
                </a:cubicBezTo>
                <a:cubicBezTo>
                  <a:pt x="73" y="5"/>
                  <a:pt x="72" y="7"/>
                  <a:pt x="70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9" name="ïŝ1íde">
            <a:extLst>
              <a:ext uri="{FF2B5EF4-FFF2-40B4-BE49-F238E27FC236}">
                <a16:creationId xmlns:a16="http://schemas.microsoft.com/office/drawing/2014/main" id="{2E6F7CCD-F1B3-4365-A3DD-F9F577229314}"/>
              </a:ext>
            </a:extLst>
          </p:cNvPr>
          <p:cNvSpPr/>
          <p:nvPr/>
        </p:nvSpPr>
        <p:spPr bwMode="auto">
          <a:xfrm>
            <a:off x="7732475" y="2821108"/>
            <a:ext cx="88900" cy="23813"/>
          </a:xfrm>
          <a:custGeom>
            <a:avLst/>
            <a:gdLst>
              <a:gd name="T0" fmla="*/ 24 w 27"/>
              <a:gd name="T1" fmla="*/ 7 h 7"/>
              <a:gd name="T2" fmla="*/ 3 w 27"/>
              <a:gd name="T3" fmla="*/ 7 h 7"/>
              <a:gd name="T4" fmla="*/ 0 w 27"/>
              <a:gd name="T5" fmla="*/ 3 h 7"/>
              <a:gd name="T6" fmla="*/ 3 w 27"/>
              <a:gd name="T7" fmla="*/ 0 h 7"/>
              <a:gd name="T8" fmla="*/ 24 w 27"/>
              <a:gd name="T9" fmla="*/ 0 h 7"/>
              <a:gd name="T10" fmla="*/ 27 w 27"/>
              <a:gd name="T11" fmla="*/ 3 h 7"/>
              <a:gd name="T12" fmla="*/ 24 w 27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7">
                <a:moveTo>
                  <a:pt x="24" y="7"/>
                </a:move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5" y="0"/>
                  <a:pt x="27" y="1"/>
                  <a:pt x="27" y="3"/>
                </a:cubicBezTo>
                <a:cubicBezTo>
                  <a:pt x="27" y="5"/>
                  <a:pt x="25" y="7"/>
                  <a:pt x="24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0" name="íṥliḋê">
            <a:extLst>
              <a:ext uri="{FF2B5EF4-FFF2-40B4-BE49-F238E27FC236}">
                <a16:creationId xmlns:a16="http://schemas.microsoft.com/office/drawing/2014/main" id="{2B7C1640-C980-4309-85B6-F55F0ED1B69E}"/>
              </a:ext>
            </a:extLst>
          </p:cNvPr>
          <p:cNvSpPr/>
          <p:nvPr/>
        </p:nvSpPr>
        <p:spPr bwMode="auto">
          <a:xfrm>
            <a:off x="7537213" y="2989383"/>
            <a:ext cx="385763" cy="23813"/>
          </a:xfrm>
          <a:custGeom>
            <a:avLst/>
            <a:gdLst>
              <a:gd name="T0" fmla="*/ 114 w 117"/>
              <a:gd name="T1" fmla="*/ 7 h 7"/>
              <a:gd name="T2" fmla="*/ 3 w 117"/>
              <a:gd name="T3" fmla="*/ 7 h 7"/>
              <a:gd name="T4" fmla="*/ 0 w 117"/>
              <a:gd name="T5" fmla="*/ 4 h 7"/>
              <a:gd name="T6" fmla="*/ 3 w 117"/>
              <a:gd name="T7" fmla="*/ 0 h 7"/>
              <a:gd name="T8" fmla="*/ 114 w 117"/>
              <a:gd name="T9" fmla="*/ 0 h 7"/>
              <a:gd name="T10" fmla="*/ 117 w 117"/>
              <a:gd name="T11" fmla="*/ 4 h 7"/>
              <a:gd name="T12" fmla="*/ 114 w 117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7" h="7">
                <a:moveTo>
                  <a:pt x="114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14" y="0"/>
                  <a:pt x="114" y="0"/>
                  <a:pt x="114" y="0"/>
                </a:cubicBezTo>
                <a:cubicBezTo>
                  <a:pt x="116" y="0"/>
                  <a:pt x="117" y="2"/>
                  <a:pt x="117" y="4"/>
                </a:cubicBezTo>
                <a:cubicBezTo>
                  <a:pt x="117" y="6"/>
                  <a:pt x="116" y="7"/>
                  <a:pt x="114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ïṥ1iďé">
            <a:extLst>
              <a:ext uri="{FF2B5EF4-FFF2-40B4-BE49-F238E27FC236}">
                <a16:creationId xmlns:a16="http://schemas.microsoft.com/office/drawing/2014/main" id="{B9E9800C-D1B9-433A-BC96-7375A99C1D69}"/>
              </a:ext>
            </a:extLst>
          </p:cNvPr>
          <p:cNvSpPr/>
          <p:nvPr/>
        </p:nvSpPr>
        <p:spPr bwMode="auto">
          <a:xfrm>
            <a:off x="7962663" y="2989383"/>
            <a:ext cx="501650" cy="23813"/>
          </a:xfrm>
          <a:custGeom>
            <a:avLst/>
            <a:gdLst>
              <a:gd name="T0" fmla="*/ 149 w 152"/>
              <a:gd name="T1" fmla="*/ 7 h 7"/>
              <a:gd name="T2" fmla="*/ 3 w 152"/>
              <a:gd name="T3" fmla="*/ 7 h 7"/>
              <a:gd name="T4" fmla="*/ 0 w 152"/>
              <a:gd name="T5" fmla="*/ 4 h 7"/>
              <a:gd name="T6" fmla="*/ 3 w 152"/>
              <a:gd name="T7" fmla="*/ 0 h 7"/>
              <a:gd name="T8" fmla="*/ 149 w 152"/>
              <a:gd name="T9" fmla="*/ 0 h 7"/>
              <a:gd name="T10" fmla="*/ 152 w 152"/>
              <a:gd name="T11" fmla="*/ 4 h 7"/>
              <a:gd name="T12" fmla="*/ 149 w 152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2" h="7">
                <a:moveTo>
                  <a:pt x="149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51" y="0"/>
                  <a:pt x="152" y="2"/>
                  <a:pt x="152" y="4"/>
                </a:cubicBezTo>
                <a:cubicBezTo>
                  <a:pt x="152" y="6"/>
                  <a:pt x="151" y="7"/>
                  <a:pt x="149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2" name="íṧḷîḓè">
            <a:extLst>
              <a:ext uri="{FF2B5EF4-FFF2-40B4-BE49-F238E27FC236}">
                <a16:creationId xmlns:a16="http://schemas.microsoft.com/office/drawing/2014/main" id="{A6FDD070-DEB9-4A28-B954-708AEF8F86C1}"/>
              </a:ext>
            </a:extLst>
          </p:cNvPr>
          <p:cNvSpPr/>
          <p:nvPr/>
        </p:nvSpPr>
        <p:spPr bwMode="auto">
          <a:xfrm>
            <a:off x="7445138" y="3121145"/>
            <a:ext cx="715963" cy="23813"/>
          </a:xfrm>
          <a:custGeom>
            <a:avLst/>
            <a:gdLst>
              <a:gd name="T0" fmla="*/ 214 w 217"/>
              <a:gd name="T1" fmla="*/ 7 h 7"/>
              <a:gd name="T2" fmla="*/ 3 w 217"/>
              <a:gd name="T3" fmla="*/ 7 h 7"/>
              <a:gd name="T4" fmla="*/ 0 w 217"/>
              <a:gd name="T5" fmla="*/ 3 h 7"/>
              <a:gd name="T6" fmla="*/ 3 w 217"/>
              <a:gd name="T7" fmla="*/ 0 h 7"/>
              <a:gd name="T8" fmla="*/ 214 w 217"/>
              <a:gd name="T9" fmla="*/ 0 h 7"/>
              <a:gd name="T10" fmla="*/ 217 w 217"/>
              <a:gd name="T11" fmla="*/ 3 h 7"/>
              <a:gd name="T12" fmla="*/ 214 w 217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7" h="7">
                <a:moveTo>
                  <a:pt x="214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214" y="0"/>
                  <a:pt x="214" y="0"/>
                  <a:pt x="214" y="0"/>
                </a:cubicBezTo>
                <a:cubicBezTo>
                  <a:pt x="216" y="0"/>
                  <a:pt x="217" y="1"/>
                  <a:pt x="217" y="3"/>
                </a:cubicBezTo>
                <a:cubicBezTo>
                  <a:pt x="217" y="5"/>
                  <a:pt x="216" y="7"/>
                  <a:pt x="214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i$1îďè">
            <a:extLst>
              <a:ext uri="{FF2B5EF4-FFF2-40B4-BE49-F238E27FC236}">
                <a16:creationId xmlns:a16="http://schemas.microsoft.com/office/drawing/2014/main" id="{9D57C6E6-86E7-42E3-AB22-7252160FBB12}"/>
              </a:ext>
            </a:extLst>
          </p:cNvPr>
          <p:cNvSpPr/>
          <p:nvPr/>
        </p:nvSpPr>
        <p:spPr bwMode="auto">
          <a:xfrm>
            <a:off x="8200788" y="3121145"/>
            <a:ext cx="346075" cy="23813"/>
          </a:xfrm>
          <a:custGeom>
            <a:avLst/>
            <a:gdLst>
              <a:gd name="T0" fmla="*/ 102 w 105"/>
              <a:gd name="T1" fmla="*/ 7 h 7"/>
              <a:gd name="T2" fmla="*/ 4 w 105"/>
              <a:gd name="T3" fmla="*/ 7 h 7"/>
              <a:gd name="T4" fmla="*/ 0 w 105"/>
              <a:gd name="T5" fmla="*/ 3 h 7"/>
              <a:gd name="T6" fmla="*/ 4 w 105"/>
              <a:gd name="T7" fmla="*/ 0 h 7"/>
              <a:gd name="T8" fmla="*/ 102 w 105"/>
              <a:gd name="T9" fmla="*/ 0 h 7"/>
              <a:gd name="T10" fmla="*/ 105 w 105"/>
              <a:gd name="T11" fmla="*/ 3 h 7"/>
              <a:gd name="T12" fmla="*/ 102 w 10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5" h="7">
                <a:moveTo>
                  <a:pt x="102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4" y="0"/>
                </a:cubicBezTo>
                <a:cubicBezTo>
                  <a:pt x="102" y="0"/>
                  <a:pt x="102" y="0"/>
                  <a:pt x="102" y="0"/>
                </a:cubicBezTo>
                <a:cubicBezTo>
                  <a:pt x="103" y="0"/>
                  <a:pt x="105" y="1"/>
                  <a:pt x="105" y="3"/>
                </a:cubicBezTo>
                <a:cubicBezTo>
                  <a:pt x="105" y="5"/>
                  <a:pt x="103" y="7"/>
                  <a:pt x="102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ísľíďe">
            <a:extLst>
              <a:ext uri="{FF2B5EF4-FFF2-40B4-BE49-F238E27FC236}">
                <a16:creationId xmlns:a16="http://schemas.microsoft.com/office/drawing/2014/main" id="{95DE49BA-A42C-4809-993D-65AD9FBD0BCC}"/>
              </a:ext>
            </a:extLst>
          </p:cNvPr>
          <p:cNvSpPr/>
          <p:nvPr/>
        </p:nvSpPr>
        <p:spPr bwMode="auto">
          <a:xfrm>
            <a:off x="7445138" y="3267195"/>
            <a:ext cx="280988" cy="23813"/>
          </a:xfrm>
          <a:custGeom>
            <a:avLst/>
            <a:gdLst>
              <a:gd name="T0" fmla="*/ 82 w 85"/>
              <a:gd name="T1" fmla="*/ 7 h 7"/>
              <a:gd name="T2" fmla="*/ 3 w 85"/>
              <a:gd name="T3" fmla="*/ 7 h 7"/>
              <a:gd name="T4" fmla="*/ 0 w 85"/>
              <a:gd name="T5" fmla="*/ 4 h 7"/>
              <a:gd name="T6" fmla="*/ 3 w 85"/>
              <a:gd name="T7" fmla="*/ 0 h 7"/>
              <a:gd name="T8" fmla="*/ 82 w 85"/>
              <a:gd name="T9" fmla="*/ 0 h 7"/>
              <a:gd name="T10" fmla="*/ 85 w 85"/>
              <a:gd name="T11" fmla="*/ 4 h 7"/>
              <a:gd name="T12" fmla="*/ 82 w 8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5" h="7">
                <a:moveTo>
                  <a:pt x="82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4" y="0"/>
                  <a:pt x="85" y="2"/>
                  <a:pt x="85" y="4"/>
                </a:cubicBezTo>
                <a:cubicBezTo>
                  <a:pt x="85" y="5"/>
                  <a:pt x="84" y="7"/>
                  <a:pt x="82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isḷîḍê">
            <a:extLst>
              <a:ext uri="{FF2B5EF4-FFF2-40B4-BE49-F238E27FC236}">
                <a16:creationId xmlns:a16="http://schemas.microsoft.com/office/drawing/2014/main" id="{B65D3926-0DF5-43FA-BD1F-49171E61E540}"/>
              </a:ext>
            </a:extLst>
          </p:cNvPr>
          <p:cNvSpPr/>
          <p:nvPr/>
        </p:nvSpPr>
        <p:spPr bwMode="auto">
          <a:xfrm>
            <a:off x="7778513" y="3267195"/>
            <a:ext cx="514350" cy="23813"/>
          </a:xfrm>
          <a:custGeom>
            <a:avLst/>
            <a:gdLst>
              <a:gd name="T0" fmla="*/ 152 w 156"/>
              <a:gd name="T1" fmla="*/ 7 h 7"/>
              <a:gd name="T2" fmla="*/ 3 w 156"/>
              <a:gd name="T3" fmla="*/ 7 h 7"/>
              <a:gd name="T4" fmla="*/ 0 w 156"/>
              <a:gd name="T5" fmla="*/ 4 h 7"/>
              <a:gd name="T6" fmla="*/ 3 w 156"/>
              <a:gd name="T7" fmla="*/ 0 h 7"/>
              <a:gd name="T8" fmla="*/ 152 w 156"/>
              <a:gd name="T9" fmla="*/ 0 h 7"/>
              <a:gd name="T10" fmla="*/ 156 w 156"/>
              <a:gd name="T11" fmla="*/ 4 h 7"/>
              <a:gd name="T12" fmla="*/ 152 w 15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6" h="7">
                <a:moveTo>
                  <a:pt x="152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4" y="0"/>
                  <a:pt x="156" y="2"/>
                  <a:pt x="156" y="4"/>
                </a:cubicBezTo>
                <a:cubicBezTo>
                  <a:pt x="156" y="5"/>
                  <a:pt x="154" y="7"/>
                  <a:pt x="152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î$ḻïde">
            <a:extLst>
              <a:ext uri="{FF2B5EF4-FFF2-40B4-BE49-F238E27FC236}">
                <a16:creationId xmlns:a16="http://schemas.microsoft.com/office/drawing/2014/main" id="{A61237C9-ECBA-4BA3-895A-C120515928CD}"/>
              </a:ext>
            </a:extLst>
          </p:cNvPr>
          <p:cNvSpPr/>
          <p:nvPr/>
        </p:nvSpPr>
        <p:spPr bwMode="auto">
          <a:xfrm>
            <a:off x="8329375" y="3267195"/>
            <a:ext cx="119063" cy="23813"/>
          </a:xfrm>
          <a:custGeom>
            <a:avLst/>
            <a:gdLst>
              <a:gd name="T0" fmla="*/ 32 w 36"/>
              <a:gd name="T1" fmla="*/ 7 h 7"/>
              <a:gd name="T2" fmla="*/ 4 w 36"/>
              <a:gd name="T3" fmla="*/ 7 h 7"/>
              <a:gd name="T4" fmla="*/ 0 w 36"/>
              <a:gd name="T5" fmla="*/ 4 h 7"/>
              <a:gd name="T6" fmla="*/ 4 w 36"/>
              <a:gd name="T7" fmla="*/ 0 h 7"/>
              <a:gd name="T8" fmla="*/ 32 w 36"/>
              <a:gd name="T9" fmla="*/ 0 h 7"/>
              <a:gd name="T10" fmla="*/ 36 w 36"/>
              <a:gd name="T11" fmla="*/ 4 h 7"/>
              <a:gd name="T12" fmla="*/ 32 w 3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7">
                <a:moveTo>
                  <a:pt x="32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4" y="0"/>
                  <a:pt x="36" y="2"/>
                  <a:pt x="36" y="4"/>
                </a:cubicBezTo>
                <a:cubicBezTo>
                  <a:pt x="36" y="5"/>
                  <a:pt x="34" y="7"/>
                  <a:pt x="32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iṣ1îḑé">
            <a:extLst>
              <a:ext uri="{FF2B5EF4-FFF2-40B4-BE49-F238E27FC236}">
                <a16:creationId xmlns:a16="http://schemas.microsoft.com/office/drawing/2014/main" id="{4972485B-2AD9-4732-A08B-97EEA53ACA17}"/>
              </a:ext>
            </a:extLst>
          </p:cNvPr>
          <p:cNvSpPr/>
          <p:nvPr/>
        </p:nvSpPr>
        <p:spPr bwMode="auto">
          <a:xfrm>
            <a:off x="7445138" y="3413245"/>
            <a:ext cx="79375" cy="22225"/>
          </a:xfrm>
          <a:custGeom>
            <a:avLst/>
            <a:gdLst>
              <a:gd name="T0" fmla="*/ 20 w 24"/>
              <a:gd name="T1" fmla="*/ 7 h 7"/>
              <a:gd name="T2" fmla="*/ 3 w 24"/>
              <a:gd name="T3" fmla="*/ 7 h 7"/>
              <a:gd name="T4" fmla="*/ 0 w 24"/>
              <a:gd name="T5" fmla="*/ 4 h 7"/>
              <a:gd name="T6" fmla="*/ 3 w 24"/>
              <a:gd name="T7" fmla="*/ 0 h 7"/>
              <a:gd name="T8" fmla="*/ 20 w 24"/>
              <a:gd name="T9" fmla="*/ 0 h 7"/>
              <a:gd name="T10" fmla="*/ 24 w 24"/>
              <a:gd name="T11" fmla="*/ 4 h 7"/>
              <a:gd name="T12" fmla="*/ 20 w 24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7">
                <a:moveTo>
                  <a:pt x="20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2" y="0"/>
                  <a:pt x="24" y="2"/>
                  <a:pt x="24" y="4"/>
                </a:cubicBezTo>
                <a:cubicBezTo>
                  <a:pt x="24" y="6"/>
                  <a:pt x="22" y="7"/>
                  <a:pt x="20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ïś1îḋê">
            <a:extLst>
              <a:ext uri="{FF2B5EF4-FFF2-40B4-BE49-F238E27FC236}">
                <a16:creationId xmlns:a16="http://schemas.microsoft.com/office/drawing/2014/main" id="{0C982029-043D-4561-A78D-FD837EBEC81D}"/>
              </a:ext>
            </a:extLst>
          </p:cNvPr>
          <p:cNvSpPr/>
          <p:nvPr/>
        </p:nvSpPr>
        <p:spPr bwMode="auto">
          <a:xfrm>
            <a:off x="7573725" y="3413245"/>
            <a:ext cx="600075" cy="22225"/>
          </a:xfrm>
          <a:custGeom>
            <a:avLst/>
            <a:gdLst>
              <a:gd name="T0" fmla="*/ 178 w 182"/>
              <a:gd name="T1" fmla="*/ 7 h 7"/>
              <a:gd name="T2" fmla="*/ 3 w 182"/>
              <a:gd name="T3" fmla="*/ 7 h 7"/>
              <a:gd name="T4" fmla="*/ 0 w 182"/>
              <a:gd name="T5" fmla="*/ 4 h 7"/>
              <a:gd name="T6" fmla="*/ 3 w 182"/>
              <a:gd name="T7" fmla="*/ 0 h 7"/>
              <a:gd name="T8" fmla="*/ 178 w 182"/>
              <a:gd name="T9" fmla="*/ 0 h 7"/>
              <a:gd name="T10" fmla="*/ 182 w 182"/>
              <a:gd name="T11" fmla="*/ 4 h 7"/>
              <a:gd name="T12" fmla="*/ 178 w 182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2" h="7">
                <a:moveTo>
                  <a:pt x="178" y="7"/>
                </a:move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3" y="0"/>
                </a:cubicBezTo>
                <a:cubicBezTo>
                  <a:pt x="178" y="0"/>
                  <a:pt x="178" y="0"/>
                  <a:pt x="178" y="0"/>
                </a:cubicBezTo>
                <a:cubicBezTo>
                  <a:pt x="180" y="0"/>
                  <a:pt x="182" y="2"/>
                  <a:pt x="182" y="4"/>
                </a:cubicBezTo>
                <a:cubicBezTo>
                  <a:pt x="182" y="6"/>
                  <a:pt x="180" y="7"/>
                  <a:pt x="178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iṧļiḑe">
            <a:extLst>
              <a:ext uri="{FF2B5EF4-FFF2-40B4-BE49-F238E27FC236}">
                <a16:creationId xmlns:a16="http://schemas.microsoft.com/office/drawing/2014/main" id="{B6491540-9FE3-4FD0-8413-F3292AFB7990}"/>
              </a:ext>
            </a:extLst>
          </p:cNvPr>
          <p:cNvSpPr/>
          <p:nvPr/>
        </p:nvSpPr>
        <p:spPr bwMode="auto">
          <a:xfrm>
            <a:off x="8219838" y="3413245"/>
            <a:ext cx="327025" cy="22225"/>
          </a:xfrm>
          <a:custGeom>
            <a:avLst/>
            <a:gdLst>
              <a:gd name="T0" fmla="*/ 96 w 99"/>
              <a:gd name="T1" fmla="*/ 7 h 7"/>
              <a:gd name="T2" fmla="*/ 4 w 99"/>
              <a:gd name="T3" fmla="*/ 7 h 7"/>
              <a:gd name="T4" fmla="*/ 0 w 99"/>
              <a:gd name="T5" fmla="*/ 4 h 7"/>
              <a:gd name="T6" fmla="*/ 4 w 99"/>
              <a:gd name="T7" fmla="*/ 0 h 7"/>
              <a:gd name="T8" fmla="*/ 96 w 99"/>
              <a:gd name="T9" fmla="*/ 0 h 7"/>
              <a:gd name="T10" fmla="*/ 99 w 99"/>
              <a:gd name="T11" fmla="*/ 4 h 7"/>
              <a:gd name="T12" fmla="*/ 96 w 99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7">
                <a:moveTo>
                  <a:pt x="96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7" y="0"/>
                  <a:pt x="99" y="2"/>
                  <a:pt x="99" y="4"/>
                </a:cubicBezTo>
                <a:cubicBezTo>
                  <a:pt x="99" y="6"/>
                  <a:pt x="97" y="7"/>
                  <a:pt x="96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íṡļïdê">
            <a:extLst>
              <a:ext uri="{FF2B5EF4-FFF2-40B4-BE49-F238E27FC236}">
                <a16:creationId xmlns:a16="http://schemas.microsoft.com/office/drawing/2014/main" id="{325957D1-0872-4515-A038-D1C602246516}"/>
              </a:ext>
            </a:extLst>
          </p:cNvPr>
          <p:cNvSpPr/>
          <p:nvPr/>
        </p:nvSpPr>
        <p:spPr bwMode="auto">
          <a:xfrm>
            <a:off x="7537213" y="3581520"/>
            <a:ext cx="171450" cy="22225"/>
          </a:xfrm>
          <a:custGeom>
            <a:avLst/>
            <a:gdLst>
              <a:gd name="T0" fmla="*/ 49 w 52"/>
              <a:gd name="T1" fmla="*/ 7 h 7"/>
              <a:gd name="T2" fmla="*/ 3 w 52"/>
              <a:gd name="T3" fmla="*/ 7 h 7"/>
              <a:gd name="T4" fmla="*/ 0 w 52"/>
              <a:gd name="T5" fmla="*/ 3 h 7"/>
              <a:gd name="T6" fmla="*/ 3 w 52"/>
              <a:gd name="T7" fmla="*/ 0 h 7"/>
              <a:gd name="T8" fmla="*/ 49 w 52"/>
              <a:gd name="T9" fmla="*/ 0 h 7"/>
              <a:gd name="T10" fmla="*/ 52 w 52"/>
              <a:gd name="T11" fmla="*/ 3 h 7"/>
              <a:gd name="T12" fmla="*/ 49 w 52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7">
                <a:moveTo>
                  <a:pt x="49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51" y="0"/>
                  <a:pt x="52" y="1"/>
                  <a:pt x="52" y="3"/>
                </a:cubicBezTo>
                <a:cubicBezTo>
                  <a:pt x="52" y="5"/>
                  <a:pt x="51" y="7"/>
                  <a:pt x="49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iŝľïdè">
            <a:extLst>
              <a:ext uri="{FF2B5EF4-FFF2-40B4-BE49-F238E27FC236}">
                <a16:creationId xmlns:a16="http://schemas.microsoft.com/office/drawing/2014/main" id="{C1CD737A-F541-4469-A837-5019E9C19B4C}"/>
              </a:ext>
            </a:extLst>
          </p:cNvPr>
          <p:cNvSpPr/>
          <p:nvPr/>
        </p:nvSpPr>
        <p:spPr bwMode="auto">
          <a:xfrm>
            <a:off x="7751525" y="3581520"/>
            <a:ext cx="712788" cy="22225"/>
          </a:xfrm>
          <a:custGeom>
            <a:avLst/>
            <a:gdLst>
              <a:gd name="T0" fmla="*/ 213 w 216"/>
              <a:gd name="T1" fmla="*/ 7 h 7"/>
              <a:gd name="T2" fmla="*/ 4 w 216"/>
              <a:gd name="T3" fmla="*/ 7 h 7"/>
              <a:gd name="T4" fmla="*/ 0 w 216"/>
              <a:gd name="T5" fmla="*/ 3 h 7"/>
              <a:gd name="T6" fmla="*/ 4 w 216"/>
              <a:gd name="T7" fmla="*/ 0 h 7"/>
              <a:gd name="T8" fmla="*/ 213 w 216"/>
              <a:gd name="T9" fmla="*/ 0 h 7"/>
              <a:gd name="T10" fmla="*/ 216 w 216"/>
              <a:gd name="T11" fmla="*/ 3 h 7"/>
              <a:gd name="T12" fmla="*/ 213 w 21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6" h="7">
                <a:moveTo>
                  <a:pt x="213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5"/>
                  <a:pt x="0" y="3"/>
                </a:cubicBezTo>
                <a:cubicBezTo>
                  <a:pt x="0" y="1"/>
                  <a:pt x="2" y="0"/>
                  <a:pt x="4" y="0"/>
                </a:cubicBezTo>
                <a:cubicBezTo>
                  <a:pt x="213" y="0"/>
                  <a:pt x="213" y="0"/>
                  <a:pt x="213" y="0"/>
                </a:cubicBezTo>
                <a:cubicBezTo>
                  <a:pt x="215" y="0"/>
                  <a:pt x="216" y="1"/>
                  <a:pt x="216" y="3"/>
                </a:cubicBezTo>
                <a:cubicBezTo>
                  <a:pt x="216" y="5"/>
                  <a:pt x="215" y="7"/>
                  <a:pt x="213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2" name="îsliḑè">
            <a:extLst>
              <a:ext uri="{FF2B5EF4-FFF2-40B4-BE49-F238E27FC236}">
                <a16:creationId xmlns:a16="http://schemas.microsoft.com/office/drawing/2014/main" id="{195E8827-F3CD-43FD-9544-CD060EE5BF10}"/>
              </a:ext>
            </a:extLst>
          </p:cNvPr>
          <p:cNvSpPr/>
          <p:nvPr/>
        </p:nvSpPr>
        <p:spPr bwMode="auto">
          <a:xfrm>
            <a:off x="7445138" y="3716458"/>
            <a:ext cx="131763" cy="22225"/>
          </a:xfrm>
          <a:custGeom>
            <a:avLst/>
            <a:gdLst>
              <a:gd name="T0" fmla="*/ 36 w 40"/>
              <a:gd name="T1" fmla="*/ 7 h 7"/>
              <a:gd name="T2" fmla="*/ 3 w 40"/>
              <a:gd name="T3" fmla="*/ 7 h 7"/>
              <a:gd name="T4" fmla="*/ 0 w 40"/>
              <a:gd name="T5" fmla="*/ 4 h 7"/>
              <a:gd name="T6" fmla="*/ 3 w 40"/>
              <a:gd name="T7" fmla="*/ 0 h 7"/>
              <a:gd name="T8" fmla="*/ 36 w 40"/>
              <a:gd name="T9" fmla="*/ 0 h 7"/>
              <a:gd name="T10" fmla="*/ 40 w 40"/>
              <a:gd name="T11" fmla="*/ 4 h 7"/>
              <a:gd name="T12" fmla="*/ 36 w 40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7">
                <a:moveTo>
                  <a:pt x="36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0"/>
                  <a:pt x="40" y="2"/>
                  <a:pt x="40" y="4"/>
                </a:cubicBezTo>
                <a:cubicBezTo>
                  <a:pt x="40" y="6"/>
                  <a:pt x="38" y="7"/>
                  <a:pt x="36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3" name="iṧļïḑé">
            <a:extLst>
              <a:ext uri="{FF2B5EF4-FFF2-40B4-BE49-F238E27FC236}">
                <a16:creationId xmlns:a16="http://schemas.microsoft.com/office/drawing/2014/main" id="{71E26E1F-2AEB-4FA8-A4E4-048027AEF78D}"/>
              </a:ext>
            </a:extLst>
          </p:cNvPr>
          <p:cNvSpPr/>
          <p:nvPr/>
        </p:nvSpPr>
        <p:spPr bwMode="auto">
          <a:xfrm>
            <a:off x="7613413" y="3716458"/>
            <a:ext cx="465138" cy="22225"/>
          </a:xfrm>
          <a:custGeom>
            <a:avLst/>
            <a:gdLst>
              <a:gd name="T0" fmla="*/ 138 w 141"/>
              <a:gd name="T1" fmla="*/ 7 h 7"/>
              <a:gd name="T2" fmla="*/ 3 w 141"/>
              <a:gd name="T3" fmla="*/ 7 h 7"/>
              <a:gd name="T4" fmla="*/ 0 w 141"/>
              <a:gd name="T5" fmla="*/ 4 h 7"/>
              <a:gd name="T6" fmla="*/ 3 w 141"/>
              <a:gd name="T7" fmla="*/ 0 h 7"/>
              <a:gd name="T8" fmla="*/ 138 w 141"/>
              <a:gd name="T9" fmla="*/ 0 h 7"/>
              <a:gd name="T10" fmla="*/ 141 w 141"/>
              <a:gd name="T11" fmla="*/ 4 h 7"/>
              <a:gd name="T12" fmla="*/ 138 w 141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1" h="7">
                <a:moveTo>
                  <a:pt x="138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40" y="0"/>
                  <a:pt x="141" y="2"/>
                  <a:pt x="141" y="4"/>
                </a:cubicBezTo>
                <a:cubicBezTo>
                  <a:pt x="141" y="6"/>
                  <a:pt x="140" y="7"/>
                  <a:pt x="138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iṩḻïḑé">
            <a:extLst>
              <a:ext uri="{FF2B5EF4-FFF2-40B4-BE49-F238E27FC236}">
                <a16:creationId xmlns:a16="http://schemas.microsoft.com/office/drawing/2014/main" id="{95541D2A-700C-442F-B938-2A34B5E8BBC3}"/>
              </a:ext>
            </a:extLst>
          </p:cNvPr>
          <p:cNvSpPr/>
          <p:nvPr/>
        </p:nvSpPr>
        <p:spPr bwMode="auto">
          <a:xfrm>
            <a:off x="8137288" y="3716458"/>
            <a:ext cx="396875" cy="22225"/>
          </a:xfrm>
          <a:custGeom>
            <a:avLst/>
            <a:gdLst>
              <a:gd name="T0" fmla="*/ 117 w 120"/>
              <a:gd name="T1" fmla="*/ 7 h 7"/>
              <a:gd name="T2" fmla="*/ 4 w 120"/>
              <a:gd name="T3" fmla="*/ 7 h 7"/>
              <a:gd name="T4" fmla="*/ 0 w 120"/>
              <a:gd name="T5" fmla="*/ 4 h 7"/>
              <a:gd name="T6" fmla="*/ 4 w 120"/>
              <a:gd name="T7" fmla="*/ 0 h 7"/>
              <a:gd name="T8" fmla="*/ 117 w 120"/>
              <a:gd name="T9" fmla="*/ 0 h 7"/>
              <a:gd name="T10" fmla="*/ 120 w 120"/>
              <a:gd name="T11" fmla="*/ 4 h 7"/>
              <a:gd name="T12" fmla="*/ 117 w 120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0" h="7">
                <a:moveTo>
                  <a:pt x="117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19" y="0"/>
                  <a:pt x="120" y="2"/>
                  <a:pt x="120" y="4"/>
                </a:cubicBezTo>
                <a:cubicBezTo>
                  <a:pt x="120" y="6"/>
                  <a:pt x="119" y="7"/>
                  <a:pt x="117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5" name="íṣḷïḑé">
            <a:extLst>
              <a:ext uri="{FF2B5EF4-FFF2-40B4-BE49-F238E27FC236}">
                <a16:creationId xmlns:a16="http://schemas.microsoft.com/office/drawing/2014/main" id="{A602F085-0079-4F65-88A2-AD1EF7067CAC}"/>
              </a:ext>
            </a:extLst>
          </p:cNvPr>
          <p:cNvSpPr/>
          <p:nvPr/>
        </p:nvSpPr>
        <p:spPr bwMode="auto">
          <a:xfrm>
            <a:off x="7445138" y="3872033"/>
            <a:ext cx="884238" cy="22225"/>
          </a:xfrm>
          <a:custGeom>
            <a:avLst/>
            <a:gdLst>
              <a:gd name="T0" fmla="*/ 264 w 268"/>
              <a:gd name="T1" fmla="*/ 7 h 7"/>
              <a:gd name="T2" fmla="*/ 3 w 268"/>
              <a:gd name="T3" fmla="*/ 7 h 7"/>
              <a:gd name="T4" fmla="*/ 0 w 268"/>
              <a:gd name="T5" fmla="*/ 4 h 7"/>
              <a:gd name="T6" fmla="*/ 3 w 268"/>
              <a:gd name="T7" fmla="*/ 0 h 7"/>
              <a:gd name="T8" fmla="*/ 264 w 268"/>
              <a:gd name="T9" fmla="*/ 0 h 7"/>
              <a:gd name="T10" fmla="*/ 268 w 268"/>
              <a:gd name="T11" fmla="*/ 4 h 7"/>
              <a:gd name="T12" fmla="*/ 264 w 26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8" h="7">
                <a:moveTo>
                  <a:pt x="264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264" y="0"/>
                  <a:pt x="264" y="0"/>
                  <a:pt x="264" y="0"/>
                </a:cubicBezTo>
                <a:cubicBezTo>
                  <a:pt x="266" y="0"/>
                  <a:pt x="268" y="2"/>
                  <a:pt x="268" y="4"/>
                </a:cubicBezTo>
                <a:cubicBezTo>
                  <a:pt x="268" y="6"/>
                  <a:pt x="266" y="7"/>
                  <a:pt x="264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6" name="í$ļíḓê">
            <a:extLst>
              <a:ext uri="{FF2B5EF4-FFF2-40B4-BE49-F238E27FC236}">
                <a16:creationId xmlns:a16="http://schemas.microsoft.com/office/drawing/2014/main" id="{55371601-82F2-49DC-96F4-733BFA0932B7}"/>
              </a:ext>
            </a:extLst>
          </p:cNvPr>
          <p:cNvSpPr/>
          <p:nvPr/>
        </p:nvSpPr>
        <p:spPr bwMode="auto">
          <a:xfrm>
            <a:off x="8372238" y="3872033"/>
            <a:ext cx="161925" cy="22225"/>
          </a:xfrm>
          <a:custGeom>
            <a:avLst/>
            <a:gdLst>
              <a:gd name="T0" fmla="*/ 46 w 49"/>
              <a:gd name="T1" fmla="*/ 7 h 7"/>
              <a:gd name="T2" fmla="*/ 4 w 49"/>
              <a:gd name="T3" fmla="*/ 7 h 7"/>
              <a:gd name="T4" fmla="*/ 0 w 49"/>
              <a:gd name="T5" fmla="*/ 4 h 7"/>
              <a:gd name="T6" fmla="*/ 4 w 49"/>
              <a:gd name="T7" fmla="*/ 0 h 7"/>
              <a:gd name="T8" fmla="*/ 46 w 49"/>
              <a:gd name="T9" fmla="*/ 0 h 7"/>
              <a:gd name="T10" fmla="*/ 49 w 49"/>
              <a:gd name="T11" fmla="*/ 4 h 7"/>
              <a:gd name="T12" fmla="*/ 46 w 49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7">
                <a:moveTo>
                  <a:pt x="46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8" y="0"/>
                  <a:pt x="49" y="2"/>
                  <a:pt x="49" y="4"/>
                </a:cubicBezTo>
                <a:cubicBezTo>
                  <a:pt x="49" y="6"/>
                  <a:pt x="48" y="7"/>
                  <a:pt x="46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7" name="islîde">
            <a:extLst>
              <a:ext uri="{FF2B5EF4-FFF2-40B4-BE49-F238E27FC236}">
                <a16:creationId xmlns:a16="http://schemas.microsoft.com/office/drawing/2014/main" id="{17C6660D-1AAB-497C-90F4-950CEF762017}"/>
              </a:ext>
            </a:extLst>
          </p:cNvPr>
          <p:cNvSpPr/>
          <p:nvPr/>
        </p:nvSpPr>
        <p:spPr bwMode="auto">
          <a:xfrm>
            <a:off x="7445138" y="4033958"/>
            <a:ext cx="214313" cy="22225"/>
          </a:xfrm>
          <a:custGeom>
            <a:avLst/>
            <a:gdLst>
              <a:gd name="T0" fmla="*/ 62 w 65"/>
              <a:gd name="T1" fmla="*/ 7 h 7"/>
              <a:gd name="T2" fmla="*/ 3 w 65"/>
              <a:gd name="T3" fmla="*/ 7 h 7"/>
              <a:gd name="T4" fmla="*/ 0 w 65"/>
              <a:gd name="T5" fmla="*/ 3 h 7"/>
              <a:gd name="T6" fmla="*/ 3 w 65"/>
              <a:gd name="T7" fmla="*/ 0 h 7"/>
              <a:gd name="T8" fmla="*/ 62 w 65"/>
              <a:gd name="T9" fmla="*/ 0 h 7"/>
              <a:gd name="T10" fmla="*/ 65 w 65"/>
              <a:gd name="T11" fmla="*/ 3 h 7"/>
              <a:gd name="T12" fmla="*/ 62 w 6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5" h="7">
                <a:moveTo>
                  <a:pt x="62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64" y="0"/>
                  <a:pt x="65" y="2"/>
                  <a:pt x="65" y="3"/>
                </a:cubicBezTo>
                <a:cubicBezTo>
                  <a:pt x="65" y="5"/>
                  <a:pt x="64" y="7"/>
                  <a:pt x="62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îSliḓê">
            <a:extLst>
              <a:ext uri="{FF2B5EF4-FFF2-40B4-BE49-F238E27FC236}">
                <a16:creationId xmlns:a16="http://schemas.microsoft.com/office/drawing/2014/main" id="{E45CC71D-B92A-4A1A-AACE-3353348B4D49}"/>
              </a:ext>
            </a:extLst>
          </p:cNvPr>
          <p:cNvSpPr/>
          <p:nvPr/>
        </p:nvSpPr>
        <p:spPr bwMode="auto">
          <a:xfrm>
            <a:off x="7705488" y="4033958"/>
            <a:ext cx="828675" cy="22225"/>
          </a:xfrm>
          <a:custGeom>
            <a:avLst/>
            <a:gdLst>
              <a:gd name="T0" fmla="*/ 248 w 251"/>
              <a:gd name="T1" fmla="*/ 7 h 7"/>
              <a:gd name="T2" fmla="*/ 3 w 251"/>
              <a:gd name="T3" fmla="*/ 7 h 7"/>
              <a:gd name="T4" fmla="*/ 0 w 251"/>
              <a:gd name="T5" fmla="*/ 3 h 7"/>
              <a:gd name="T6" fmla="*/ 3 w 251"/>
              <a:gd name="T7" fmla="*/ 0 h 7"/>
              <a:gd name="T8" fmla="*/ 248 w 251"/>
              <a:gd name="T9" fmla="*/ 0 h 7"/>
              <a:gd name="T10" fmla="*/ 251 w 251"/>
              <a:gd name="T11" fmla="*/ 3 h 7"/>
              <a:gd name="T12" fmla="*/ 248 w 251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1" h="7">
                <a:moveTo>
                  <a:pt x="248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248" y="0"/>
                  <a:pt x="248" y="0"/>
                  <a:pt x="248" y="0"/>
                </a:cubicBezTo>
                <a:cubicBezTo>
                  <a:pt x="250" y="0"/>
                  <a:pt x="251" y="2"/>
                  <a:pt x="251" y="3"/>
                </a:cubicBezTo>
                <a:cubicBezTo>
                  <a:pt x="251" y="5"/>
                  <a:pt x="250" y="7"/>
                  <a:pt x="248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9" name="îṣḷïďé">
            <a:extLst>
              <a:ext uri="{FF2B5EF4-FFF2-40B4-BE49-F238E27FC236}">
                <a16:creationId xmlns:a16="http://schemas.microsoft.com/office/drawing/2014/main" id="{6233565E-40CE-4B67-A984-0266E55263ED}"/>
              </a:ext>
            </a:extLst>
          </p:cNvPr>
          <p:cNvSpPr/>
          <p:nvPr/>
        </p:nvSpPr>
        <p:spPr bwMode="auto">
          <a:xfrm>
            <a:off x="7445138" y="4184770"/>
            <a:ext cx="617538" cy="23813"/>
          </a:xfrm>
          <a:custGeom>
            <a:avLst/>
            <a:gdLst>
              <a:gd name="T0" fmla="*/ 183 w 187"/>
              <a:gd name="T1" fmla="*/ 7 h 7"/>
              <a:gd name="T2" fmla="*/ 3 w 187"/>
              <a:gd name="T3" fmla="*/ 7 h 7"/>
              <a:gd name="T4" fmla="*/ 0 w 187"/>
              <a:gd name="T5" fmla="*/ 3 h 7"/>
              <a:gd name="T6" fmla="*/ 3 w 187"/>
              <a:gd name="T7" fmla="*/ 0 h 7"/>
              <a:gd name="T8" fmla="*/ 183 w 187"/>
              <a:gd name="T9" fmla="*/ 0 h 7"/>
              <a:gd name="T10" fmla="*/ 187 w 187"/>
              <a:gd name="T11" fmla="*/ 3 h 7"/>
              <a:gd name="T12" fmla="*/ 183 w 187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7">
                <a:moveTo>
                  <a:pt x="183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183" y="0"/>
                  <a:pt x="183" y="0"/>
                  <a:pt x="183" y="0"/>
                </a:cubicBezTo>
                <a:cubicBezTo>
                  <a:pt x="185" y="0"/>
                  <a:pt x="187" y="2"/>
                  <a:pt x="187" y="3"/>
                </a:cubicBezTo>
                <a:cubicBezTo>
                  <a:pt x="187" y="5"/>
                  <a:pt x="185" y="7"/>
                  <a:pt x="183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0" name="ï$lïḍè">
            <a:extLst>
              <a:ext uri="{FF2B5EF4-FFF2-40B4-BE49-F238E27FC236}">
                <a16:creationId xmlns:a16="http://schemas.microsoft.com/office/drawing/2014/main" id="{7077E7F0-8C6D-4D09-A384-CFFC03334E33}"/>
              </a:ext>
            </a:extLst>
          </p:cNvPr>
          <p:cNvSpPr/>
          <p:nvPr/>
        </p:nvSpPr>
        <p:spPr bwMode="auto">
          <a:xfrm>
            <a:off x="8124588" y="4184770"/>
            <a:ext cx="119063" cy="23813"/>
          </a:xfrm>
          <a:custGeom>
            <a:avLst/>
            <a:gdLst>
              <a:gd name="T0" fmla="*/ 33 w 36"/>
              <a:gd name="T1" fmla="*/ 7 h 7"/>
              <a:gd name="T2" fmla="*/ 3 w 36"/>
              <a:gd name="T3" fmla="*/ 7 h 7"/>
              <a:gd name="T4" fmla="*/ 0 w 36"/>
              <a:gd name="T5" fmla="*/ 3 h 7"/>
              <a:gd name="T6" fmla="*/ 3 w 36"/>
              <a:gd name="T7" fmla="*/ 0 h 7"/>
              <a:gd name="T8" fmla="*/ 33 w 36"/>
              <a:gd name="T9" fmla="*/ 0 h 7"/>
              <a:gd name="T10" fmla="*/ 36 w 36"/>
              <a:gd name="T11" fmla="*/ 3 h 7"/>
              <a:gd name="T12" fmla="*/ 33 w 3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7">
                <a:moveTo>
                  <a:pt x="33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6" y="2"/>
                  <a:pt x="36" y="3"/>
                </a:cubicBezTo>
                <a:cubicBezTo>
                  <a:pt x="36" y="5"/>
                  <a:pt x="34" y="7"/>
                  <a:pt x="33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1" name="ïṣļîḑè">
            <a:extLst>
              <a:ext uri="{FF2B5EF4-FFF2-40B4-BE49-F238E27FC236}">
                <a16:creationId xmlns:a16="http://schemas.microsoft.com/office/drawing/2014/main" id="{DCCCDBEE-E851-47A5-8D14-7794663D8A27}"/>
              </a:ext>
            </a:extLst>
          </p:cNvPr>
          <p:cNvSpPr/>
          <p:nvPr/>
        </p:nvSpPr>
        <p:spPr bwMode="auto">
          <a:xfrm>
            <a:off x="7445138" y="4327645"/>
            <a:ext cx="79375" cy="19050"/>
          </a:xfrm>
          <a:custGeom>
            <a:avLst/>
            <a:gdLst>
              <a:gd name="T0" fmla="*/ 20 w 24"/>
              <a:gd name="T1" fmla="*/ 6 h 6"/>
              <a:gd name="T2" fmla="*/ 3 w 24"/>
              <a:gd name="T3" fmla="*/ 6 h 6"/>
              <a:gd name="T4" fmla="*/ 0 w 24"/>
              <a:gd name="T5" fmla="*/ 3 h 6"/>
              <a:gd name="T6" fmla="*/ 3 w 24"/>
              <a:gd name="T7" fmla="*/ 0 h 6"/>
              <a:gd name="T8" fmla="*/ 20 w 24"/>
              <a:gd name="T9" fmla="*/ 0 h 6"/>
              <a:gd name="T10" fmla="*/ 24 w 24"/>
              <a:gd name="T11" fmla="*/ 3 h 6"/>
              <a:gd name="T12" fmla="*/ 20 w 24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6">
                <a:moveTo>
                  <a:pt x="20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2" y="0"/>
                  <a:pt x="24" y="1"/>
                  <a:pt x="24" y="3"/>
                </a:cubicBezTo>
                <a:cubicBezTo>
                  <a:pt x="24" y="5"/>
                  <a:pt x="22" y="6"/>
                  <a:pt x="20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2" name="îş1îḓè">
            <a:extLst>
              <a:ext uri="{FF2B5EF4-FFF2-40B4-BE49-F238E27FC236}">
                <a16:creationId xmlns:a16="http://schemas.microsoft.com/office/drawing/2014/main" id="{AEEBAB62-0BC8-4E66-9240-54FF0FB872F6}"/>
              </a:ext>
            </a:extLst>
          </p:cNvPr>
          <p:cNvSpPr/>
          <p:nvPr/>
        </p:nvSpPr>
        <p:spPr bwMode="auto">
          <a:xfrm>
            <a:off x="7573725" y="4327645"/>
            <a:ext cx="600075" cy="19050"/>
          </a:xfrm>
          <a:custGeom>
            <a:avLst/>
            <a:gdLst>
              <a:gd name="T0" fmla="*/ 178 w 182"/>
              <a:gd name="T1" fmla="*/ 6 h 6"/>
              <a:gd name="T2" fmla="*/ 3 w 182"/>
              <a:gd name="T3" fmla="*/ 6 h 6"/>
              <a:gd name="T4" fmla="*/ 0 w 182"/>
              <a:gd name="T5" fmla="*/ 3 h 6"/>
              <a:gd name="T6" fmla="*/ 3 w 182"/>
              <a:gd name="T7" fmla="*/ 0 h 6"/>
              <a:gd name="T8" fmla="*/ 178 w 182"/>
              <a:gd name="T9" fmla="*/ 0 h 6"/>
              <a:gd name="T10" fmla="*/ 182 w 182"/>
              <a:gd name="T11" fmla="*/ 3 h 6"/>
              <a:gd name="T12" fmla="*/ 178 w 18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2" h="6">
                <a:moveTo>
                  <a:pt x="178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78" y="0"/>
                  <a:pt x="178" y="0"/>
                  <a:pt x="178" y="0"/>
                </a:cubicBezTo>
                <a:cubicBezTo>
                  <a:pt x="180" y="0"/>
                  <a:pt x="182" y="1"/>
                  <a:pt x="182" y="3"/>
                </a:cubicBezTo>
                <a:cubicBezTo>
                  <a:pt x="182" y="5"/>
                  <a:pt x="180" y="6"/>
                  <a:pt x="178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3" name="íṣľïdè">
            <a:extLst>
              <a:ext uri="{FF2B5EF4-FFF2-40B4-BE49-F238E27FC236}">
                <a16:creationId xmlns:a16="http://schemas.microsoft.com/office/drawing/2014/main" id="{E28E4825-A378-4480-87E4-0CE42398D450}"/>
              </a:ext>
            </a:extLst>
          </p:cNvPr>
          <p:cNvSpPr/>
          <p:nvPr/>
        </p:nvSpPr>
        <p:spPr bwMode="auto">
          <a:xfrm>
            <a:off x="8219838" y="4327645"/>
            <a:ext cx="327025" cy="19050"/>
          </a:xfrm>
          <a:custGeom>
            <a:avLst/>
            <a:gdLst>
              <a:gd name="T0" fmla="*/ 96 w 99"/>
              <a:gd name="T1" fmla="*/ 6 h 6"/>
              <a:gd name="T2" fmla="*/ 4 w 99"/>
              <a:gd name="T3" fmla="*/ 6 h 6"/>
              <a:gd name="T4" fmla="*/ 0 w 99"/>
              <a:gd name="T5" fmla="*/ 3 h 6"/>
              <a:gd name="T6" fmla="*/ 4 w 99"/>
              <a:gd name="T7" fmla="*/ 0 h 6"/>
              <a:gd name="T8" fmla="*/ 96 w 99"/>
              <a:gd name="T9" fmla="*/ 0 h 6"/>
              <a:gd name="T10" fmla="*/ 99 w 99"/>
              <a:gd name="T11" fmla="*/ 3 h 6"/>
              <a:gd name="T12" fmla="*/ 96 w 99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6">
                <a:moveTo>
                  <a:pt x="96" y="6"/>
                </a:moveTo>
                <a:cubicBezTo>
                  <a:pt x="4" y="6"/>
                  <a:pt x="4" y="6"/>
                  <a:pt x="4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4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7" y="0"/>
                  <a:pt x="99" y="1"/>
                  <a:pt x="99" y="3"/>
                </a:cubicBezTo>
                <a:cubicBezTo>
                  <a:pt x="99" y="5"/>
                  <a:pt x="97" y="6"/>
                  <a:pt x="96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4" name="í$ḷïḋê">
            <a:extLst>
              <a:ext uri="{FF2B5EF4-FFF2-40B4-BE49-F238E27FC236}">
                <a16:creationId xmlns:a16="http://schemas.microsoft.com/office/drawing/2014/main" id="{D520EDD7-D76E-4201-B35F-861EE71B690D}"/>
              </a:ext>
            </a:extLst>
          </p:cNvPr>
          <p:cNvSpPr/>
          <p:nvPr/>
        </p:nvSpPr>
        <p:spPr bwMode="auto">
          <a:xfrm>
            <a:off x="7537213" y="4492745"/>
            <a:ext cx="171450" cy="22225"/>
          </a:xfrm>
          <a:custGeom>
            <a:avLst/>
            <a:gdLst>
              <a:gd name="T0" fmla="*/ 49 w 52"/>
              <a:gd name="T1" fmla="*/ 7 h 7"/>
              <a:gd name="T2" fmla="*/ 3 w 52"/>
              <a:gd name="T3" fmla="*/ 7 h 7"/>
              <a:gd name="T4" fmla="*/ 0 w 52"/>
              <a:gd name="T5" fmla="*/ 3 h 7"/>
              <a:gd name="T6" fmla="*/ 3 w 52"/>
              <a:gd name="T7" fmla="*/ 0 h 7"/>
              <a:gd name="T8" fmla="*/ 49 w 52"/>
              <a:gd name="T9" fmla="*/ 0 h 7"/>
              <a:gd name="T10" fmla="*/ 52 w 52"/>
              <a:gd name="T11" fmla="*/ 3 h 7"/>
              <a:gd name="T12" fmla="*/ 49 w 52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7">
                <a:moveTo>
                  <a:pt x="49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51" y="0"/>
                  <a:pt x="52" y="2"/>
                  <a:pt x="52" y="3"/>
                </a:cubicBezTo>
                <a:cubicBezTo>
                  <a:pt x="52" y="5"/>
                  <a:pt x="51" y="7"/>
                  <a:pt x="49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5" name="ïṥliḋè">
            <a:extLst>
              <a:ext uri="{FF2B5EF4-FFF2-40B4-BE49-F238E27FC236}">
                <a16:creationId xmlns:a16="http://schemas.microsoft.com/office/drawing/2014/main" id="{316754E8-71AD-41A2-A90D-99C7E0A8A89A}"/>
              </a:ext>
            </a:extLst>
          </p:cNvPr>
          <p:cNvSpPr/>
          <p:nvPr/>
        </p:nvSpPr>
        <p:spPr bwMode="auto">
          <a:xfrm>
            <a:off x="7751525" y="4492745"/>
            <a:ext cx="712788" cy="22225"/>
          </a:xfrm>
          <a:custGeom>
            <a:avLst/>
            <a:gdLst>
              <a:gd name="T0" fmla="*/ 213 w 216"/>
              <a:gd name="T1" fmla="*/ 7 h 7"/>
              <a:gd name="T2" fmla="*/ 4 w 216"/>
              <a:gd name="T3" fmla="*/ 7 h 7"/>
              <a:gd name="T4" fmla="*/ 0 w 216"/>
              <a:gd name="T5" fmla="*/ 3 h 7"/>
              <a:gd name="T6" fmla="*/ 4 w 216"/>
              <a:gd name="T7" fmla="*/ 0 h 7"/>
              <a:gd name="T8" fmla="*/ 213 w 216"/>
              <a:gd name="T9" fmla="*/ 0 h 7"/>
              <a:gd name="T10" fmla="*/ 216 w 216"/>
              <a:gd name="T11" fmla="*/ 3 h 7"/>
              <a:gd name="T12" fmla="*/ 213 w 21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6" h="7">
                <a:moveTo>
                  <a:pt x="213" y="7"/>
                </a:moveTo>
                <a:cubicBezTo>
                  <a:pt x="4" y="7"/>
                  <a:pt x="4" y="7"/>
                  <a:pt x="4" y="7"/>
                </a:cubicBezTo>
                <a:cubicBezTo>
                  <a:pt x="2" y="7"/>
                  <a:pt x="0" y="5"/>
                  <a:pt x="0" y="3"/>
                </a:cubicBezTo>
                <a:cubicBezTo>
                  <a:pt x="0" y="2"/>
                  <a:pt x="2" y="0"/>
                  <a:pt x="4" y="0"/>
                </a:cubicBezTo>
                <a:cubicBezTo>
                  <a:pt x="213" y="0"/>
                  <a:pt x="213" y="0"/>
                  <a:pt x="213" y="0"/>
                </a:cubicBezTo>
                <a:cubicBezTo>
                  <a:pt x="215" y="0"/>
                  <a:pt x="216" y="2"/>
                  <a:pt x="216" y="3"/>
                </a:cubicBezTo>
                <a:cubicBezTo>
                  <a:pt x="216" y="5"/>
                  <a:pt x="215" y="7"/>
                  <a:pt x="213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6" name="îśḷïḓè">
            <a:extLst>
              <a:ext uri="{FF2B5EF4-FFF2-40B4-BE49-F238E27FC236}">
                <a16:creationId xmlns:a16="http://schemas.microsoft.com/office/drawing/2014/main" id="{F7FFA851-873F-40DD-8228-D96E6902DF74}"/>
              </a:ext>
            </a:extLst>
          </p:cNvPr>
          <p:cNvSpPr/>
          <p:nvPr/>
        </p:nvSpPr>
        <p:spPr bwMode="auto">
          <a:xfrm>
            <a:off x="8619888" y="2527420"/>
            <a:ext cx="220663" cy="241776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7" name="î$ľïḍê">
            <a:extLst>
              <a:ext uri="{FF2B5EF4-FFF2-40B4-BE49-F238E27FC236}">
                <a16:creationId xmlns:a16="http://schemas.microsoft.com/office/drawing/2014/main" id="{77F56C38-A98A-4118-A8D9-E28DE61BF3CD}"/>
              </a:ext>
            </a:extLst>
          </p:cNvPr>
          <p:cNvSpPr/>
          <p:nvPr/>
        </p:nvSpPr>
        <p:spPr bwMode="auto">
          <a:xfrm>
            <a:off x="8613538" y="4945183"/>
            <a:ext cx="227013" cy="95250"/>
          </a:xfrm>
          <a:custGeom>
            <a:avLst/>
            <a:gdLst>
              <a:gd name="T0" fmla="*/ 34 w 69"/>
              <a:gd name="T1" fmla="*/ 29 h 29"/>
              <a:gd name="T2" fmla="*/ 69 w 69"/>
              <a:gd name="T3" fmla="*/ 0 h 29"/>
              <a:gd name="T4" fmla="*/ 2 w 69"/>
              <a:gd name="T5" fmla="*/ 0 h 29"/>
              <a:gd name="T6" fmla="*/ 34 w 69"/>
              <a:gd name="T7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29">
                <a:moveTo>
                  <a:pt x="34" y="29"/>
                </a:moveTo>
                <a:cubicBezTo>
                  <a:pt x="34" y="29"/>
                  <a:pt x="69" y="25"/>
                  <a:pt x="69" y="0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0" y="29"/>
                  <a:pt x="34" y="2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8" name="îşḻíḍe">
            <a:extLst>
              <a:ext uri="{FF2B5EF4-FFF2-40B4-BE49-F238E27FC236}">
                <a16:creationId xmlns:a16="http://schemas.microsoft.com/office/drawing/2014/main" id="{227FCBA0-CCF4-4CB5-83CC-A85395853AB6}"/>
              </a:ext>
            </a:extLst>
          </p:cNvPr>
          <p:cNvSpPr/>
          <p:nvPr/>
        </p:nvSpPr>
        <p:spPr bwMode="auto">
          <a:xfrm>
            <a:off x="8724663" y="4945183"/>
            <a:ext cx="1373188" cy="95250"/>
          </a:xfrm>
          <a:custGeom>
            <a:avLst/>
            <a:gdLst>
              <a:gd name="T0" fmla="*/ 0 w 416"/>
              <a:gd name="T1" fmla="*/ 29 h 29"/>
              <a:gd name="T2" fmla="*/ 377 w 416"/>
              <a:gd name="T3" fmla="*/ 29 h 29"/>
              <a:gd name="T4" fmla="*/ 414 w 416"/>
              <a:gd name="T5" fmla="*/ 0 h 29"/>
              <a:gd name="T6" fmla="*/ 35 w 416"/>
              <a:gd name="T7" fmla="*/ 0 h 29"/>
              <a:gd name="T8" fmla="*/ 0 w 416"/>
              <a:gd name="T9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6" h="29">
                <a:moveTo>
                  <a:pt x="0" y="29"/>
                </a:moveTo>
                <a:cubicBezTo>
                  <a:pt x="0" y="29"/>
                  <a:pt x="337" y="29"/>
                  <a:pt x="377" y="29"/>
                </a:cubicBezTo>
                <a:cubicBezTo>
                  <a:pt x="416" y="29"/>
                  <a:pt x="414" y="0"/>
                  <a:pt x="414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25"/>
                  <a:pt x="0" y="29"/>
                  <a:pt x="0" y="29"/>
                </a:cubicBezTo>
                <a:close/>
              </a:path>
            </a:pathLst>
          </a:custGeom>
          <a:solidFill>
            <a:srgbClr val="F3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9" name="i$lîḍe">
            <a:extLst>
              <a:ext uri="{FF2B5EF4-FFF2-40B4-BE49-F238E27FC236}">
                <a16:creationId xmlns:a16="http://schemas.microsoft.com/office/drawing/2014/main" id="{6023A764-783C-43DA-8017-3D6384172A5F}"/>
              </a:ext>
            </a:extLst>
          </p:cNvPr>
          <p:cNvSpPr/>
          <p:nvPr/>
        </p:nvSpPr>
        <p:spPr bwMode="auto">
          <a:xfrm>
            <a:off x="10085150" y="4502270"/>
            <a:ext cx="227013" cy="95250"/>
          </a:xfrm>
          <a:custGeom>
            <a:avLst/>
            <a:gdLst>
              <a:gd name="T0" fmla="*/ 34 w 69"/>
              <a:gd name="T1" fmla="*/ 29 h 29"/>
              <a:gd name="T2" fmla="*/ 69 w 69"/>
              <a:gd name="T3" fmla="*/ 0 h 29"/>
              <a:gd name="T4" fmla="*/ 2 w 69"/>
              <a:gd name="T5" fmla="*/ 0 h 29"/>
              <a:gd name="T6" fmla="*/ 34 w 69"/>
              <a:gd name="T7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29">
                <a:moveTo>
                  <a:pt x="34" y="29"/>
                </a:moveTo>
                <a:cubicBezTo>
                  <a:pt x="34" y="29"/>
                  <a:pt x="69" y="26"/>
                  <a:pt x="69" y="0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0" y="29"/>
                  <a:pt x="34" y="2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0" name="îšlîḓe">
            <a:extLst>
              <a:ext uri="{FF2B5EF4-FFF2-40B4-BE49-F238E27FC236}">
                <a16:creationId xmlns:a16="http://schemas.microsoft.com/office/drawing/2014/main" id="{2DC22DCB-A04A-4347-A9E3-8906178EF883}"/>
              </a:ext>
            </a:extLst>
          </p:cNvPr>
          <p:cNvSpPr/>
          <p:nvPr/>
        </p:nvSpPr>
        <p:spPr bwMode="auto">
          <a:xfrm>
            <a:off x="10196275" y="4502270"/>
            <a:ext cx="1370013" cy="95250"/>
          </a:xfrm>
          <a:custGeom>
            <a:avLst/>
            <a:gdLst>
              <a:gd name="T0" fmla="*/ 0 w 415"/>
              <a:gd name="T1" fmla="*/ 29 h 29"/>
              <a:gd name="T2" fmla="*/ 376 w 415"/>
              <a:gd name="T3" fmla="*/ 29 h 29"/>
              <a:gd name="T4" fmla="*/ 414 w 415"/>
              <a:gd name="T5" fmla="*/ 0 h 29"/>
              <a:gd name="T6" fmla="*/ 35 w 415"/>
              <a:gd name="T7" fmla="*/ 0 h 29"/>
              <a:gd name="T8" fmla="*/ 0 w 415"/>
              <a:gd name="T9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" h="29">
                <a:moveTo>
                  <a:pt x="0" y="29"/>
                </a:moveTo>
                <a:cubicBezTo>
                  <a:pt x="0" y="29"/>
                  <a:pt x="337" y="29"/>
                  <a:pt x="376" y="29"/>
                </a:cubicBezTo>
                <a:cubicBezTo>
                  <a:pt x="415" y="29"/>
                  <a:pt x="414" y="0"/>
                  <a:pt x="414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26"/>
                  <a:pt x="0" y="29"/>
                  <a:pt x="0" y="29"/>
                </a:cubicBezTo>
                <a:close/>
              </a:path>
            </a:pathLst>
          </a:custGeom>
          <a:solidFill>
            <a:srgbClr val="F3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1" name="iṣḷîďè">
            <a:extLst>
              <a:ext uri="{FF2B5EF4-FFF2-40B4-BE49-F238E27FC236}">
                <a16:creationId xmlns:a16="http://schemas.microsoft.com/office/drawing/2014/main" id="{E912C8AB-1EFD-4953-B606-A25270C366B1}"/>
              </a:ext>
            </a:extLst>
          </p:cNvPr>
          <p:cNvSpPr/>
          <p:nvPr/>
        </p:nvSpPr>
        <p:spPr bwMode="auto">
          <a:xfrm>
            <a:off x="8840550" y="2989383"/>
            <a:ext cx="1250950" cy="1955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2" name="îṣḻïḋê">
            <a:extLst>
              <a:ext uri="{FF2B5EF4-FFF2-40B4-BE49-F238E27FC236}">
                <a16:creationId xmlns:a16="http://schemas.microsoft.com/office/drawing/2014/main" id="{135648F9-A53D-407B-92D1-54D5E8FC2105}"/>
              </a:ext>
            </a:extLst>
          </p:cNvPr>
          <p:cNvSpPr/>
          <p:nvPr/>
        </p:nvSpPr>
        <p:spPr bwMode="auto">
          <a:xfrm>
            <a:off x="10091500" y="2897308"/>
            <a:ext cx="227013" cy="92075"/>
          </a:xfrm>
          <a:custGeom>
            <a:avLst/>
            <a:gdLst>
              <a:gd name="T0" fmla="*/ 35 w 69"/>
              <a:gd name="T1" fmla="*/ 0 h 28"/>
              <a:gd name="T2" fmla="*/ 0 w 69"/>
              <a:gd name="T3" fmla="*/ 28 h 28"/>
              <a:gd name="T4" fmla="*/ 67 w 69"/>
              <a:gd name="T5" fmla="*/ 28 h 28"/>
              <a:gd name="T6" fmla="*/ 35 w 69"/>
              <a:gd name="T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" h="28">
                <a:moveTo>
                  <a:pt x="35" y="0"/>
                </a:moveTo>
                <a:cubicBezTo>
                  <a:pt x="35" y="0"/>
                  <a:pt x="0" y="3"/>
                  <a:pt x="0" y="28"/>
                </a:cubicBezTo>
                <a:cubicBezTo>
                  <a:pt x="67" y="28"/>
                  <a:pt x="67" y="28"/>
                  <a:pt x="67" y="28"/>
                </a:cubicBezTo>
                <a:cubicBezTo>
                  <a:pt x="67" y="28"/>
                  <a:pt x="69" y="0"/>
                  <a:pt x="35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3" name="iṥḷiḋè">
            <a:extLst>
              <a:ext uri="{FF2B5EF4-FFF2-40B4-BE49-F238E27FC236}">
                <a16:creationId xmlns:a16="http://schemas.microsoft.com/office/drawing/2014/main" id="{65FF807A-08B5-4E6B-AAA4-0EB85B473864}"/>
              </a:ext>
            </a:extLst>
          </p:cNvPr>
          <p:cNvSpPr/>
          <p:nvPr/>
        </p:nvSpPr>
        <p:spPr bwMode="auto">
          <a:xfrm>
            <a:off x="8834200" y="2897308"/>
            <a:ext cx="1373188" cy="92075"/>
          </a:xfrm>
          <a:custGeom>
            <a:avLst/>
            <a:gdLst>
              <a:gd name="T0" fmla="*/ 416 w 416"/>
              <a:gd name="T1" fmla="*/ 0 h 28"/>
              <a:gd name="T2" fmla="*/ 40 w 416"/>
              <a:gd name="T3" fmla="*/ 0 h 28"/>
              <a:gd name="T4" fmla="*/ 2 w 416"/>
              <a:gd name="T5" fmla="*/ 28 h 28"/>
              <a:gd name="T6" fmla="*/ 381 w 416"/>
              <a:gd name="T7" fmla="*/ 28 h 28"/>
              <a:gd name="T8" fmla="*/ 416 w 416"/>
              <a:gd name="T9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6" h="28">
                <a:moveTo>
                  <a:pt x="416" y="0"/>
                </a:moveTo>
                <a:cubicBezTo>
                  <a:pt x="416" y="0"/>
                  <a:pt x="79" y="0"/>
                  <a:pt x="40" y="0"/>
                </a:cubicBezTo>
                <a:cubicBezTo>
                  <a:pt x="0" y="0"/>
                  <a:pt x="2" y="28"/>
                  <a:pt x="2" y="28"/>
                </a:cubicBezTo>
                <a:cubicBezTo>
                  <a:pt x="381" y="28"/>
                  <a:pt x="381" y="28"/>
                  <a:pt x="381" y="28"/>
                </a:cubicBezTo>
                <a:cubicBezTo>
                  <a:pt x="381" y="3"/>
                  <a:pt x="416" y="0"/>
                  <a:pt x="41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4" name="ïṩ1iďe">
            <a:extLst>
              <a:ext uri="{FF2B5EF4-FFF2-40B4-BE49-F238E27FC236}">
                <a16:creationId xmlns:a16="http://schemas.microsoft.com/office/drawing/2014/main" id="{97C04937-8170-4B28-B7F6-F0F0DC83FEF1}"/>
              </a:ext>
            </a:extLst>
          </p:cNvPr>
          <p:cNvSpPr/>
          <p:nvPr/>
        </p:nvSpPr>
        <p:spPr bwMode="auto">
          <a:xfrm>
            <a:off x="11563113" y="2511545"/>
            <a:ext cx="223838" cy="95250"/>
          </a:xfrm>
          <a:custGeom>
            <a:avLst/>
            <a:gdLst>
              <a:gd name="T0" fmla="*/ 34 w 68"/>
              <a:gd name="T1" fmla="*/ 0 h 29"/>
              <a:gd name="T2" fmla="*/ 0 w 68"/>
              <a:gd name="T3" fmla="*/ 29 h 29"/>
              <a:gd name="T4" fmla="*/ 67 w 68"/>
              <a:gd name="T5" fmla="*/ 29 h 29"/>
              <a:gd name="T6" fmla="*/ 34 w 68"/>
              <a:gd name="T7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8" h="29">
                <a:moveTo>
                  <a:pt x="34" y="0"/>
                </a:moveTo>
                <a:cubicBezTo>
                  <a:pt x="34" y="0"/>
                  <a:pt x="0" y="4"/>
                  <a:pt x="0" y="29"/>
                </a:cubicBezTo>
                <a:cubicBezTo>
                  <a:pt x="67" y="29"/>
                  <a:pt x="67" y="29"/>
                  <a:pt x="67" y="29"/>
                </a:cubicBezTo>
                <a:cubicBezTo>
                  <a:pt x="67" y="29"/>
                  <a:pt x="68" y="0"/>
                  <a:pt x="3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5" name="íşḻîḋê">
            <a:extLst>
              <a:ext uri="{FF2B5EF4-FFF2-40B4-BE49-F238E27FC236}">
                <a16:creationId xmlns:a16="http://schemas.microsoft.com/office/drawing/2014/main" id="{F583381C-30AA-4564-988E-7013A46FB593}"/>
              </a:ext>
            </a:extLst>
          </p:cNvPr>
          <p:cNvSpPr/>
          <p:nvPr/>
        </p:nvSpPr>
        <p:spPr bwMode="auto">
          <a:xfrm>
            <a:off x="10305813" y="2511545"/>
            <a:ext cx="1368425" cy="95250"/>
          </a:xfrm>
          <a:custGeom>
            <a:avLst/>
            <a:gdLst>
              <a:gd name="T0" fmla="*/ 415 w 415"/>
              <a:gd name="T1" fmla="*/ 0 h 29"/>
              <a:gd name="T2" fmla="*/ 39 w 415"/>
              <a:gd name="T3" fmla="*/ 0 h 29"/>
              <a:gd name="T4" fmla="*/ 2 w 415"/>
              <a:gd name="T5" fmla="*/ 29 h 29"/>
              <a:gd name="T6" fmla="*/ 381 w 415"/>
              <a:gd name="T7" fmla="*/ 29 h 29"/>
              <a:gd name="T8" fmla="*/ 415 w 415"/>
              <a:gd name="T9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5" h="29">
                <a:moveTo>
                  <a:pt x="415" y="0"/>
                </a:moveTo>
                <a:cubicBezTo>
                  <a:pt x="415" y="0"/>
                  <a:pt x="78" y="0"/>
                  <a:pt x="39" y="0"/>
                </a:cubicBezTo>
                <a:cubicBezTo>
                  <a:pt x="0" y="0"/>
                  <a:pt x="2" y="29"/>
                  <a:pt x="2" y="29"/>
                </a:cubicBezTo>
                <a:cubicBezTo>
                  <a:pt x="381" y="29"/>
                  <a:pt x="381" y="29"/>
                  <a:pt x="381" y="29"/>
                </a:cubicBezTo>
                <a:cubicBezTo>
                  <a:pt x="381" y="4"/>
                  <a:pt x="415" y="0"/>
                  <a:pt x="41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6" name="iṧľíḓê">
            <a:extLst>
              <a:ext uri="{FF2B5EF4-FFF2-40B4-BE49-F238E27FC236}">
                <a16:creationId xmlns:a16="http://schemas.microsoft.com/office/drawing/2014/main" id="{D1F4F8F6-2867-48B5-9937-52E89B9E913E}"/>
              </a:ext>
            </a:extLst>
          </p:cNvPr>
          <p:cNvSpPr/>
          <p:nvPr/>
        </p:nvSpPr>
        <p:spPr bwMode="auto">
          <a:xfrm>
            <a:off x="10091500" y="2989383"/>
            <a:ext cx="220663" cy="151288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7" name="iS1îḓê">
            <a:extLst>
              <a:ext uri="{FF2B5EF4-FFF2-40B4-BE49-F238E27FC236}">
                <a16:creationId xmlns:a16="http://schemas.microsoft.com/office/drawing/2014/main" id="{561C9629-3B01-4B1D-B338-D05292CBD861}"/>
              </a:ext>
            </a:extLst>
          </p:cNvPr>
          <p:cNvSpPr/>
          <p:nvPr/>
        </p:nvSpPr>
        <p:spPr bwMode="auto">
          <a:xfrm>
            <a:off x="10312163" y="2606795"/>
            <a:ext cx="1250950" cy="18954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8" name="íśḻíḓê">
            <a:extLst>
              <a:ext uri="{FF2B5EF4-FFF2-40B4-BE49-F238E27FC236}">
                <a16:creationId xmlns:a16="http://schemas.microsoft.com/office/drawing/2014/main" id="{07C51232-E222-4BF0-9A9A-E973A22C6152}"/>
              </a:ext>
            </a:extLst>
          </p:cNvPr>
          <p:cNvSpPr/>
          <p:nvPr/>
        </p:nvSpPr>
        <p:spPr bwMode="auto">
          <a:xfrm>
            <a:off x="8956438" y="3102095"/>
            <a:ext cx="260350" cy="19050"/>
          </a:xfrm>
          <a:custGeom>
            <a:avLst/>
            <a:gdLst>
              <a:gd name="T0" fmla="*/ 76 w 79"/>
              <a:gd name="T1" fmla="*/ 6 h 6"/>
              <a:gd name="T2" fmla="*/ 3 w 79"/>
              <a:gd name="T3" fmla="*/ 6 h 6"/>
              <a:gd name="T4" fmla="*/ 0 w 79"/>
              <a:gd name="T5" fmla="*/ 3 h 6"/>
              <a:gd name="T6" fmla="*/ 3 w 79"/>
              <a:gd name="T7" fmla="*/ 0 h 6"/>
              <a:gd name="T8" fmla="*/ 76 w 79"/>
              <a:gd name="T9" fmla="*/ 0 h 6"/>
              <a:gd name="T10" fmla="*/ 79 w 79"/>
              <a:gd name="T11" fmla="*/ 3 h 6"/>
              <a:gd name="T12" fmla="*/ 76 w 79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6">
                <a:moveTo>
                  <a:pt x="76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8" y="0"/>
                  <a:pt x="79" y="2"/>
                  <a:pt x="79" y="3"/>
                </a:cubicBezTo>
                <a:cubicBezTo>
                  <a:pt x="79" y="5"/>
                  <a:pt x="78" y="6"/>
                  <a:pt x="76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9" name="íṣļïḓe">
            <a:extLst>
              <a:ext uri="{FF2B5EF4-FFF2-40B4-BE49-F238E27FC236}">
                <a16:creationId xmlns:a16="http://schemas.microsoft.com/office/drawing/2014/main" id="{04F28C42-AEA7-4048-9405-8F14483F99CF}"/>
              </a:ext>
            </a:extLst>
          </p:cNvPr>
          <p:cNvSpPr/>
          <p:nvPr/>
        </p:nvSpPr>
        <p:spPr bwMode="auto">
          <a:xfrm>
            <a:off x="9262825" y="3102095"/>
            <a:ext cx="474663" cy="19050"/>
          </a:xfrm>
          <a:custGeom>
            <a:avLst/>
            <a:gdLst>
              <a:gd name="T0" fmla="*/ 141 w 144"/>
              <a:gd name="T1" fmla="*/ 6 h 6"/>
              <a:gd name="T2" fmla="*/ 3 w 144"/>
              <a:gd name="T3" fmla="*/ 6 h 6"/>
              <a:gd name="T4" fmla="*/ 0 w 144"/>
              <a:gd name="T5" fmla="*/ 3 h 6"/>
              <a:gd name="T6" fmla="*/ 3 w 144"/>
              <a:gd name="T7" fmla="*/ 0 h 6"/>
              <a:gd name="T8" fmla="*/ 141 w 144"/>
              <a:gd name="T9" fmla="*/ 0 h 6"/>
              <a:gd name="T10" fmla="*/ 144 w 144"/>
              <a:gd name="T11" fmla="*/ 3 h 6"/>
              <a:gd name="T12" fmla="*/ 141 w 144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4" h="6">
                <a:moveTo>
                  <a:pt x="141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2" y="0"/>
                  <a:pt x="144" y="2"/>
                  <a:pt x="144" y="3"/>
                </a:cubicBezTo>
                <a:cubicBezTo>
                  <a:pt x="144" y="5"/>
                  <a:pt x="142" y="6"/>
                  <a:pt x="141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0" name="ïşḷîḋê">
            <a:extLst>
              <a:ext uri="{FF2B5EF4-FFF2-40B4-BE49-F238E27FC236}">
                <a16:creationId xmlns:a16="http://schemas.microsoft.com/office/drawing/2014/main" id="{74831B1E-EDC1-4CF2-B8BE-C0BF2451F345}"/>
              </a:ext>
            </a:extLst>
          </p:cNvPr>
          <p:cNvSpPr/>
          <p:nvPr/>
        </p:nvSpPr>
        <p:spPr bwMode="auto">
          <a:xfrm>
            <a:off x="9774000" y="3102095"/>
            <a:ext cx="106363" cy="19050"/>
          </a:xfrm>
          <a:custGeom>
            <a:avLst/>
            <a:gdLst>
              <a:gd name="T0" fmla="*/ 29 w 32"/>
              <a:gd name="T1" fmla="*/ 6 h 6"/>
              <a:gd name="T2" fmla="*/ 3 w 32"/>
              <a:gd name="T3" fmla="*/ 6 h 6"/>
              <a:gd name="T4" fmla="*/ 0 w 32"/>
              <a:gd name="T5" fmla="*/ 3 h 6"/>
              <a:gd name="T6" fmla="*/ 3 w 32"/>
              <a:gd name="T7" fmla="*/ 0 h 6"/>
              <a:gd name="T8" fmla="*/ 29 w 32"/>
              <a:gd name="T9" fmla="*/ 0 h 6"/>
              <a:gd name="T10" fmla="*/ 32 w 32"/>
              <a:gd name="T11" fmla="*/ 3 h 6"/>
              <a:gd name="T12" fmla="*/ 29 w 3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6">
                <a:moveTo>
                  <a:pt x="29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31" y="0"/>
                  <a:pt x="32" y="2"/>
                  <a:pt x="32" y="3"/>
                </a:cubicBezTo>
                <a:cubicBezTo>
                  <a:pt x="32" y="5"/>
                  <a:pt x="31" y="6"/>
                  <a:pt x="29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1" name="îşľiḓè">
            <a:extLst>
              <a:ext uri="{FF2B5EF4-FFF2-40B4-BE49-F238E27FC236}">
                <a16:creationId xmlns:a16="http://schemas.microsoft.com/office/drawing/2014/main" id="{1772D7E0-87F7-4143-AC1E-3B2B6F307D73}"/>
              </a:ext>
            </a:extLst>
          </p:cNvPr>
          <p:cNvSpPr/>
          <p:nvPr/>
        </p:nvSpPr>
        <p:spPr bwMode="auto">
          <a:xfrm>
            <a:off x="8956438" y="3237033"/>
            <a:ext cx="73025" cy="20638"/>
          </a:xfrm>
          <a:custGeom>
            <a:avLst/>
            <a:gdLst>
              <a:gd name="T0" fmla="*/ 19 w 22"/>
              <a:gd name="T1" fmla="*/ 6 h 6"/>
              <a:gd name="T2" fmla="*/ 3 w 22"/>
              <a:gd name="T3" fmla="*/ 6 h 6"/>
              <a:gd name="T4" fmla="*/ 0 w 22"/>
              <a:gd name="T5" fmla="*/ 3 h 6"/>
              <a:gd name="T6" fmla="*/ 3 w 22"/>
              <a:gd name="T7" fmla="*/ 0 h 6"/>
              <a:gd name="T8" fmla="*/ 19 w 22"/>
              <a:gd name="T9" fmla="*/ 0 h 6"/>
              <a:gd name="T10" fmla="*/ 22 w 22"/>
              <a:gd name="T11" fmla="*/ 3 h 6"/>
              <a:gd name="T12" fmla="*/ 19 w 2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6">
                <a:moveTo>
                  <a:pt x="19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2" y="1"/>
                  <a:pt x="22" y="3"/>
                </a:cubicBezTo>
                <a:cubicBezTo>
                  <a:pt x="22" y="5"/>
                  <a:pt x="21" y="6"/>
                  <a:pt x="19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2" name="íṥḷïďe">
            <a:extLst>
              <a:ext uri="{FF2B5EF4-FFF2-40B4-BE49-F238E27FC236}">
                <a16:creationId xmlns:a16="http://schemas.microsoft.com/office/drawing/2014/main" id="{D9A219A7-C697-4695-88C8-D4A89F06BDBD}"/>
              </a:ext>
            </a:extLst>
          </p:cNvPr>
          <p:cNvSpPr/>
          <p:nvPr/>
        </p:nvSpPr>
        <p:spPr bwMode="auto">
          <a:xfrm>
            <a:off x="9078675" y="3237033"/>
            <a:ext cx="550863" cy="20638"/>
          </a:xfrm>
          <a:custGeom>
            <a:avLst/>
            <a:gdLst>
              <a:gd name="T0" fmla="*/ 164 w 167"/>
              <a:gd name="T1" fmla="*/ 6 h 6"/>
              <a:gd name="T2" fmla="*/ 3 w 167"/>
              <a:gd name="T3" fmla="*/ 6 h 6"/>
              <a:gd name="T4" fmla="*/ 0 w 167"/>
              <a:gd name="T5" fmla="*/ 3 h 6"/>
              <a:gd name="T6" fmla="*/ 3 w 167"/>
              <a:gd name="T7" fmla="*/ 0 h 6"/>
              <a:gd name="T8" fmla="*/ 164 w 167"/>
              <a:gd name="T9" fmla="*/ 0 h 6"/>
              <a:gd name="T10" fmla="*/ 167 w 167"/>
              <a:gd name="T11" fmla="*/ 3 h 6"/>
              <a:gd name="T12" fmla="*/ 164 w 16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6">
                <a:moveTo>
                  <a:pt x="164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5" y="0"/>
                  <a:pt x="167" y="1"/>
                  <a:pt x="167" y="3"/>
                </a:cubicBezTo>
                <a:cubicBezTo>
                  <a:pt x="167" y="5"/>
                  <a:pt x="165" y="6"/>
                  <a:pt x="16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3" name="íṡļiďé">
            <a:extLst>
              <a:ext uri="{FF2B5EF4-FFF2-40B4-BE49-F238E27FC236}">
                <a16:creationId xmlns:a16="http://schemas.microsoft.com/office/drawing/2014/main" id="{01396A38-FEDD-4486-9E99-8C068F7C2DBA}"/>
              </a:ext>
            </a:extLst>
          </p:cNvPr>
          <p:cNvSpPr/>
          <p:nvPr/>
        </p:nvSpPr>
        <p:spPr bwMode="auto">
          <a:xfrm>
            <a:off x="9672400" y="3237033"/>
            <a:ext cx="300038" cy="20638"/>
          </a:xfrm>
          <a:custGeom>
            <a:avLst/>
            <a:gdLst>
              <a:gd name="T0" fmla="*/ 88 w 91"/>
              <a:gd name="T1" fmla="*/ 6 h 6"/>
              <a:gd name="T2" fmla="*/ 3 w 91"/>
              <a:gd name="T3" fmla="*/ 6 h 6"/>
              <a:gd name="T4" fmla="*/ 0 w 91"/>
              <a:gd name="T5" fmla="*/ 3 h 6"/>
              <a:gd name="T6" fmla="*/ 3 w 91"/>
              <a:gd name="T7" fmla="*/ 0 h 6"/>
              <a:gd name="T8" fmla="*/ 88 w 91"/>
              <a:gd name="T9" fmla="*/ 0 h 6"/>
              <a:gd name="T10" fmla="*/ 91 w 91"/>
              <a:gd name="T11" fmla="*/ 3 h 6"/>
              <a:gd name="T12" fmla="*/ 88 w 91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6">
                <a:moveTo>
                  <a:pt x="88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0" y="0"/>
                  <a:pt x="91" y="1"/>
                  <a:pt x="91" y="3"/>
                </a:cubicBezTo>
                <a:cubicBezTo>
                  <a:pt x="91" y="5"/>
                  <a:pt x="90" y="6"/>
                  <a:pt x="88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4" name="iSlïḋé">
            <a:extLst>
              <a:ext uri="{FF2B5EF4-FFF2-40B4-BE49-F238E27FC236}">
                <a16:creationId xmlns:a16="http://schemas.microsoft.com/office/drawing/2014/main" id="{49B9EC6A-0E11-4149-83CD-F8463D1E5F24}"/>
              </a:ext>
            </a:extLst>
          </p:cNvPr>
          <p:cNvSpPr/>
          <p:nvPr/>
        </p:nvSpPr>
        <p:spPr bwMode="auto">
          <a:xfrm>
            <a:off x="9042163" y="3389433"/>
            <a:ext cx="161925" cy="23813"/>
          </a:xfrm>
          <a:custGeom>
            <a:avLst/>
            <a:gdLst>
              <a:gd name="T0" fmla="*/ 45 w 49"/>
              <a:gd name="T1" fmla="*/ 7 h 7"/>
              <a:gd name="T2" fmla="*/ 3 w 49"/>
              <a:gd name="T3" fmla="*/ 7 h 7"/>
              <a:gd name="T4" fmla="*/ 0 w 49"/>
              <a:gd name="T5" fmla="*/ 4 h 7"/>
              <a:gd name="T6" fmla="*/ 3 w 49"/>
              <a:gd name="T7" fmla="*/ 0 h 7"/>
              <a:gd name="T8" fmla="*/ 45 w 49"/>
              <a:gd name="T9" fmla="*/ 0 h 7"/>
              <a:gd name="T10" fmla="*/ 49 w 49"/>
              <a:gd name="T11" fmla="*/ 4 h 7"/>
              <a:gd name="T12" fmla="*/ 45 w 49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7">
                <a:moveTo>
                  <a:pt x="45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9" y="2"/>
                  <a:pt x="49" y="4"/>
                </a:cubicBezTo>
                <a:cubicBezTo>
                  <a:pt x="49" y="5"/>
                  <a:pt x="47" y="7"/>
                  <a:pt x="45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5" name="i$1iḍê">
            <a:extLst>
              <a:ext uri="{FF2B5EF4-FFF2-40B4-BE49-F238E27FC236}">
                <a16:creationId xmlns:a16="http://schemas.microsoft.com/office/drawing/2014/main" id="{19D181CE-36BF-4FCC-AF1E-906152DD02E4}"/>
              </a:ext>
            </a:extLst>
          </p:cNvPr>
          <p:cNvSpPr/>
          <p:nvPr/>
        </p:nvSpPr>
        <p:spPr bwMode="auto">
          <a:xfrm>
            <a:off x="9243775" y="3389433"/>
            <a:ext cx="652463" cy="23813"/>
          </a:xfrm>
          <a:custGeom>
            <a:avLst/>
            <a:gdLst>
              <a:gd name="T0" fmla="*/ 195 w 198"/>
              <a:gd name="T1" fmla="*/ 7 h 7"/>
              <a:gd name="T2" fmla="*/ 3 w 198"/>
              <a:gd name="T3" fmla="*/ 7 h 7"/>
              <a:gd name="T4" fmla="*/ 0 w 198"/>
              <a:gd name="T5" fmla="*/ 4 h 7"/>
              <a:gd name="T6" fmla="*/ 3 w 198"/>
              <a:gd name="T7" fmla="*/ 0 h 7"/>
              <a:gd name="T8" fmla="*/ 195 w 198"/>
              <a:gd name="T9" fmla="*/ 0 h 7"/>
              <a:gd name="T10" fmla="*/ 198 w 198"/>
              <a:gd name="T11" fmla="*/ 4 h 7"/>
              <a:gd name="T12" fmla="*/ 195 w 19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7">
                <a:moveTo>
                  <a:pt x="195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8" y="2"/>
                  <a:pt x="198" y="4"/>
                </a:cubicBezTo>
                <a:cubicBezTo>
                  <a:pt x="198" y="5"/>
                  <a:pt x="197" y="7"/>
                  <a:pt x="195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6" name="iṥḷidê">
            <a:extLst>
              <a:ext uri="{FF2B5EF4-FFF2-40B4-BE49-F238E27FC236}">
                <a16:creationId xmlns:a16="http://schemas.microsoft.com/office/drawing/2014/main" id="{60FE2240-F98B-46B5-989C-08BA9028D105}"/>
              </a:ext>
            </a:extLst>
          </p:cNvPr>
          <p:cNvSpPr/>
          <p:nvPr/>
        </p:nvSpPr>
        <p:spPr bwMode="auto">
          <a:xfrm>
            <a:off x="8956438" y="3518020"/>
            <a:ext cx="122238" cy="20638"/>
          </a:xfrm>
          <a:custGeom>
            <a:avLst/>
            <a:gdLst>
              <a:gd name="T0" fmla="*/ 34 w 37"/>
              <a:gd name="T1" fmla="*/ 6 h 6"/>
              <a:gd name="T2" fmla="*/ 3 w 37"/>
              <a:gd name="T3" fmla="*/ 6 h 6"/>
              <a:gd name="T4" fmla="*/ 0 w 37"/>
              <a:gd name="T5" fmla="*/ 3 h 6"/>
              <a:gd name="T6" fmla="*/ 3 w 37"/>
              <a:gd name="T7" fmla="*/ 0 h 6"/>
              <a:gd name="T8" fmla="*/ 34 w 37"/>
              <a:gd name="T9" fmla="*/ 0 h 6"/>
              <a:gd name="T10" fmla="*/ 37 w 37"/>
              <a:gd name="T11" fmla="*/ 3 h 6"/>
              <a:gd name="T12" fmla="*/ 34 w 3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6">
                <a:moveTo>
                  <a:pt x="34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6" y="0"/>
                  <a:pt x="37" y="1"/>
                  <a:pt x="37" y="3"/>
                </a:cubicBezTo>
                <a:cubicBezTo>
                  <a:pt x="37" y="4"/>
                  <a:pt x="36" y="6"/>
                  <a:pt x="3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7" name="ísļîďe">
            <a:extLst>
              <a:ext uri="{FF2B5EF4-FFF2-40B4-BE49-F238E27FC236}">
                <a16:creationId xmlns:a16="http://schemas.microsoft.com/office/drawing/2014/main" id="{BD6738AC-7842-40AC-A47C-D4DBB4225C7E}"/>
              </a:ext>
            </a:extLst>
          </p:cNvPr>
          <p:cNvSpPr/>
          <p:nvPr/>
        </p:nvSpPr>
        <p:spPr bwMode="auto">
          <a:xfrm>
            <a:off x="9112013" y="3518020"/>
            <a:ext cx="428625" cy="20638"/>
          </a:xfrm>
          <a:custGeom>
            <a:avLst/>
            <a:gdLst>
              <a:gd name="T0" fmla="*/ 127 w 130"/>
              <a:gd name="T1" fmla="*/ 6 h 6"/>
              <a:gd name="T2" fmla="*/ 3 w 130"/>
              <a:gd name="T3" fmla="*/ 6 h 6"/>
              <a:gd name="T4" fmla="*/ 0 w 130"/>
              <a:gd name="T5" fmla="*/ 3 h 6"/>
              <a:gd name="T6" fmla="*/ 3 w 130"/>
              <a:gd name="T7" fmla="*/ 0 h 6"/>
              <a:gd name="T8" fmla="*/ 127 w 130"/>
              <a:gd name="T9" fmla="*/ 0 h 6"/>
              <a:gd name="T10" fmla="*/ 130 w 130"/>
              <a:gd name="T11" fmla="*/ 3 h 6"/>
              <a:gd name="T12" fmla="*/ 127 w 130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0" h="6">
                <a:moveTo>
                  <a:pt x="127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9" y="0"/>
                  <a:pt x="130" y="1"/>
                  <a:pt x="130" y="3"/>
                </a:cubicBezTo>
                <a:cubicBezTo>
                  <a:pt x="130" y="4"/>
                  <a:pt x="129" y="6"/>
                  <a:pt x="127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8" name="iṥḷíḑè">
            <a:extLst>
              <a:ext uri="{FF2B5EF4-FFF2-40B4-BE49-F238E27FC236}">
                <a16:creationId xmlns:a16="http://schemas.microsoft.com/office/drawing/2014/main" id="{CDF1BB1A-BEB0-4DEB-91A8-D562B95B8DBB}"/>
              </a:ext>
            </a:extLst>
          </p:cNvPr>
          <p:cNvSpPr/>
          <p:nvPr/>
        </p:nvSpPr>
        <p:spPr bwMode="auto">
          <a:xfrm>
            <a:off x="9596200" y="3518020"/>
            <a:ext cx="366713" cy="20638"/>
          </a:xfrm>
          <a:custGeom>
            <a:avLst/>
            <a:gdLst>
              <a:gd name="T0" fmla="*/ 107 w 111"/>
              <a:gd name="T1" fmla="*/ 6 h 6"/>
              <a:gd name="T2" fmla="*/ 3 w 111"/>
              <a:gd name="T3" fmla="*/ 6 h 6"/>
              <a:gd name="T4" fmla="*/ 0 w 111"/>
              <a:gd name="T5" fmla="*/ 3 h 6"/>
              <a:gd name="T6" fmla="*/ 3 w 111"/>
              <a:gd name="T7" fmla="*/ 0 h 6"/>
              <a:gd name="T8" fmla="*/ 107 w 111"/>
              <a:gd name="T9" fmla="*/ 0 h 6"/>
              <a:gd name="T10" fmla="*/ 111 w 111"/>
              <a:gd name="T11" fmla="*/ 3 h 6"/>
              <a:gd name="T12" fmla="*/ 107 w 111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1" h="6">
                <a:moveTo>
                  <a:pt x="107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9" y="0"/>
                  <a:pt x="111" y="1"/>
                  <a:pt x="111" y="3"/>
                </a:cubicBezTo>
                <a:cubicBezTo>
                  <a:pt x="111" y="4"/>
                  <a:pt x="109" y="6"/>
                  <a:pt x="107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9" name="îŝ1iḍè">
            <a:extLst>
              <a:ext uri="{FF2B5EF4-FFF2-40B4-BE49-F238E27FC236}">
                <a16:creationId xmlns:a16="http://schemas.microsoft.com/office/drawing/2014/main" id="{4808FD0C-2715-4104-8007-223DDD8B336A}"/>
              </a:ext>
            </a:extLst>
          </p:cNvPr>
          <p:cNvSpPr/>
          <p:nvPr/>
        </p:nvSpPr>
        <p:spPr bwMode="auto">
          <a:xfrm>
            <a:off x="8956438" y="3659308"/>
            <a:ext cx="814388" cy="20638"/>
          </a:xfrm>
          <a:custGeom>
            <a:avLst/>
            <a:gdLst>
              <a:gd name="T0" fmla="*/ 244 w 247"/>
              <a:gd name="T1" fmla="*/ 6 h 6"/>
              <a:gd name="T2" fmla="*/ 3 w 247"/>
              <a:gd name="T3" fmla="*/ 6 h 6"/>
              <a:gd name="T4" fmla="*/ 0 w 247"/>
              <a:gd name="T5" fmla="*/ 3 h 6"/>
              <a:gd name="T6" fmla="*/ 3 w 247"/>
              <a:gd name="T7" fmla="*/ 0 h 6"/>
              <a:gd name="T8" fmla="*/ 244 w 247"/>
              <a:gd name="T9" fmla="*/ 0 h 6"/>
              <a:gd name="T10" fmla="*/ 247 w 247"/>
              <a:gd name="T11" fmla="*/ 3 h 6"/>
              <a:gd name="T12" fmla="*/ 244 w 24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7" h="6">
                <a:moveTo>
                  <a:pt x="244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46" y="0"/>
                  <a:pt x="247" y="1"/>
                  <a:pt x="247" y="3"/>
                </a:cubicBezTo>
                <a:cubicBezTo>
                  <a:pt x="247" y="5"/>
                  <a:pt x="246" y="6"/>
                  <a:pt x="24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0" name="îṥļïďé">
            <a:extLst>
              <a:ext uri="{FF2B5EF4-FFF2-40B4-BE49-F238E27FC236}">
                <a16:creationId xmlns:a16="http://schemas.microsoft.com/office/drawing/2014/main" id="{D9261762-186E-46C5-BF9D-8852B8A8F8A0}"/>
              </a:ext>
            </a:extLst>
          </p:cNvPr>
          <p:cNvSpPr/>
          <p:nvPr/>
        </p:nvSpPr>
        <p:spPr bwMode="auto">
          <a:xfrm>
            <a:off x="9810513" y="3659308"/>
            <a:ext cx="152400" cy="20638"/>
          </a:xfrm>
          <a:custGeom>
            <a:avLst/>
            <a:gdLst>
              <a:gd name="T0" fmla="*/ 42 w 46"/>
              <a:gd name="T1" fmla="*/ 6 h 6"/>
              <a:gd name="T2" fmla="*/ 3 w 46"/>
              <a:gd name="T3" fmla="*/ 6 h 6"/>
              <a:gd name="T4" fmla="*/ 0 w 46"/>
              <a:gd name="T5" fmla="*/ 3 h 6"/>
              <a:gd name="T6" fmla="*/ 3 w 46"/>
              <a:gd name="T7" fmla="*/ 0 h 6"/>
              <a:gd name="T8" fmla="*/ 42 w 46"/>
              <a:gd name="T9" fmla="*/ 0 h 6"/>
              <a:gd name="T10" fmla="*/ 46 w 46"/>
              <a:gd name="T11" fmla="*/ 3 h 6"/>
              <a:gd name="T12" fmla="*/ 42 w 46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6">
                <a:moveTo>
                  <a:pt x="42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4" y="0"/>
                  <a:pt x="46" y="1"/>
                  <a:pt x="46" y="3"/>
                </a:cubicBezTo>
                <a:cubicBezTo>
                  <a:pt x="46" y="5"/>
                  <a:pt x="44" y="6"/>
                  <a:pt x="42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1" name="ís1ïḓè">
            <a:extLst>
              <a:ext uri="{FF2B5EF4-FFF2-40B4-BE49-F238E27FC236}">
                <a16:creationId xmlns:a16="http://schemas.microsoft.com/office/drawing/2014/main" id="{946B441C-CA08-401E-9833-F4725DBD4D9F}"/>
              </a:ext>
            </a:extLst>
          </p:cNvPr>
          <p:cNvSpPr/>
          <p:nvPr/>
        </p:nvSpPr>
        <p:spPr bwMode="auto">
          <a:xfrm>
            <a:off x="8959613" y="4502270"/>
            <a:ext cx="260350" cy="22225"/>
          </a:xfrm>
          <a:custGeom>
            <a:avLst/>
            <a:gdLst>
              <a:gd name="T0" fmla="*/ 76 w 79"/>
              <a:gd name="T1" fmla="*/ 7 h 7"/>
              <a:gd name="T2" fmla="*/ 3 w 79"/>
              <a:gd name="T3" fmla="*/ 7 h 7"/>
              <a:gd name="T4" fmla="*/ 0 w 79"/>
              <a:gd name="T5" fmla="*/ 4 h 7"/>
              <a:gd name="T6" fmla="*/ 3 w 79"/>
              <a:gd name="T7" fmla="*/ 0 h 7"/>
              <a:gd name="T8" fmla="*/ 76 w 79"/>
              <a:gd name="T9" fmla="*/ 0 h 7"/>
              <a:gd name="T10" fmla="*/ 79 w 79"/>
              <a:gd name="T11" fmla="*/ 4 h 7"/>
              <a:gd name="T12" fmla="*/ 76 w 79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7">
                <a:moveTo>
                  <a:pt x="76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7" y="0"/>
                  <a:pt x="79" y="2"/>
                  <a:pt x="79" y="4"/>
                </a:cubicBezTo>
                <a:cubicBezTo>
                  <a:pt x="79" y="5"/>
                  <a:pt x="77" y="7"/>
                  <a:pt x="76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2" name="í$ľîḓé">
            <a:extLst>
              <a:ext uri="{FF2B5EF4-FFF2-40B4-BE49-F238E27FC236}">
                <a16:creationId xmlns:a16="http://schemas.microsoft.com/office/drawing/2014/main" id="{757BA4A4-B353-42DF-B2DE-7796AB3259B7}"/>
              </a:ext>
            </a:extLst>
          </p:cNvPr>
          <p:cNvSpPr/>
          <p:nvPr/>
        </p:nvSpPr>
        <p:spPr bwMode="auto">
          <a:xfrm>
            <a:off x="9266000" y="4502270"/>
            <a:ext cx="471488" cy="22225"/>
          </a:xfrm>
          <a:custGeom>
            <a:avLst/>
            <a:gdLst>
              <a:gd name="T0" fmla="*/ 140 w 143"/>
              <a:gd name="T1" fmla="*/ 7 h 7"/>
              <a:gd name="T2" fmla="*/ 3 w 143"/>
              <a:gd name="T3" fmla="*/ 7 h 7"/>
              <a:gd name="T4" fmla="*/ 0 w 143"/>
              <a:gd name="T5" fmla="*/ 4 h 7"/>
              <a:gd name="T6" fmla="*/ 3 w 143"/>
              <a:gd name="T7" fmla="*/ 0 h 7"/>
              <a:gd name="T8" fmla="*/ 140 w 143"/>
              <a:gd name="T9" fmla="*/ 0 h 7"/>
              <a:gd name="T10" fmla="*/ 143 w 143"/>
              <a:gd name="T11" fmla="*/ 4 h 7"/>
              <a:gd name="T12" fmla="*/ 140 w 143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7">
                <a:moveTo>
                  <a:pt x="140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2" y="0"/>
                  <a:pt x="143" y="2"/>
                  <a:pt x="143" y="4"/>
                </a:cubicBezTo>
                <a:cubicBezTo>
                  <a:pt x="143" y="5"/>
                  <a:pt x="142" y="7"/>
                  <a:pt x="140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3" name="iṣ1iḓé">
            <a:extLst>
              <a:ext uri="{FF2B5EF4-FFF2-40B4-BE49-F238E27FC236}">
                <a16:creationId xmlns:a16="http://schemas.microsoft.com/office/drawing/2014/main" id="{8F13CF0B-E703-4157-A9FE-3CAF77D2911E}"/>
              </a:ext>
            </a:extLst>
          </p:cNvPr>
          <p:cNvSpPr/>
          <p:nvPr/>
        </p:nvSpPr>
        <p:spPr bwMode="auto">
          <a:xfrm>
            <a:off x="9774000" y="4502270"/>
            <a:ext cx="106363" cy="22225"/>
          </a:xfrm>
          <a:custGeom>
            <a:avLst/>
            <a:gdLst>
              <a:gd name="T0" fmla="*/ 29 w 32"/>
              <a:gd name="T1" fmla="*/ 7 h 7"/>
              <a:gd name="T2" fmla="*/ 3 w 32"/>
              <a:gd name="T3" fmla="*/ 7 h 7"/>
              <a:gd name="T4" fmla="*/ 0 w 32"/>
              <a:gd name="T5" fmla="*/ 4 h 7"/>
              <a:gd name="T6" fmla="*/ 3 w 32"/>
              <a:gd name="T7" fmla="*/ 0 h 7"/>
              <a:gd name="T8" fmla="*/ 29 w 32"/>
              <a:gd name="T9" fmla="*/ 0 h 7"/>
              <a:gd name="T10" fmla="*/ 32 w 32"/>
              <a:gd name="T11" fmla="*/ 4 h 7"/>
              <a:gd name="T12" fmla="*/ 29 w 32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7">
                <a:moveTo>
                  <a:pt x="29" y="7"/>
                </a:move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31" y="0"/>
                  <a:pt x="32" y="2"/>
                  <a:pt x="32" y="4"/>
                </a:cubicBezTo>
                <a:cubicBezTo>
                  <a:pt x="32" y="5"/>
                  <a:pt x="31" y="7"/>
                  <a:pt x="29" y="7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4" name="ïŝḷïḑê">
            <a:extLst>
              <a:ext uri="{FF2B5EF4-FFF2-40B4-BE49-F238E27FC236}">
                <a16:creationId xmlns:a16="http://schemas.microsoft.com/office/drawing/2014/main" id="{FDD6D607-24AB-4542-8F07-F76E5001C2F4}"/>
              </a:ext>
            </a:extLst>
          </p:cNvPr>
          <p:cNvSpPr/>
          <p:nvPr/>
        </p:nvSpPr>
        <p:spPr bwMode="auto">
          <a:xfrm>
            <a:off x="8959613" y="4637208"/>
            <a:ext cx="73025" cy="20638"/>
          </a:xfrm>
          <a:custGeom>
            <a:avLst/>
            <a:gdLst>
              <a:gd name="T0" fmla="*/ 19 w 22"/>
              <a:gd name="T1" fmla="*/ 6 h 6"/>
              <a:gd name="T2" fmla="*/ 3 w 22"/>
              <a:gd name="T3" fmla="*/ 6 h 6"/>
              <a:gd name="T4" fmla="*/ 0 w 22"/>
              <a:gd name="T5" fmla="*/ 3 h 6"/>
              <a:gd name="T6" fmla="*/ 3 w 22"/>
              <a:gd name="T7" fmla="*/ 0 h 6"/>
              <a:gd name="T8" fmla="*/ 19 w 22"/>
              <a:gd name="T9" fmla="*/ 0 h 6"/>
              <a:gd name="T10" fmla="*/ 22 w 22"/>
              <a:gd name="T11" fmla="*/ 3 h 6"/>
              <a:gd name="T12" fmla="*/ 19 w 2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6">
                <a:moveTo>
                  <a:pt x="19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2" y="2"/>
                  <a:pt x="22" y="3"/>
                </a:cubicBezTo>
                <a:cubicBezTo>
                  <a:pt x="22" y="5"/>
                  <a:pt x="21" y="6"/>
                  <a:pt x="19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5" name="ïS1íḍè">
            <a:extLst>
              <a:ext uri="{FF2B5EF4-FFF2-40B4-BE49-F238E27FC236}">
                <a16:creationId xmlns:a16="http://schemas.microsoft.com/office/drawing/2014/main" id="{02792566-12DC-44DF-BD7C-F4330DDE86F2}"/>
              </a:ext>
            </a:extLst>
          </p:cNvPr>
          <p:cNvSpPr/>
          <p:nvPr/>
        </p:nvSpPr>
        <p:spPr bwMode="auto">
          <a:xfrm>
            <a:off x="9078675" y="4637208"/>
            <a:ext cx="550863" cy="20638"/>
          </a:xfrm>
          <a:custGeom>
            <a:avLst/>
            <a:gdLst>
              <a:gd name="T0" fmla="*/ 164 w 167"/>
              <a:gd name="T1" fmla="*/ 6 h 6"/>
              <a:gd name="T2" fmla="*/ 3 w 167"/>
              <a:gd name="T3" fmla="*/ 6 h 6"/>
              <a:gd name="T4" fmla="*/ 0 w 167"/>
              <a:gd name="T5" fmla="*/ 3 h 6"/>
              <a:gd name="T6" fmla="*/ 3 w 167"/>
              <a:gd name="T7" fmla="*/ 0 h 6"/>
              <a:gd name="T8" fmla="*/ 164 w 167"/>
              <a:gd name="T9" fmla="*/ 0 h 6"/>
              <a:gd name="T10" fmla="*/ 167 w 167"/>
              <a:gd name="T11" fmla="*/ 3 h 6"/>
              <a:gd name="T12" fmla="*/ 164 w 16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6">
                <a:moveTo>
                  <a:pt x="164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6" y="0"/>
                  <a:pt x="167" y="2"/>
                  <a:pt x="167" y="3"/>
                </a:cubicBezTo>
                <a:cubicBezTo>
                  <a:pt x="167" y="5"/>
                  <a:pt x="166" y="6"/>
                  <a:pt x="16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6" name="iŝ1ïḋê">
            <a:extLst>
              <a:ext uri="{FF2B5EF4-FFF2-40B4-BE49-F238E27FC236}">
                <a16:creationId xmlns:a16="http://schemas.microsoft.com/office/drawing/2014/main" id="{5DF1F35D-8EAA-47AB-9936-BDAAA5638499}"/>
              </a:ext>
            </a:extLst>
          </p:cNvPr>
          <p:cNvSpPr/>
          <p:nvPr/>
        </p:nvSpPr>
        <p:spPr bwMode="auto">
          <a:xfrm>
            <a:off x="9675575" y="4637208"/>
            <a:ext cx="296863" cy="20638"/>
          </a:xfrm>
          <a:custGeom>
            <a:avLst/>
            <a:gdLst>
              <a:gd name="T0" fmla="*/ 87 w 90"/>
              <a:gd name="T1" fmla="*/ 6 h 6"/>
              <a:gd name="T2" fmla="*/ 3 w 90"/>
              <a:gd name="T3" fmla="*/ 6 h 6"/>
              <a:gd name="T4" fmla="*/ 0 w 90"/>
              <a:gd name="T5" fmla="*/ 3 h 6"/>
              <a:gd name="T6" fmla="*/ 3 w 90"/>
              <a:gd name="T7" fmla="*/ 0 h 6"/>
              <a:gd name="T8" fmla="*/ 87 w 90"/>
              <a:gd name="T9" fmla="*/ 0 h 6"/>
              <a:gd name="T10" fmla="*/ 90 w 90"/>
              <a:gd name="T11" fmla="*/ 3 h 6"/>
              <a:gd name="T12" fmla="*/ 87 w 90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" h="6">
                <a:moveTo>
                  <a:pt x="87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89" y="0"/>
                  <a:pt x="90" y="2"/>
                  <a:pt x="90" y="3"/>
                </a:cubicBezTo>
                <a:cubicBezTo>
                  <a:pt x="90" y="5"/>
                  <a:pt x="89" y="6"/>
                  <a:pt x="87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7" name="iśḷíďè">
            <a:extLst>
              <a:ext uri="{FF2B5EF4-FFF2-40B4-BE49-F238E27FC236}">
                <a16:creationId xmlns:a16="http://schemas.microsoft.com/office/drawing/2014/main" id="{AAF27250-AB9F-4956-A96D-C7D0A5097EDA}"/>
              </a:ext>
            </a:extLst>
          </p:cNvPr>
          <p:cNvSpPr/>
          <p:nvPr/>
        </p:nvSpPr>
        <p:spPr bwMode="auto">
          <a:xfrm>
            <a:off x="9045338" y="4792783"/>
            <a:ext cx="158750" cy="19050"/>
          </a:xfrm>
          <a:custGeom>
            <a:avLst/>
            <a:gdLst>
              <a:gd name="T0" fmla="*/ 45 w 48"/>
              <a:gd name="T1" fmla="*/ 6 h 6"/>
              <a:gd name="T2" fmla="*/ 3 w 48"/>
              <a:gd name="T3" fmla="*/ 6 h 6"/>
              <a:gd name="T4" fmla="*/ 0 w 48"/>
              <a:gd name="T5" fmla="*/ 3 h 6"/>
              <a:gd name="T6" fmla="*/ 3 w 48"/>
              <a:gd name="T7" fmla="*/ 0 h 6"/>
              <a:gd name="T8" fmla="*/ 45 w 48"/>
              <a:gd name="T9" fmla="*/ 0 h 6"/>
              <a:gd name="T10" fmla="*/ 48 w 48"/>
              <a:gd name="T11" fmla="*/ 3 h 6"/>
              <a:gd name="T12" fmla="*/ 45 w 48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" h="6">
                <a:moveTo>
                  <a:pt x="45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8" y="1"/>
                  <a:pt x="48" y="3"/>
                </a:cubicBezTo>
                <a:cubicBezTo>
                  <a:pt x="48" y="5"/>
                  <a:pt x="47" y="6"/>
                  <a:pt x="45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8" name="ïš1íďê">
            <a:extLst>
              <a:ext uri="{FF2B5EF4-FFF2-40B4-BE49-F238E27FC236}">
                <a16:creationId xmlns:a16="http://schemas.microsoft.com/office/drawing/2014/main" id="{AF75534D-4E20-4C24-9812-23B15379C6E3}"/>
              </a:ext>
            </a:extLst>
          </p:cNvPr>
          <p:cNvSpPr/>
          <p:nvPr/>
        </p:nvSpPr>
        <p:spPr bwMode="auto">
          <a:xfrm>
            <a:off x="9243775" y="4792783"/>
            <a:ext cx="655638" cy="19050"/>
          </a:xfrm>
          <a:custGeom>
            <a:avLst/>
            <a:gdLst>
              <a:gd name="T0" fmla="*/ 195 w 199"/>
              <a:gd name="T1" fmla="*/ 6 h 6"/>
              <a:gd name="T2" fmla="*/ 3 w 199"/>
              <a:gd name="T3" fmla="*/ 6 h 6"/>
              <a:gd name="T4" fmla="*/ 0 w 199"/>
              <a:gd name="T5" fmla="*/ 3 h 6"/>
              <a:gd name="T6" fmla="*/ 3 w 199"/>
              <a:gd name="T7" fmla="*/ 0 h 6"/>
              <a:gd name="T8" fmla="*/ 195 w 199"/>
              <a:gd name="T9" fmla="*/ 0 h 6"/>
              <a:gd name="T10" fmla="*/ 199 w 199"/>
              <a:gd name="T11" fmla="*/ 3 h 6"/>
              <a:gd name="T12" fmla="*/ 195 w 199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9" h="6">
                <a:moveTo>
                  <a:pt x="195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9" y="1"/>
                  <a:pt x="199" y="3"/>
                </a:cubicBezTo>
                <a:cubicBezTo>
                  <a:pt x="199" y="5"/>
                  <a:pt x="197" y="6"/>
                  <a:pt x="195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9" name="iṥḷïďe">
            <a:extLst>
              <a:ext uri="{FF2B5EF4-FFF2-40B4-BE49-F238E27FC236}">
                <a16:creationId xmlns:a16="http://schemas.microsoft.com/office/drawing/2014/main" id="{DCFB4F6E-75CB-4DB1-8D96-5AC284ED1075}"/>
              </a:ext>
            </a:extLst>
          </p:cNvPr>
          <p:cNvSpPr/>
          <p:nvPr/>
        </p:nvSpPr>
        <p:spPr bwMode="auto">
          <a:xfrm>
            <a:off x="8956438" y="3808533"/>
            <a:ext cx="201613" cy="20638"/>
          </a:xfrm>
          <a:custGeom>
            <a:avLst/>
            <a:gdLst>
              <a:gd name="T0" fmla="*/ 58 w 61"/>
              <a:gd name="T1" fmla="*/ 6 h 6"/>
              <a:gd name="T2" fmla="*/ 3 w 61"/>
              <a:gd name="T3" fmla="*/ 6 h 6"/>
              <a:gd name="T4" fmla="*/ 0 w 61"/>
              <a:gd name="T5" fmla="*/ 3 h 6"/>
              <a:gd name="T6" fmla="*/ 3 w 61"/>
              <a:gd name="T7" fmla="*/ 0 h 6"/>
              <a:gd name="T8" fmla="*/ 58 w 61"/>
              <a:gd name="T9" fmla="*/ 0 h 6"/>
              <a:gd name="T10" fmla="*/ 61 w 61"/>
              <a:gd name="T11" fmla="*/ 3 h 6"/>
              <a:gd name="T12" fmla="*/ 58 w 61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" h="6">
                <a:moveTo>
                  <a:pt x="58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61" y="1"/>
                  <a:pt x="61" y="3"/>
                </a:cubicBezTo>
                <a:cubicBezTo>
                  <a:pt x="61" y="4"/>
                  <a:pt x="59" y="6"/>
                  <a:pt x="58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0" name="ïṩļídé">
            <a:extLst>
              <a:ext uri="{FF2B5EF4-FFF2-40B4-BE49-F238E27FC236}">
                <a16:creationId xmlns:a16="http://schemas.microsoft.com/office/drawing/2014/main" id="{EAE34DAC-75CC-4AD8-A7E4-C077D95987AD}"/>
              </a:ext>
            </a:extLst>
          </p:cNvPr>
          <p:cNvSpPr/>
          <p:nvPr/>
        </p:nvSpPr>
        <p:spPr bwMode="auto">
          <a:xfrm>
            <a:off x="9197738" y="3808533"/>
            <a:ext cx="765175" cy="20638"/>
          </a:xfrm>
          <a:custGeom>
            <a:avLst/>
            <a:gdLst>
              <a:gd name="T0" fmla="*/ 228 w 232"/>
              <a:gd name="T1" fmla="*/ 6 h 6"/>
              <a:gd name="T2" fmla="*/ 3 w 232"/>
              <a:gd name="T3" fmla="*/ 6 h 6"/>
              <a:gd name="T4" fmla="*/ 0 w 232"/>
              <a:gd name="T5" fmla="*/ 3 h 6"/>
              <a:gd name="T6" fmla="*/ 3 w 232"/>
              <a:gd name="T7" fmla="*/ 0 h 6"/>
              <a:gd name="T8" fmla="*/ 228 w 232"/>
              <a:gd name="T9" fmla="*/ 0 h 6"/>
              <a:gd name="T10" fmla="*/ 232 w 232"/>
              <a:gd name="T11" fmla="*/ 3 h 6"/>
              <a:gd name="T12" fmla="*/ 228 w 23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2" h="6">
                <a:moveTo>
                  <a:pt x="228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228" y="0"/>
                  <a:pt x="228" y="0"/>
                  <a:pt x="228" y="0"/>
                </a:cubicBezTo>
                <a:cubicBezTo>
                  <a:pt x="230" y="0"/>
                  <a:pt x="232" y="1"/>
                  <a:pt x="232" y="3"/>
                </a:cubicBezTo>
                <a:cubicBezTo>
                  <a:pt x="232" y="4"/>
                  <a:pt x="230" y="6"/>
                  <a:pt x="228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1" name="iSḷïḑê">
            <a:extLst>
              <a:ext uri="{FF2B5EF4-FFF2-40B4-BE49-F238E27FC236}">
                <a16:creationId xmlns:a16="http://schemas.microsoft.com/office/drawing/2014/main" id="{F492A616-D3BA-4AB8-9166-8364EC480594}"/>
              </a:ext>
            </a:extLst>
          </p:cNvPr>
          <p:cNvSpPr/>
          <p:nvPr/>
        </p:nvSpPr>
        <p:spPr bwMode="auto">
          <a:xfrm>
            <a:off x="8956438" y="3946645"/>
            <a:ext cx="566738" cy="20638"/>
          </a:xfrm>
          <a:custGeom>
            <a:avLst/>
            <a:gdLst>
              <a:gd name="T0" fmla="*/ 169 w 172"/>
              <a:gd name="T1" fmla="*/ 6 h 6"/>
              <a:gd name="T2" fmla="*/ 3 w 172"/>
              <a:gd name="T3" fmla="*/ 6 h 6"/>
              <a:gd name="T4" fmla="*/ 0 w 172"/>
              <a:gd name="T5" fmla="*/ 3 h 6"/>
              <a:gd name="T6" fmla="*/ 3 w 172"/>
              <a:gd name="T7" fmla="*/ 0 h 6"/>
              <a:gd name="T8" fmla="*/ 169 w 172"/>
              <a:gd name="T9" fmla="*/ 0 h 6"/>
              <a:gd name="T10" fmla="*/ 172 w 172"/>
              <a:gd name="T11" fmla="*/ 3 h 6"/>
              <a:gd name="T12" fmla="*/ 169 w 17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2" h="6">
                <a:moveTo>
                  <a:pt x="169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69" y="0"/>
                  <a:pt x="169" y="0"/>
                  <a:pt x="169" y="0"/>
                </a:cubicBezTo>
                <a:cubicBezTo>
                  <a:pt x="171" y="0"/>
                  <a:pt x="172" y="1"/>
                  <a:pt x="172" y="3"/>
                </a:cubicBezTo>
                <a:cubicBezTo>
                  <a:pt x="172" y="5"/>
                  <a:pt x="171" y="6"/>
                  <a:pt x="169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2" name="îsľíďè">
            <a:extLst>
              <a:ext uri="{FF2B5EF4-FFF2-40B4-BE49-F238E27FC236}">
                <a16:creationId xmlns:a16="http://schemas.microsoft.com/office/drawing/2014/main" id="{494A44ED-C5D7-443D-B39B-2734F8D9B56D}"/>
              </a:ext>
            </a:extLst>
          </p:cNvPr>
          <p:cNvSpPr/>
          <p:nvPr/>
        </p:nvSpPr>
        <p:spPr bwMode="auto">
          <a:xfrm>
            <a:off x="9583500" y="3946645"/>
            <a:ext cx="107950" cy="20638"/>
          </a:xfrm>
          <a:custGeom>
            <a:avLst/>
            <a:gdLst>
              <a:gd name="T0" fmla="*/ 30 w 33"/>
              <a:gd name="T1" fmla="*/ 6 h 6"/>
              <a:gd name="T2" fmla="*/ 3 w 33"/>
              <a:gd name="T3" fmla="*/ 6 h 6"/>
              <a:gd name="T4" fmla="*/ 0 w 33"/>
              <a:gd name="T5" fmla="*/ 3 h 6"/>
              <a:gd name="T6" fmla="*/ 3 w 33"/>
              <a:gd name="T7" fmla="*/ 0 h 6"/>
              <a:gd name="T8" fmla="*/ 30 w 33"/>
              <a:gd name="T9" fmla="*/ 0 h 6"/>
              <a:gd name="T10" fmla="*/ 33 w 33"/>
              <a:gd name="T11" fmla="*/ 3 h 6"/>
              <a:gd name="T12" fmla="*/ 30 w 33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" h="6">
                <a:moveTo>
                  <a:pt x="30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2" y="0"/>
                  <a:pt x="33" y="1"/>
                  <a:pt x="33" y="3"/>
                </a:cubicBezTo>
                <a:cubicBezTo>
                  <a:pt x="33" y="5"/>
                  <a:pt x="32" y="6"/>
                  <a:pt x="30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3" name="ïṥḷíďé">
            <a:extLst>
              <a:ext uri="{FF2B5EF4-FFF2-40B4-BE49-F238E27FC236}">
                <a16:creationId xmlns:a16="http://schemas.microsoft.com/office/drawing/2014/main" id="{D2E63D54-9C49-4964-A4A9-1C164ECA3572}"/>
              </a:ext>
            </a:extLst>
          </p:cNvPr>
          <p:cNvSpPr/>
          <p:nvPr/>
        </p:nvSpPr>
        <p:spPr bwMode="auto">
          <a:xfrm>
            <a:off x="8956438" y="4076820"/>
            <a:ext cx="73025" cy="19050"/>
          </a:xfrm>
          <a:custGeom>
            <a:avLst/>
            <a:gdLst>
              <a:gd name="T0" fmla="*/ 19 w 22"/>
              <a:gd name="T1" fmla="*/ 6 h 6"/>
              <a:gd name="T2" fmla="*/ 3 w 22"/>
              <a:gd name="T3" fmla="*/ 6 h 6"/>
              <a:gd name="T4" fmla="*/ 0 w 22"/>
              <a:gd name="T5" fmla="*/ 3 h 6"/>
              <a:gd name="T6" fmla="*/ 3 w 22"/>
              <a:gd name="T7" fmla="*/ 0 h 6"/>
              <a:gd name="T8" fmla="*/ 19 w 22"/>
              <a:gd name="T9" fmla="*/ 0 h 6"/>
              <a:gd name="T10" fmla="*/ 22 w 22"/>
              <a:gd name="T11" fmla="*/ 3 h 6"/>
              <a:gd name="T12" fmla="*/ 19 w 22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6">
                <a:moveTo>
                  <a:pt x="19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2" y="1"/>
                  <a:pt x="22" y="3"/>
                </a:cubicBezTo>
                <a:cubicBezTo>
                  <a:pt x="22" y="5"/>
                  <a:pt x="21" y="6"/>
                  <a:pt x="19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4" name="îṩ1íḋê">
            <a:extLst>
              <a:ext uri="{FF2B5EF4-FFF2-40B4-BE49-F238E27FC236}">
                <a16:creationId xmlns:a16="http://schemas.microsoft.com/office/drawing/2014/main" id="{BFB15416-B533-419B-9418-4223434D6EBE}"/>
              </a:ext>
            </a:extLst>
          </p:cNvPr>
          <p:cNvSpPr/>
          <p:nvPr/>
        </p:nvSpPr>
        <p:spPr bwMode="auto">
          <a:xfrm>
            <a:off x="9078675" y="4076820"/>
            <a:ext cx="550863" cy="19050"/>
          </a:xfrm>
          <a:custGeom>
            <a:avLst/>
            <a:gdLst>
              <a:gd name="T0" fmla="*/ 164 w 167"/>
              <a:gd name="T1" fmla="*/ 6 h 6"/>
              <a:gd name="T2" fmla="*/ 3 w 167"/>
              <a:gd name="T3" fmla="*/ 6 h 6"/>
              <a:gd name="T4" fmla="*/ 0 w 167"/>
              <a:gd name="T5" fmla="*/ 3 h 6"/>
              <a:gd name="T6" fmla="*/ 3 w 167"/>
              <a:gd name="T7" fmla="*/ 0 h 6"/>
              <a:gd name="T8" fmla="*/ 164 w 167"/>
              <a:gd name="T9" fmla="*/ 0 h 6"/>
              <a:gd name="T10" fmla="*/ 167 w 167"/>
              <a:gd name="T11" fmla="*/ 3 h 6"/>
              <a:gd name="T12" fmla="*/ 164 w 16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6">
                <a:moveTo>
                  <a:pt x="164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165" y="0"/>
                  <a:pt x="167" y="1"/>
                  <a:pt x="167" y="3"/>
                </a:cubicBezTo>
                <a:cubicBezTo>
                  <a:pt x="167" y="5"/>
                  <a:pt x="165" y="6"/>
                  <a:pt x="16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5" name="îśḻïdé">
            <a:extLst>
              <a:ext uri="{FF2B5EF4-FFF2-40B4-BE49-F238E27FC236}">
                <a16:creationId xmlns:a16="http://schemas.microsoft.com/office/drawing/2014/main" id="{0A2204AF-2CDF-46FC-A8B6-ABFFA8F2B40F}"/>
              </a:ext>
            </a:extLst>
          </p:cNvPr>
          <p:cNvSpPr/>
          <p:nvPr/>
        </p:nvSpPr>
        <p:spPr bwMode="auto">
          <a:xfrm>
            <a:off x="9672400" y="4076820"/>
            <a:ext cx="300038" cy="19050"/>
          </a:xfrm>
          <a:custGeom>
            <a:avLst/>
            <a:gdLst>
              <a:gd name="T0" fmla="*/ 88 w 91"/>
              <a:gd name="T1" fmla="*/ 6 h 6"/>
              <a:gd name="T2" fmla="*/ 3 w 91"/>
              <a:gd name="T3" fmla="*/ 6 h 6"/>
              <a:gd name="T4" fmla="*/ 0 w 91"/>
              <a:gd name="T5" fmla="*/ 3 h 6"/>
              <a:gd name="T6" fmla="*/ 3 w 91"/>
              <a:gd name="T7" fmla="*/ 0 h 6"/>
              <a:gd name="T8" fmla="*/ 88 w 91"/>
              <a:gd name="T9" fmla="*/ 0 h 6"/>
              <a:gd name="T10" fmla="*/ 91 w 91"/>
              <a:gd name="T11" fmla="*/ 3 h 6"/>
              <a:gd name="T12" fmla="*/ 88 w 91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6">
                <a:moveTo>
                  <a:pt x="88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0" y="0"/>
                  <a:pt x="91" y="1"/>
                  <a:pt x="91" y="3"/>
                </a:cubicBezTo>
                <a:cubicBezTo>
                  <a:pt x="91" y="5"/>
                  <a:pt x="90" y="6"/>
                  <a:pt x="88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6" name="íṧliḋê">
            <a:extLst>
              <a:ext uri="{FF2B5EF4-FFF2-40B4-BE49-F238E27FC236}">
                <a16:creationId xmlns:a16="http://schemas.microsoft.com/office/drawing/2014/main" id="{C245FAFF-3169-49D5-B4B6-8D4367E4DAE4}"/>
              </a:ext>
            </a:extLst>
          </p:cNvPr>
          <p:cNvSpPr/>
          <p:nvPr/>
        </p:nvSpPr>
        <p:spPr bwMode="auto">
          <a:xfrm>
            <a:off x="9042163" y="4230808"/>
            <a:ext cx="161925" cy="20638"/>
          </a:xfrm>
          <a:custGeom>
            <a:avLst/>
            <a:gdLst>
              <a:gd name="T0" fmla="*/ 45 w 49"/>
              <a:gd name="T1" fmla="*/ 6 h 6"/>
              <a:gd name="T2" fmla="*/ 3 w 49"/>
              <a:gd name="T3" fmla="*/ 6 h 6"/>
              <a:gd name="T4" fmla="*/ 0 w 49"/>
              <a:gd name="T5" fmla="*/ 3 h 6"/>
              <a:gd name="T6" fmla="*/ 3 w 49"/>
              <a:gd name="T7" fmla="*/ 0 h 6"/>
              <a:gd name="T8" fmla="*/ 45 w 49"/>
              <a:gd name="T9" fmla="*/ 0 h 6"/>
              <a:gd name="T10" fmla="*/ 49 w 49"/>
              <a:gd name="T11" fmla="*/ 3 h 6"/>
              <a:gd name="T12" fmla="*/ 45 w 49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6">
                <a:moveTo>
                  <a:pt x="45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4"/>
                  <a:pt x="47" y="6"/>
                  <a:pt x="45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7" name="îSľiḓê">
            <a:extLst>
              <a:ext uri="{FF2B5EF4-FFF2-40B4-BE49-F238E27FC236}">
                <a16:creationId xmlns:a16="http://schemas.microsoft.com/office/drawing/2014/main" id="{ADB3B1C6-A5FC-44D2-91DF-5CD6AAACDEC7}"/>
              </a:ext>
            </a:extLst>
          </p:cNvPr>
          <p:cNvSpPr/>
          <p:nvPr/>
        </p:nvSpPr>
        <p:spPr bwMode="auto">
          <a:xfrm>
            <a:off x="9243775" y="4230808"/>
            <a:ext cx="652463" cy="20638"/>
          </a:xfrm>
          <a:custGeom>
            <a:avLst/>
            <a:gdLst>
              <a:gd name="T0" fmla="*/ 195 w 198"/>
              <a:gd name="T1" fmla="*/ 6 h 6"/>
              <a:gd name="T2" fmla="*/ 3 w 198"/>
              <a:gd name="T3" fmla="*/ 6 h 6"/>
              <a:gd name="T4" fmla="*/ 0 w 198"/>
              <a:gd name="T5" fmla="*/ 3 h 6"/>
              <a:gd name="T6" fmla="*/ 3 w 198"/>
              <a:gd name="T7" fmla="*/ 0 h 6"/>
              <a:gd name="T8" fmla="*/ 195 w 198"/>
              <a:gd name="T9" fmla="*/ 0 h 6"/>
              <a:gd name="T10" fmla="*/ 198 w 198"/>
              <a:gd name="T11" fmla="*/ 3 h 6"/>
              <a:gd name="T12" fmla="*/ 195 w 198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6">
                <a:moveTo>
                  <a:pt x="195" y="6"/>
                </a:move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8" y="1"/>
                  <a:pt x="198" y="3"/>
                </a:cubicBezTo>
                <a:cubicBezTo>
                  <a:pt x="198" y="4"/>
                  <a:pt x="197" y="6"/>
                  <a:pt x="195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8" name="íšļíďè">
            <a:extLst>
              <a:ext uri="{FF2B5EF4-FFF2-40B4-BE49-F238E27FC236}">
                <a16:creationId xmlns:a16="http://schemas.microsoft.com/office/drawing/2014/main" id="{DD0D67B3-DDAF-450F-945F-C8DE2FCBAE9F}"/>
              </a:ext>
            </a:extLst>
          </p:cNvPr>
          <p:cNvSpPr/>
          <p:nvPr/>
        </p:nvSpPr>
        <p:spPr bwMode="auto">
          <a:xfrm>
            <a:off x="8956438" y="4356220"/>
            <a:ext cx="122238" cy="20638"/>
          </a:xfrm>
          <a:custGeom>
            <a:avLst/>
            <a:gdLst>
              <a:gd name="T0" fmla="*/ 34 w 37"/>
              <a:gd name="T1" fmla="*/ 6 h 6"/>
              <a:gd name="T2" fmla="*/ 3 w 37"/>
              <a:gd name="T3" fmla="*/ 6 h 6"/>
              <a:gd name="T4" fmla="*/ 0 w 37"/>
              <a:gd name="T5" fmla="*/ 3 h 6"/>
              <a:gd name="T6" fmla="*/ 3 w 37"/>
              <a:gd name="T7" fmla="*/ 0 h 6"/>
              <a:gd name="T8" fmla="*/ 34 w 37"/>
              <a:gd name="T9" fmla="*/ 0 h 6"/>
              <a:gd name="T10" fmla="*/ 37 w 37"/>
              <a:gd name="T11" fmla="*/ 3 h 6"/>
              <a:gd name="T12" fmla="*/ 34 w 37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6">
                <a:moveTo>
                  <a:pt x="34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6" y="0"/>
                  <a:pt x="37" y="1"/>
                  <a:pt x="37" y="3"/>
                </a:cubicBezTo>
                <a:cubicBezTo>
                  <a:pt x="37" y="5"/>
                  <a:pt x="36" y="6"/>
                  <a:pt x="34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9" name="íṩļïḑé">
            <a:extLst>
              <a:ext uri="{FF2B5EF4-FFF2-40B4-BE49-F238E27FC236}">
                <a16:creationId xmlns:a16="http://schemas.microsoft.com/office/drawing/2014/main" id="{E7FAE8A7-2C4F-495C-94E7-382037FCB8FB}"/>
              </a:ext>
            </a:extLst>
          </p:cNvPr>
          <p:cNvSpPr/>
          <p:nvPr/>
        </p:nvSpPr>
        <p:spPr bwMode="auto">
          <a:xfrm>
            <a:off x="9112013" y="4356220"/>
            <a:ext cx="428625" cy="20638"/>
          </a:xfrm>
          <a:custGeom>
            <a:avLst/>
            <a:gdLst>
              <a:gd name="T0" fmla="*/ 127 w 130"/>
              <a:gd name="T1" fmla="*/ 6 h 6"/>
              <a:gd name="T2" fmla="*/ 3 w 130"/>
              <a:gd name="T3" fmla="*/ 6 h 6"/>
              <a:gd name="T4" fmla="*/ 0 w 130"/>
              <a:gd name="T5" fmla="*/ 3 h 6"/>
              <a:gd name="T6" fmla="*/ 3 w 130"/>
              <a:gd name="T7" fmla="*/ 0 h 6"/>
              <a:gd name="T8" fmla="*/ 127 w 130"/>
              <a:gd name="T9" fmla="*/ 0 h 6"/>
              <a:gd name="T10" fmla="*/ 130 w 130"/>
              <a:gd name="T11" fmla="*/ 3 h 6"/>
              <a:gd name="T12" fmla="*/ 127 w 130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0" h="6">
                <a:moveTo>
                  <a:pt x="127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9" y="0"/>
                  <a:pt x="130" y="1"/>
                  <a:pt x="130" y="3"/>
                </a:cubicBezTo>
                <a:cubicBezTo>
                  <a:pt x="130" y="5"/>
                  <a:pt x="129" y="6"/>
                  <a:pt x="127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0" name="îšḻïḋe">
            <a:extLst>
              <a:ext uri="{FF2B5EF4-FFF2-40B4-BE49-F238E27FC236}">
                <a16:creationId xmlns:a16="http://schemas.microsoft.com/office/drawing/2014/main" id="{19D9CBBB-0DFC-49E4-9D44-E2C6CE5947DA}"/>
              </a:ext>
            </a:extLst>
          </p:cNvPr>
          <p:cNvSpPr/>
          <p:nvPr/>
        </p:nvSpPr>
        <p:spPr bwMode="auto">
          <a:xfrm>
            <a:off x="9596200" y="4356220"/>
            <a:ext cx="366713" cy="20638"/>
          </a:xfrm>
          <a:custGeom>
            <a:avLst/>
            <a:gdLst>
              <a:gd name="T0" fmla="*/ 107 w 111"/>
              <a:gd name="T1" fmla="*/ 6 h 6"/>
              <a:gd name="T2" fmla="*/ 3 w 111"/>
              <a:gd name="T3" fmla="*/ 6 h 6"/>
              <a:gd name="T4" fmla="*/ 0 w 111"/>
              <a:gd name="T5" fmla="*/ 3 h 6"/>
              <a:gd name="T6" fmla="*/ 3 w 111"/>
              <a:gd name="T7" fmla="*/ 0 h 6"/>
              <a:gd name="T8" fmla="*/ 107 w 111"/>
              <a:gd name="T9" fmla="*/ 0 h 6"/>
              <a:gd name="T10" fmla="*/ 111 w 111"/>
              <a:gd name="T11" fmla="*/ 3 h 6"/>
              <a:gd name="T12" fmla="*/ 107 w 111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1" h="6">
                <a:moveTo>
                  <a:pt x="107" y="6"/>
                </a:move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9" y="0"/>
                  <a:pt x="111" y="1"/>
                  <a:pt x="111" y="3"/>
                </a:cubicBezTo>
                <a:cubicBezTo>
                  <a:pt x="111" y="5"/>
                  <a:pt x="109" y="6"/>
                  <a:pt x="107" y="6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" name="iṣ1îde">
            <a:extLst>
              <a:ext uri="{FF2B5EF4-FFF2-40B4-BE49-F238E27FC236}">
                <a16:creationId xmlns:a16="http://schemas.microsoft.com/office/drawing/2014/main" id="{075F42BE-DE18-407F-A435-F81E4F08DB01}"/>
              </a:ext>
            </a:extLst>
          </p:cNvPr>
          <p:cNvSpPr/>
          <p:nvPr/>
        </p:nvSpPr>
        <p:spPr bwMode="auto">
          <a:xfrm>
            <a:off x="11183700" y="4389558"/>
            <a:ext cx="263525" cy="20638"/>
          </a:xfrm>
          <a:custGeom>
            <a:avLst/>
            <a:gdLst>
              <a:gd name="T0" fmla="*/ 3 w 80"/>
              <a:gd name="T1" fmla="*/ 0 h 6"/>
              <a:gd name="T2" fmla="*/ 76 w 80"/>
              <a:gd name="T3" fmla="*/ 0 h 6"/>
              <a:gd name="T4" fmla="*/ 80 w 80"/>
              <a:gd name="T5" fmla="*/ 3 h 6"/>
              <a:gd name="T6" fmla="*/ 76 w 80"/>
              <a:gd name="T7" fmla="*/ 6 h 6"/>
              <a:gd name="T8" fmla="*/ 3 w 80"/>
              <a:gd name="T9" fmla="*/ 6 h 6"/>
              <a:gd name="T10" fmla="*/ 0 w 80"/>
              <a:gd name="T11" fmla="*/ 3 h 6"/>
              <a:gd name="T12" fmla="*/ 3 w 80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0" h="6">
                <a:moveTo>
                  <a:pt x="3" y="0"/>
                </a:moveTo>
                <a:cubicBezTo>
                  <a:pt x="76" y="0"/>
                  <a:pt x="76" y="0"/>
                  <a:pt x="76" y="0"/>
                </a:cubicBezTo>
                <a:cubicBezTo>
                  <a:pt x="78" y="0"/>
                  <a:pt x="80" y="1"/>
                  <a:pt x="80" y="3"/>
                </a:cubicBezTo>
                <a:cubicBezTo>
                  <a:pt x="80" y="5"/>
                  <a:pt x="78" y="6"/>
                  <a:pt x="76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" name="íṧľïďê">
            <a:extLst>
              <a:ext uri="{FF2B5EF4-FFF2-40B4-BE49-F238E27FC236}">
                <a16:creationId xmlns:a16="http://schemas.microsoft.com/office/drawing/2014/main" id="{FF7CBCD6-C6C2-4C45-9FCC-550BF2143BA8}"/>
              </a:ext>
            </a:extLst>
          </p:cNvPr>
          <p:cNvSpPr/>
          <p:nvPr/>
        </p:nvSpPr>
        <p:spPr bwMode="auto">
          <a:xfrm>
            <a:off x="10664588" y="4389558"/>
            <a:ext cx="473075" cy="20638"/>
          </a:xfrm>
          <a:custGeom>
            <a:avLst/>
            <a:gdLst>
              <a:gd name="T0" fmla="*/ 3 w 143"/>
              <a:gd name="T1" fmla="*/ 0 h 6"/>
              <a:gd name="T2" fmla="*/ 140 w 143"/>
              <a:gd name="T3" fmla="*/ 0 h 6"/>
              <a:gd name="T4" fmla="*/ 143 w 143"/>
              <a:gd name="T5" fmla="*/ 3 h 6"/>
              <a:gd name="T6" fmla="*/ 140 w 143"/>
              <a:gd name="T7" fmla="*/ 6 h 6"/>
              <a:gd name="T8" fmla="*/ 3 w 143"/>
              <a:gd name="T9" fmla="*/ 6 h 6"/>
              <a:gd name="T10" fmla="*/ 0 w 143"/>
              <a:gd name="T11" fmla="*/ 3 h 6"/>
              <a:gd name="T12" fmla="*/ 3 w 14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6">
                <a:moveTo>
                  <a:pt x="3" y="0"/>
                </a:moveTo>
                <a:cubicBezTo>
                  <a:pt x="140" y="0"/>
                  <a:pt x="140" y="0"/>
                  <a:pt x="140" y="0"/>
                </a:cubicBezTo>
                <a:cubicBezTo>
                  <a:pt x="142" y="0"/>
                  <a:pt x="143" y="1"/>
                  <a:pt x="143" y="3"/>
                </a:cubicBezTo>
                <a:cubicBezTo>
                  <a:pt x="143" y="5"/>
                  <a:pt x="142" y="6"/>
                  <a:pt x="14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" name="íŝļiďè">
            <a:extLst>
              <a:ext uri="{FF2B5EF4-FFF2-40B4-BE49-F238E27FC236}">
                <a16:creationId xmlns:a16="http://schemas.microsoft.com/office/drawing/2014/main" id="{E22EE82A-3C3E-49A9-B858-6B59FD943F27}"/>
              </a:ext>
            </a:extLst>
          </p:cNvPr>
          <p:cNvSpPr/>
          <p:nvPr/>
        </p:nvSpPr>
        <p:spPr bwMode="auto">
          <a:xfrm>
            <a:off x="10523300" y="4389558"/>
            <a:ext cx="106363" cy="20638"/>
          </a:xfrm>
          <a:custGeom>
            <a:avLst/>
            <a:gdLst>
              <a:gd name="T0" fmla="*/ 3 w 32"/>
              <a:gd name="T1" fmla="*/ 0 h 6"/>
              <a:gd name="T2" fmla="*/ 29 w 32"/>
              <a:gd name="T3" fmla="*/ 0 h 6"/>
              <a:gd name="T4" fmla="*/ 32 w 32"/>
              <a:gd name="T5" fmla="*/ 3 h 6"/>
              <a:gd name="T6" fmla="*/ 29 w 32"/>
              <a:gd name="T7" fmla="*/ 6 h 6"/>
              <a:gd name="T8" fmla="*/ 3 w 32"/>
              <a:gd name="T9" fmla="*/ 6 h 6"/>
              <a:gd name="T10" fmla="*/ 0 w 32"/>
              <a:gd name="T11" fmla="*/ 3 h 6"/>
              <a:gd name="T12" fmla="*/ 3 w 32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6">
                <a:moveTo>
                  <a:pt x="3" y="0"/>
                </a:moveTo>
                <a:cubicBezTo>
                  <a:pt x="29" y="0"/>
                  <a:pt x="29" y="0"/>
                  <a:pt x="29" y="0"/>
                </a:cubicBezTo>
                <a:cubicBezTo>
                  <a:pt x="31" y="0"/>
                  <a:pt x="32" y="1"/>
                  <a:pt x="32" y="3"/>
                </a:cubicBezTo>
                <a:cubicBezTo>
                  <a:pt x="32" y="5"/>
                  <a:pt x="31" y="6"/>
                  <a:pt x="29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" name="íṡlîḍé">
            <a:extLst>
              <a:ext uri="{FF2B5EF4-FFF2-40B4-BE49-F238E27FC236}">
                <a16:creationId xmlns:a16="http://schemas.microsoft.com/office/drawing/2014/main" id="{65D407E6-2EFF-489E-A818-CEAF73431C90}"/>
              </a:ext>
            </a:extLst>
          </p:cNvPr>
          <p:cNvSpPr/>
          <p:nvPr/>
        </p:nvSpPr>
        <p:spPr bwMode="auto">
          <a:xfrm>
            <a:off x="11371025" y="4254620"/>
            <a:ext cx="76200" cy="19050"/>
          </a:xfrm>
          <a:custGeom>
            <a:avLst/>
            <a:gdLst>
              <a:gd name="T0" fmla="*/ 3 w 23"/>
              <a:gd name="T1" fmla="*/ 0 h 6"/>
              <a:gd name="T2" fmla="*/ 19 w 23"/>
              <a:gd name="T3" fmla="*/ 0 h 6"/>
              <a:gd name="T4" fmla="*/ 23 w 23"/>
              <a:gd name="T5" fmla="*/ 3 h 6"/>
              <a:gd name="T6" fmla="*/ 19 w 23"/>
              <a:gd name="T7" fmla="*/ 6 h 6"/>
              <a:gd name="T8" fmla="*/ 3 w 23"/>
              <a:gd name="T9" fmla="*/ 6 h 6"/>
              <a:gd name="T10" fmla="*/ 0 w 23"/>
              <a:gd name="T11" fmla="*/ 3 h 6"/>
              <a:gd name="T12" fmla="*/ 3 w 2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3" y="0"/>
                </a:move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3" y="2"/>
                  <a:pt x="23" y="3"/>
                </a:cubicBezTo>
                <a:cubicBezTo>
                  <a:pt x="23" y="5"/>
                  <a:pt x="21" y="6"/>
                  <a:pt x="19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" name="iṩlîḑè">
            <a:extLst>
              <a:ext uri="{FF2B5EF4-FFF2-40B4-BE49-F238E27FC236}">
                <a16:creationId xmlns:a16="http://schemas.microsoft.com/office/drawing/2014/main" id="{C999ADE8-222A-4DBD-A919-F855E33086B9}"/>
              </a:ext>
            </a:extLst>
          </p:cNvPr>
          <p:cNvSpPr/>
          <p:nvPr/>
        </p:nvSpPr>
        <p:spPr bwMode="auto">
          <a:xfrm>
            <a:off x="10774125" y="4254620"/>
            <a:ext cx="550863" cy="19050"/>
          </a:xfrm>
          <a:custGeom>
            <a:avLst/>
            <a:gdLst>
              <a:gd name="T0" fmla="*/ 3 w 167"/>
              <a:gd name="T1" fmla="*/ 0 h 6"/>
              <a:gd name="T2" fmla="*/ 164 w 167"/>
              <a:gd name="T3" fmla="*/ 0 h 6"/>
              <a:gd name="T4" fmla="*/ 167 w 167"/>
              <a:gd name="T5" fmla="*/ 3 h 6"/>
              <a:gd name="T6" fmla="*/ 164 w 167"/>
              <a:gd name="T7" fmla="*/ 6 h 6"/>
              <a:gd name="T8" fmla="*/ 3 w 167"/>
              <a:gd name="T9" fmla="*/ 6 h 6"/>
              <a:gd name="T10" fmla="*/ 0 w 167"/>
              <a:gd name="T11" fmla="*/ 3 h 6"/>
              <a:gd name="T12" fmla="*/ 3 w 167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6">
                <a:moveTo>
                  <a:pt x="3" y="0"/>
                </a:moveTo>
                <a:cubicBezTo>
                  <a:pt x="164" y="0"/>
                  <a:pt x="164" y="0"/>
                  <a:pt x="164" y="0"/>
                </a:cubicBezTo>
                <a:cubicBezTo>
                  <a:pt x="166" y="0"/>
                  <a:pt x="167" y="2"/>
                  <a:pt x="167" y="3"/>
                </a:cubicBezTo>
                <a:cubicBezTo>
                  <a:pt x="167" y="5"/>
                  <a:pt x="166" y="6"/>
                  <a:pt x="164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" name="ïŝḷiďe">
            <a:extLst>
              <a:ext uri="{FF2B5EF4-FFF2-40B4-BE49-F238E27FC236}">
                <a16:creationId xmlns:a16="http://schemas.microsoft.com/office/drawing/2014/main" id="{F9B44B7C-6A04-45A4-9528-DDBB5464AD15}"/>
              </a:ext>
            </a:extLst>
          </p:cNvPr>
          <p:cNvSpPr/>
          <p:nvPr/>
        </p:nvSpPr>
        <p:spPr bwMode="auto">
          <a:xfrm>
            <a:off x="10431225" y="4254620"/>
            <a:ext cx="300038" cy="19050"/>
          </a:xfrm>
          <a:custGeom>
            <a:avLst/>
            <a:gdLst>
              <a:gd name="T0" fmla="*/ 3 w 91"/>
              <a:gd name="T1" fmla="*/ 0 h 6"/>
              <a:gd name="T2" fmla="*/ 88 w 91"/>
              <a:gd name="T3" fmla="*/ 0 h 6"/>
              <a:gd name="T4" fmla="*/ 91 w 91"/>
              <a:gd name="T5" fmla="*/ 3 h 6"/>
              <a:gd name="T6" fmla="*/ 88 w 91"/>
              <a:gd name="T7" fmla="*/ 6 h 6"/>
              <a:gd name="T8" fmla="*/ 3 w 91"/>
              <a:gd name="T9" fmla="*/ 6 h 6"/>
              <a:gd name="T10" fmla="*/ 0 w 91"/>
              <a:gd name="T11" fmla="*/ 3 h 6"/>
              <a:gd name="T12" fmla="*/ 3 w 91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6">
                <a:moveTo>
                  <a:pt x="3" y="0"/>
                </a:moveTo>
                <a:cubicBezTo>
                  <a:pt x="88" y="0"/>
                  <a:pt x="88" y="0"/>
                  <a:pt x="88" y="0"/>
                </a:cubicBezTo>
                <a:cubicBezTo>
                  <a:pt x="89" y="0"/>
                  <a:pt x="91" y="2"/>
                  <a:pt x="91" y="3"/>
                </a:cubicBezTo>
                <a:cubicBezTo>
                  <a:pt x="91" y="5"/>
                  <a:pt x="89" y="6"/>
                  <a:pt x="88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7" name="ïŝḻíde">
            <a:extLst>
              <a:ext uri="{FF2B5EF4-FFF2-40B4-BE49-F238E27FC236}">
                <a16:creationId xmlns:a16="http://schemas.microsoft.com/office/drawing/2014/main" id="{3D1059D3-DA1F-46FD-A2D1-CB5B79EC3E3E}"/>
              </a:ext>
            </a:extLst>
          </p:cNvPr>
          <p:cNvSpPr/>
          <p:nvPr/>
        </p:nvSpPr>
        <p:spPr bwMode="auto">
          <a:xfrm>
            <a:off x="11199575" y="4102220"/>
            <a:ext cx="161925" cy="20638"/>
          </a:xfrm>
          <a:custGeom>
            <a:avLst/>
            <a:gdLst>
              <a:gd name="T0" fmla="*/ 3 w 49"/>
              <a:gd name="T1" fmla="*/ 0 h 6"/>
              <a:gd name="T2" fmla="*/ 46 w 49"/>
              <a:gd name="T3" fmla="*/ 0 h 6"/>
              <a:gd name="T4" fmla="*/ 49 w 49"/>
              <a:gd name="T5" fmla="*/ 3 h 6"/>
              <a:gd name="T6" fmla="*/ 46 w 49"/>
              <a:gd name="T7" fmla="*/ 6 h 6"/>
              <a:gd name="T8" fmla="*/ 3 w 49"/>
              <a:gd name="T9" fmla="*/ 6 h 6"/>
              <a:gd name="T10" fmla="*/ 0 w 49"/>
              <a:gd name="T11" fmla="*/ 3 h 6"/>
              <a:gd name="T12" fmla="*/ 3 w 49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6">
                <a:moveTo>
                  <a:pt x="3" y="0"/>
                </a:moveTo>
                <a:cubicBezTo>
                  <a:pt x="46" y="0"/>
                  <a:pt x="46" y="0"/>
                  <a:pt x="46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5"/>
                  <a:pt x="47" y="6"/>
                  <a:pt x="46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8" name="ïṥļïḍê">
            <a:extLst>
              <a:ext uri="{FF2B5EF4-FFF2-40B4-BE49-F238E27FC236}">
                <a16:creationId xmlns:a16="http://schemas.microsoft.com/office/drawing/2014/main" id="{0E45A654-099B-467A-BD22-CEAAD373FE8A}"/>
              </a:ext>
            </a:extLst>
          </p:cNvPr>
          <p:cNvSpPr/>
          <p:nvPr/>
        </p:nvSpPr>
        <p:spPr bwMode="auto">
          <a:xfrm>
            <a:off x="10507425" y="4102220"/>
            <a:ext cx="652463" cy="20638"/>
          </a:xfrm>
          <a:custGeom>
            <a:avLst/>
            <a:gdLst>
              <a:gd name="T0" fmla="*/ 3 w 198"/>
              <a:gd name="T1" fmla="*/ 0 h 6"/>
              <a:gd name="T2" fmla="*/ 195 w 198"/>
              <a:gd name="T3" fmla="*/ 0 h 6"/>
              <a:gd name="T4" fmla="*/ 198 w 198"/>
              <a:gd name="T5" fmla="*/ 3 h 6"/>
              <a:gd name="T6" fmla="*/ 195 w 198"/>
              <a:gd name="T7" fmla="*/ 6 h 6"/>
              <a:gd name="T8" fmla="*/ 3 w 198"/>
              <a:gd name="T9" fmla="*/ 6 h 6"/>
              <a:gd name="T10" fmla="*/ 0 w 198"/>
              <a:gd name="T11" fmla="*/ 3 h 6"/>
              <a:gd name="T12" fmla="*/ 3 w 198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6">
                <a:moveTo>
                  <a:pt x="3" y="0"/>
                </a:move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8" y="1"/>
                  <a:pt x="198" y="3"/>
                </a:cubicBezTo>
                <a:cubicBezTo>
                  <a:pt x="198" y="5"/>
                  <a:pt x="197" y="6"/>
                  <a:pt x="195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9" name="iṩḻîḍê">
            <a:extLst>
              <a:ext uri="{FF2B5EF4-FFF2-40B4-BE49-F238E27FC236}">
                <a16:creationId xmlns:a16="http://schemas.microsoft.com/office/drawing/2014/main" id="{C04F96E1-F5C0-44E7-BB9A-B631A6D022AC}"/>
              </a:ext>
            </a:extLst>
          </p:cNvPr>
          <p:cNvSpPr/>
          <p:nvPr/>
        </p:nvSpPr>
        <p:spPr bwMode="auto">
          <a:xfrm>
            <a:off x="11321813" y="3976808"/>
            <a:ext cx="125413" cy="20638"/>
          </a:xfrm>
          <a:custGeom>
            <a:avLst/>
            <a:gdLst>
              <a:gd name="T0" fmla="*/ 3 w 38"/>
              <a:gd name="T1" fmla="*/ 0 h 6"/>
              <a:gd name="T2" fmla="*/ 34 w 38"/>
              <a:gd name="T3" fmla="*/ 0 h 6"/>
              <a:gd name="T4" fmla="*/ 38 w 38"/>
              <a:gd name="T5" fmla="*/ 3 h 6"/>
              <a:gd name="T6" fmla="*/ 34 w 38"/>
              <a:gd name="T7" fmla="*/ 6 h 6"/>
              <a:gd name="T8" fmla="*/ 3 w 38"/>
              <a:gd name="T9" fmla="*/ 6 h 6"/>
              <a:gd name="T10" fmla="*/ 0 w 38"/>
              <a:gd name="T11" fmla="*/ 3 h 6"/>
              <a:gd name="T12" fmla="*/ 3 w 38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6">
                <a:moveTo>
                  <a:pt x="3" y="0"/>
                </a:moveTo>
                <a:cubicBezTo>
                  <a:pt x="34" y="0"/>
                  <a:pt x="34" y="0"/>
                  <a:pt x="34" y="0"/>
                </a:cubicBezTo>
                <a:cubicBezTo>
                  <a:pt x="36" y="0"/>
                  <a:pt x="38" y="1"/>
                  <a:pt x="38" y="3"/>
                </a:cubicBezTo>
                <a:cubicBezTo>
                  <a:pt x="38" y="4"/>
                  <a:pt x="36" y="6"/>
                  <a:pt x="34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0" name="ïṥ1íḑé">
            <a:extLst>
              <a:ext uri="{FF2B5EF4-FFF2-40B4-BE49-F238E27FC236}">
                <a16:creationId xmlns:a16="http://schemas.microsoft.com/office/drawing/2014/main" id="{E0C860DD-DCFF-4F4B-97DF-08976D9D011F}"/>
              </a:ext>
            </a:extLst>
          </p:cNvPr>
          <p:cNvSpPr/>
          <p:nvPr/>
        </p:nvSpPr>
        <p:spPr bwMode="auto">
          <a:xfrm>
            <a:off x="10859850" y="3976808"/>
            <a:ext cx="428625" cy="20638"/>
          </a:xfrm>
          <a:custGeom>
            <a:avLst/>
            <a:gdLst>
              <a:gd name="T0" fmla="*/ 3 w 130"/>
              <a:gd name="T1" fmla="*/ 0 h 6"/>
              <a:gd name="T2" fmla="*/ 127 w 130"/>
              <a:gd name="T3" fmla="*/ 0 h 6"/>
              <a:gd name="T4" fmla="*/ 130 w 130"/>
              <a:gd name="T5" fmla="*/ 3 h 6"/>
              <a:gd name="T6" fmla="*/ 127 w 130"/>
              <a:gd name="T7" fmla="*/ 6 h 6"/>
              <a:gd name="T8" fmla="*/ 3 w 130"/>
              <a:gd name="T9" fmla="*/ 6 h 6"/>
              <a:gd name="T10" fmla="*/ 0 w 130"/>
              <a:gd name="T11" fmla="*/ 3 h 6"/>
              <a:gd name="T12" fmla="*/ 3 w 130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0" h="6">
                <a:moveTo>
                  <a:pt x="3" y="0"/>
                </a:moveTo>
                <a:cubicBezTo>
                  <a:pt x="127" y="0"/>
                  <a:pt x="127" y="0"/>
                  <a:pt x="127" y="0"/>
                </a:cubicBezTo>
                <a:cubicBezTo>
                  <a:pt x="129" y="0"/>
                  <a:pt x="130" y="1"/>
                  <a:pt x="130" y="3"/>
                </a:cubicBezTo>
                <a:cubicBezTo>
                  <a:pt x="130" y="4"/>
                  <a:pt x="129" y="6"/>
                  <a:pt x="127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1" name="ïṧliďe">
            <a:extLst>
              <a:ext uri="{FF2B5EF4-FFF2-40B4-BE49-F238E27FC236}">
                <a16:creationId xmlns:a16="http://schemas.microsoft.com/office/drawing/2014/main" id="{93411D75-9BAD-4641-AD78-4BE8B6F6B8C1}"/>
              </a:ext>
            </a:extLst>
          </p:cNvPr>
          <p:cNvSpPr/>
          <p:nvPr/>
        </p:nvSpPr>
        <p:spPr bwMode="auto">
          <a:xfrm>
            <a:off x="10440750" y="3976808"/>
            <a:ext cx="363538" cy="20638"/>
          </a:xfrm>
          <a:custGeom>
            <a:avLst/>
            <a:gdLst>
              <a:gd name="T0" fmla="*/ 3 w 110"/>
              <a:gd name="T1" fmla="*/ 0 h 6"/>
              <a:gd name="T2" fmla="*/ 107 w 110"/>
              <a:gd name="T3" fmla="*/ 0 h 6"/>
              <a:gd name="T4" fmla="*/ 110 w 110"/>
              <a:gd name="T5" fmla="*/ 3 h 6"/>
              <a:gd name="T6" fmla="*/ 107 w 110"/>
              <a:gd name="T7" fmla="*/ 6 h 6"/>
              <a:gd name="T8" fmla="*/ 3 w 110"/>
              <a:gd name="T9" fmla="*/ 6 h 6"/>
              <a:gd name="T10" fmla="*/ 0 w 110"/>
              <a:gd name="T11" fmla="*/ 3 h 6"/>
              <a:gd name="T12" fmla="*/ 3 w 110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0" h="6">
                <a:moveTo>
                  <a:pt x="3" y="0"/>
                </a:moveTo>
                <a:cubicBezTo>
                  <a:pt x="107" y="0"/>
                  <a:pt x="107" y="0"/>
                  <a:pt x="107" y="0"/>
                </a:cubicBezTo>
                <a:cubicBezTo>
                  <a:pt x="109" y="0"/>
                  <a:pt x="110" y="1"/>
                  <a:pt x="110" y="3"/>
                </a:cubicBezTo>
                <a:cubicBezTo>
                  <a:pt x="110" y="4"/>
                  <a:pt x="109" y="6"/>
                  <a:pt x="107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2" name="iśḷíḋe">
            <a:extLst>
              <a:ext uri="{FF2B5EF4-FFF2-40B4-BE49-F238E27FC236}">
                <a16:creationId xmlns:a16="http://schemas.microsoft.com/office/drawing/2014/main" id="{5A51B3BC-CB59-4DED-9F75-5266183009B9}"/>
              </a:ext>
            </a:extLst>
          </p:cNvPr>
          <p:cNvSpPr/>
          <p:nvPr/>
        </p:nvSpPr>
        <p:spPr bwMode="auto">
          <a:xfrm>
            <a:off x="10632838" y="3832345"/>
            <a:ext cx="814388" cy="22225"/>
          </a:xfrm>
          <a:custGeom>
            <a:avLst/>
            <a:gdLst>
              <a:gd name="T0" fmla="*/ 3 w 247"/>
              <a:gd name="T1" fmla="*/ 0 h 7"/>
              <a:gd name="T2" fmla="*/ 243 w 247"/>
              <a:gd name="T3" fmla="*/ 0 h 7"/>
              <a:gd name="T4" fmla="*/ 247 w 247"/>
              <a:gd name="T5" fmla="*/ 3 h 7"/>
              <a:gd name="T6" fmla="*/ 243 w 247"/>
              <a:gd name="T7" fmla="*/ 7 h 7"/>
              <a:gd name="T8" fmla="*/ 3 w 247"/>
              <a:gd name="T9" fmla="*/ 7 h 7"/>
              <a:gd name="T10" fmla="*/ 0 w 247"/>
              <a:gd name="T11" fmla="*/ 3 h 7"/>
              <a:gd name="T12" fmla="*/ 3 w 247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7" h="7">
                <a:moveTo>
                  <a:pt x="3" y="0"/>
                </a:moveTo>
                <a:cubicBezTo>
                  <a:pt x="243" y="0"/>
                  <a:pt x="243" y="0"/>
                  <a:pt x="243" y="0"/>
                </a:cubicBezTo>
                <a:cubicBezTo>
                  <a:pt x="245" y="0"/>
                  <a:pt x="247" y="2"/>
                  <a:pt x="247" y="3"/>
                </a:cubicBezTo>
                <a:cubicBezTo>
                  <a:pt x="247" y="5"/>
                  <a:pt x="245" y="7"/>
                  <a:pt x="243" y="7"/>
                </a:cubicBez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3" name="íşľiḑê">
            <a:extLst>
              <a:ext uri="{FF2B5EF4-FFF2-40B4-BE49-F238E27FC236}">
                <a16:creationId xmlns:a16="http://schemas.microsoft.com/office/drawing/2014/main" id="{17E39B63-4C67-4C79-B644-49C238D75034}"/>
              </a:ext>
            </a:extLst>
          </p:cNvPr>
          <p:cNvSpPr/>
          <p:nvPr/>
        </p:nvSpPr>
        <p:spPr bwMode="auto">
          <a:xfrm>
            <a:off x="10440750" y="3832345"/>
            <a:ext cx="149225" cy="22225"/>
          </a:xfrm>
          <a:custGeom>
            <a:avLst/>
            <a:gdLst>
              <a:gd name="T0" fmla="*/ 3 w 45"/>
              <a:gd name="T1" fmla="*/ 0 h 7"/>
              <a:gd name="T2" fmla="*/ 42 w 45"/>
              <a:gd name="T3" fmla="*/ 0 h 7"/>
              <a:gd name="T4" fmla="*/ 45 w 45"/>
              <a:gd name="T5" fmla="*/ 3 h 7"/>
              <a:gd name="T6" fmla="*/ 42 w 45"/>
              <a:gd name="T7" fmla="*/ 7 h 7"/>
              <a:gd name="T8" fmla="*/ 3 w 45"/>
              <a:gd name="T9" fmla="*/ 7 h 7"/>
              <a:gd name="T10" fmla="*/ 0 w 45"/>
              <a:gd name="T11" fmla="*/ 3 h 7"/>
              <a:gd name="T12" fmla="*/ 3 w 45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" h="7">
                <a:moveTo>
                  <a:pt x="3" y="0"/>
                </a:moveTo>
                <a:cubicBezTo>
                  <a:pt x="42" y="0"/>
                  <a:pt x="42" y="0"/>
                  <a:pt x="42" y="0"/>
                </a:cubicBezTo>
                <a:cubicBezTo>
                  <a:pt x="44" y="0"/>
                  <a:pt x="45" y="2"/>
                  <a:pt x="45" y="3"/>
                </a:cubicBezTo>
                <a:cubicBezTo>
                  <a:pt x="45" y="5"/>
                  <a:pt x="44" y="7"/>
                  <a:pt x="42" y="7"/>
                </a:cubicBez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4" name="iṡ1íḍe">
            <a:extLst>
              <a:ext uri="{FF2B5EF4-FFF2-40B4-BE49-F238E27FC236}">
                <a16:creationId xmlns:a16="http://schemas.microsoft.com/office/drawing/2014/main" id="{79CAF329-CE54-456D-90A5-37ED2B84DA46}"/>
              </a:ext>
            </a:extLst>
          </p:cNvPr>
          <p:cNvSpPr/>
          <p:nvPr/>
        </p:nvSpPr>
        <p:spPr bwMode="auto">
          <a:xfrm>
            <a:off x="11183700" y="2989383"/>
            <a:ext cx="260350" cy="20638"/>
          </a:xfrm>
          <a:custGeom>
            <a:avLst/>
            <a:gdLst>
              <a:gd name="T0" fmla="*/ 3 w 79"/>
              <a:gd name="T1" fmla="*/ 0 h 6"/>
              <a:gd name="T2" fmla="*/ 76 w 79"/>
              <a:gd name="T3" fmla="*/ 0 h 6"/>
              <a:gd name="T4" fmla="*/ 79 w 79"/>
              <a:gd name="T5" fmla="*/ 3 h 6"/>
              <a:gd name="T6" fmla="*/ 76 w 79"/>
              <a:gd name="T7" fmla="*/ 6 h 6"/>
              <a:gd name="T8" fmla="*/ 3 w 79"/>
              <a:gd name="T9" fmla="*/ 6 h 6"/>
              <a:gd name="T10" fmla="*/ 0 w 79"/>
              <a:gd name="T11" fmla="*/ 3 h 6"/>
              <a:gd name="T12" fmla="*/ 3 w 79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6">
                <a:moveTo>
                  <a:pt x="3" y="0"/>
                </a:moveTo>
                <a:cubicBezTo>
                  <a:pt x="76" y="0"/>
                  <a:pt x="76" y="0"/>
                  <a:pt x="76" y="0"/>
                </a:cubicBezTo>
                <a:cubicBezTo>
                  <a:pt x="78" y="0"/>
                  <a:pt x="79" y="1"/>
                  <a:pt x="79" y="3"/>
                </a:cubicBezTo>
                <a:cubicBezTo>
                  <a:pt x="79" y="4"/>
                  <a:pt x="78" y="6"/>
                  <a:pt x="76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5" name="íṡlïḋè">
            <a:extLst>
              <a:ext uri="{FF2B5EF4-FFF2-40B4-BE49-F238E27FC236}">
                <a16:creationId xmlns:a16="http://schemas.microsoft.com/office/drawing/2014/main" id="{9303A9FD-67C0-4D63-BFE2-C8C97F0498B8}"/>
              </a:ext>
            </a:extLst>
          </p:cNvPr>
          <p:cNvSpPr/>
          <p:nvPr/>
        </p:nvSpPr>
        <p:spPr bwMode="auto">
          <a:xfrm>
            <a:off x="10661413" y="2989383"/>
            <a:ext cx="476250" cy="20638"/>
          </a:xfrm>
          <a:custGeom>
            <a:avLst/>
            <a:gdLst>
              <a:gd name="T0" fmla="*/ 3 w 144"/>
              <a:gd name="T1" fmla="*/ 0 h 6"/>
              <a:gd name="T2" fmla="*/ 141 w 144"/>
              <a:gd name="T3" fmla="*/ 0 h 6"/>
              <a:gd name="T4" fmla="*/ 144 w 144"/>
              <a:gd name="T5" fmla="*/ 3 h 6"/>
              <a:gd name="T6" fmla="*/ 141 w 144"/>
              <a:gd name="T7" fmla="*/ 6 h 6"/>
              <a:gd name="T8" fmla="*/ 3 w 144"/>
              <a:gd name="T9" fmla="*/ 6 h 6"/>
              <a:gd name="T10" fmla="*/ 0 w 144"/>
              <a:gd name="T11" fmla="*/ 3 h 6"/>
              <a:gd name="T12" fmla="*/ 3 w 144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4" h="6">
                <a:moveTo>
                  <a:pt x="3" y="0"/>
                </a:moveTo>
                <a:cubicBezTo>
                  <a:pt x="141" y="0"/>
                  <a:pt x="141" y="0"/>
                  <a:pt x="141" y="0"/>
                </a:cubicBezTo>
                <a:cubicBezTo>
                  <a:pt x="142" y="0"/>
                  <a:pt x="144" y="1"/>
                  <a:pt x="144" y="3"/>
                </a:cubicBezTo>
                <a:cubicBezTo>
                  <a:pt x="144" y="4"/>
                  <a:pt x="142" y="6"/>
                  <a:pt x="141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6" name="iṥlíḍe">
            <a:extLst>
              <a:ext uri="{FF2B5EF4-FFF2-40B4-BE49-F238E27FC236}">
                <a16:creationId xmlns:a16="http://schemas.microsoft.com/office/drawing/2014/main" id="{0C8BA61A-D2C6-4B05-AC98-0CE755FB8F2E}"/>
              </a:ext>
            </a:extLst>
          </p:cNvPr>
          <p:cNvSpPr/>
          <p:nvPr/>
        </p:nvSpPr>
        <p:spPr bwMode="auto">
          <a:xfrm>
            <a:off x="10520125" y="2989383"/>
            <a:ext cx="109538" cy="20638"/>
          </a:xfrm>
          <a:custGeom>
            <a:avLst/>
            <a:gdLst>
              <a:gd name="T0" fmla="*/ 3 w 33"/>
              <a:gd name="T1" fmla="*/ 0 h 6"/>
              <a:gd name="T2" fmla="*/ 30 w 33"/>
              <a:gd name="T3" fmla="*/ 0 h 6"/>
              <a:gd name="T4" fmla="*/ 33 w 33"/>
              <a:gd name="T5" fmla="*/ 3 h 6"/>
              <a:gd name="T6" fmla="*/ 30 w 33"/>
              <a:gd name="T7" fmla="*/ 6 h 6"/>
              <a:gd name="T8" fmla="*/ 3 w 33"/>
              <a:gd name="T9" fmla="*/ 6 h 6"/>
              <a:gd name="T10" fmla="*/ 0 w 33"/>
              <a:gd name="T11" fmla="*/ 3 h 6"/>
              <a:gd name="T12" fmla="*/ 3 w 3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" h="6">
                <a:moveTo>
                  <a:pt x="3" y="0"/>
                </a:move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3" y="1"/>
                  <a:pt x="33" y="3"/>
                </a:cubicBezTo>
                <a:cubicBezTo>
                  <a:pt x="33" y="4"/>
                  <a:pt x="31" y="6"/>
                  <a:pt x="30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7" name="ïşļíḓe">
            <a:extLst>
              <a:ext uri="{FF2B5EF4-FFF2-40B4-BE49-F238E27FC236}">
                <a16:creationId xmlns:a16="http://schemas.microsoft.com/office/drawing/2014/main" id="{DF32D3E7-2BD8-4DC1-92A8-ED11BB0CACCB}"/>
              </a:ext>
            </a:extLst>
          </p:cNvPr>
          <p:cNvSpPr/>
          <p:nvPr/>
        </p:nvSpPr>
        <p:spPr bwMode="auto">
          <a:xfrm>
            <a:off x="11371025" y="2854445"/>
            <a:ext cx="73025" cy="19050"/>
          </a:xfrm>
          <a:custGeom>
            <a:avLst/>
            <a:gdLst>
              <a:gd name="T0" fmla="*/ 3 w 22"/>
              <a:gd name="T1" fmla="*/ 0 h 6"/>
              <a:gd name="T2" fmla="*/ 19 w 22"/>
              <a:gd name="T3" fmla="*/ 0 h 6"/>
              <a:gd name="T4" fmla="*/ 22 w 22"/>
              <a:gd name="T5" fmla="*/ 3 h 6"/>
              <a:gd name="T6" fmla="*/ 19 w 22"/>
              <a:gd name="T7" fmla="*/ 6 h 6"/>
              <a:gd name="T8" fmla="*/ 3 w 22"/>
              <a:gd name="T9" fmla="*/ 6 h 6"/>
              <a:gd name="T10" fmla="*/ 0 w 22"/>
              <a:gd name="T11" fmla="*/ 3 h 6"/>
              <a:gd name="T12" fmla="*/ 3 w 22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6">
                <a:moveTo>
                  <a:pt x="3" y="0"/>
                </a:move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2" y="1"/>
                  <a:pt x="22" y="3"/>
                </a:cubicBezTo>
                <a:cubicBezTo>
                  <a:pt x="22" y="5"/>
                  <a:pt x="21" y="6"/>
                  <a:pt x="19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8" name="iṣ1îdé">
            <a:extLst>
              <a:ext uri="{FF2B5EF4-FFF2-40B4-BE49-F238E27FC236}">
                <a16:creationId xmlns:a16="http://schemas.microsoft.com/office/drawing/2014/main" id="{EB34CB84-80AA-4F50-BC08-54FBBC39C391}"/>
              </a:ext>
            </a:extLst>
          </p:cNvPr>
          <p:cNvSpPr/>
          <p:nvPr/>
        </p:nvSpPr>
        <p:spPr bwMode="auto">
          <a:xfrm>
            <a:off x="10770950" y="2854445"/>
            <a:ext cx="554038" cy="19050"/>
          </a:xfrm>
          <a:custGeom>
            <a:avLst/>
            <a:gdLst>
              <a:gd name="T0" fmla="*/ 3 w 168"/>
              <a:gd name="T1" fmla="*/ 0 h 6"/>
              <a:gd name="T2" fmla="*/ 164 w 168"/>
              <a:gd name="T3" fmla="*/ 0 h 6"/>
              <a:gd name="T4" fmla="*/ 168 w 168"/>
              <a:gd name="T5" fmla="*/ 3 h 6"/>
              <a:gd name="T6" fmla="*/ 164 w 168"/>
              <a:gd name="T7" fmla="*/ 6 h 6"/>
              <a:gd name="T8" fmla="*/ 3 w 168"/>
              <a:gd name="T9" fmla="*/ 6 h 6"/>
              <a:gd name="T10" fmla="*/ 0 w 168"/>
              <a:gd name="T11" fmla="*/ 3 h 6"/>
              <a:gd name="T12" fmla="*/ 3 w 168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8" h="6">
                <a:moveTo>
                  <a:pt x="3" y="0"/>
                </a:moveTo>
                <a:cubicBezTo>
                  <a:pt x="164" y="0"/>
                  <a:pt x="164" y="0"/>
                  <a:pt x="164" y="0"/>
                </a:cubicBezTo>
                <a:cubicBezTo>
                  <a:pt x="166" y="0"/>
                  <a:pt x="168" y="1"/>
                  <a:pt x="168" y="3"/>
                </a:cubicBezTo>
                <a:cubicBezTo>
                  <a:pt x="168" y="5"/>
                  <a:pt x="166" y="6"/>
                  <a:pt x="164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9" name="îṧ1iḋe">
            <a:extLst>
              <a:ext uri="{FF2B5EF4-FFF2-40B4-BE49-F238E27FC236}">
                <a16:creationId xmlns:a16="http://schemas.microsoft.com/office/drawing/2014/main" id="{662F2D1C-C5B5-4FED-874A-0E0C6C25846C}"/>
              </a:ext>
            </a:extLst>
          </p:cNvPr>
          <p:cNvSpPr/>
          <p:nvPr/>
        </p:nvSpPr>
        <p:spPr bwMode="auto">
          <a:xfrm>
            <a:off x="10428050" y="2854445"/>
            <a:ext cx="300038" cy="19050"/>
          </a:xfrm>
          <a:custGeom>
            <a:avLst/>
            <a:gdLst>
              <a:gd name="T0" fmla="*/ 3 w 91"/>
              <a:gd name="T1" fmla="*/ 0 h 6"/>
              <a:gd name="T2" fmla="*/ 88 w 91"/>
              <a:gd name="T3" fmla="*/ 0 h 6"/>
              <a:gd name="T4" fmla="*/ 91 w 91"/>
              <a:gd name="T5" fmla="*/ 3 h 6"/>
              <a:gd name="T6" fmla="*/ 88 w 91"/>
              <a:gd name="T7" fmla="*/ 6 h 6"/>
              <a:gd name="T8" fmla="*/ 3 w 91"/>
              <a:gd name="T9" fmla="*/ 6 h 6"/>
              <a:gd name="T10" fmla="*/ 0 w 91"/>
              <a:gd name="T11" fmla="*/ 3 h 6"/>
              <a:gd name="T12" fmla="*/ 3 w 91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6">
                <a:moveTo>
                  <a:pt x="3" y="0"/>
                </a:moveTo>
                <a:cubicBezTo>
                  <a:pt x="88" y="0"/>
                  <a:pt x="88" y="0"/>
                  <a:pt x="88" y="0"/>
                </a:cubicBezTo>
                <a:cubicBezTo>
                  <a:pt x="90" y="0"/>
                  <a:pt x="91" y="1"/>
                  <a:pt x="91" y="3"/>
                </a:cubicBezTo>
                <a:cubicBezTo>
                  <a:pt x="91" y="5"/>
                  <a:pt x="90" y="6"/>
                  <a:pt x="88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0" name="íṥľiḑé">
            <a:extLst>
              <a:ext uri="{FF2B5EF4-FFF2-40B4-BE49-F238E27FC236}">
                <a16:creationId xmlns:a16="http://schemas.microsoft.com/office/drawing/2014/main" id="{C86556A5-F496-4B34-B453-0C7970C9AEB2}"/>
              </a:ext>
            </a:extLst>
          </p:cNvPr>
          <p:cNvSpPr/>
          <p:nvPr/>
        </p:nvSpPr>
        <p:spPr bwMode="auto">
          <a:xfrm>
            <a:off x="11199575" y="2698870"/>
            <a:ext cx="158750" cy="23813"/>
          </a:xfrm>
          <a:custGeom>
            <a:avLst/>
            <a:gdLst>
              <a:gd name="T0" fmla="*/ 3 w 48"/>
              <a:gd name="T1" fmla="*/ 0 h 7"/>
              <a:gd name="T2" fmla="*/ 45 w 48"/>
              <a:gd name="T3" fmla="*/ 0 h 7"/>
              <a:gd name="T4" fmla="*/ 48 w 48"/>
              <a:gd name="T5" fmla="*/ 4 h 7"/>
              <a:gd name="T6" fmla="*/ 45 w 48"/>
              <a:gd name="T7" fmla="*/ 7 h 7"/>
              <a:gd name="T8" fmla="*/ 3 w 48"/>
              <a:gd name="T9" fmla="*/ 7 h 7"/>
              <a:gd name="T10" fmla="*/ 0 w 48"/>
              <a:gd name="T11" fmla="*/ 4 h 7"/>
              <a:gd name="T12" fmla="*/ 3 w 48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" h="7">
                <a:moveTo>
                  <a:pt x="3" y="0"/>
                </a:move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8" y="2"/>
                  <a:pt x="48" y="4"/>
                </a:cubicBezTo>
                <a:cubicBezTo>
                  <a:pt x="48" y="5"/>
                  <a:pt x="47" y="7"/>
                  <a:pt x="45" y="7"/>
                </a:cubicBez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1" name="ï$1íḍê">
            <a:extLst>
              <a:ext uri="{FF2B5EF4-FFF2-40B4-BE49-F238E27FC236}">
                <a16:creationId xmlns:a16="http://schemas.microsoft.com/office/drawing/2014/main" id="{A4F155CC-11F8-4087-9E4C-F074C76AB306}"/>
              </a:ext>
            </a:extLst>
          </p:cNvPr>
          <p:cNvSpPr/>
          <p:nvPr/>
        </p:nvSpPr>
        <p:spPr bwMode="auto">
          <a:xfrm>
            <a:off x="10504250" y="2698870"/>
            <a:ext cx="655638" cy="23813"/>
          </a:xfrm>
          <a:custGeom>
            <a:avLst/>
            <a:gdLst>
              <a:gd name="T0" fmla="*/ 3 w 199"/>
              <a:gd name="T1" fmla="*/ 0 h 7"/>
              <a:gd name="T2" fmla="*/ 195 w 199"/>
              <a:gd name="T3" fmla="*/ 0 h 7"/>
              <a:gd name="T4" fmla="*/ 199 w 199"/>
              <a:gd name="T5" fmla="*/ 4 h 7"/>
              <a:gd name="T6" fmla="*/ 195 w 199"/>
              <a:gd name="T7" fmla="*/ 7 h 7"/>
              <a:gd name="T8" fmla="*/ 3 w 199"/>
              <a:gd name="T9" fmla="*/ 7 h 7"/>
              <a:gd name="T10" fmla="*/ 0 w 199"/>
              <a:gd name="T11" fmla="*/ 4 h 7"/>
              <a:gd name="T12" fmla="*/ 3 w 199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9" h="7">
                <a:moveTo>
                  <a:pt x="3" y="0"/>
                </a:move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9" y="2"/>
                  <a:pt x="199" y="4"/>
                </a:cubicBezTo>
                <a:cubicBezTo>
                  <a:pt x="199" y="5"/>
                  <a:pt x="197" y="7"/>
                  <a:pt x="195" y="7"/>
                </a:cubicBezTo>
                <a:cubicBezTo>
                  <a:pt x="3" y="7"/>
                  <a:pt x="3" y="7"/>
                  <a:pt x="3" y="7"/>
                </a:cubicBezTo>
                <a:cubicBezTo>
                  <a:pt x="1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2" name="ï$ľidé">
            <a:extLst>
              <a:ext uri="{FF2B5EF4-FFF2-40B4-BE49-F238E27FC236}">
                <a16:creationId xmlns:a16="http://schemas.microsoft.com/office/drawing/2014/main" id="{9D1148F9-8BD2-42C6-8071-457F59FA3A7C}"/>
              </a:ext>
            </a:extLst>
          </p:cNvPr>
          <p:cNvSpPr/>
          <p:nvPr/>
        </p:nvSpPr>
        <p:spPr bwMode="auto">
          <a:xfrm>
            <a:off x="11245613" y="3686295"/>
            <a:ext cx="201613" cy="20638"/>
          </a:xfrm>
          <a:custGeom>
            <a:avLst/>
            <a:gdLst>
              <a:gd name="T0" fmla="*/ 3 w 61"/>
              <a:gd name="T1" fmla="*/ 0 h 6"/>
              <a:gd name="T2" fmla="*/ 57 w 61"/>
              <a:gd name="T3" fmla="*/ 0 h 6"/>
              <a:gd name="T4" fmla="*/ 61 w 61"/>
              <a:gd name="T5" fmla="*/ 3 h 6"/>
              <a:gd name="T6" fmla="*/ 57 w 61"/>
              <a:gd name="T7" fmla="*/ 6 h 6"/>
              <a:gd name="T8" fmla="*/ 3 w 61"/>
              <a:gd name="T9" fmla="*/ 6 h 6"/>
              <a:gd name="T10" fmla="*/ 0 w 61"/>
              <a:gd name="T11" fmla="*/ 3 h 6"/>
              <a:gd name="T12" fmla="*/ 3 w 61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" h="6">
                <a:moveTo>
                  <a:pt x="3" y="0"/>
                </a:moveTo>
                <a:cubicBezTo>
                  <a:pt x="57" y="0"/>
                  <a:pt x="57" y="0"/>
                  <a:pt x="57" y="0"/>
                </a:cubicBezTo>
                <a:cubicBezTo>
                  <a:pt x="59" y="0"/>
                  <a:pt x="61" y="1"/>
                  <a:pt x="61" y="3"/>
                </a:cubicBezTo>
                <a:cubicBezTo>
                  <a:pt x="61" y="4"/>
                  <a:pt x="59" y="6"/>
                  <a:pt x="57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3" name="íṣļiḋê">
            <a:extLst>
              <a:ext uri="{FF2B5EF4-FFF2-40B4-BE49-F238E27FC236}">
                <a16:creationId xmlns:a16="http://schemas.microsoft.com/office/drawing/2014/main" id="{F32ECA48-E523-406C-9C8F-1BD1C8947104}"/>
              </a:ext>
            </a:extLst>
          </p:cNvPr>
          <p:cNvSpPr/>
          <p:nvPr/>
        </p:nvSpPr>
        <p:spPr bwMode="auto">
          <a:xfrm>
            <a:off x="10440750" y="3686295"/>
            <a:ext cx="765175" cy="20638"/>
          </a:xfrm>
          <a:custGeom>
            <a:avLst/>
            <a:gdLst>
              <a:gd name="T0" fmla="*/ 3 w 232"/>
              <a:gd name="T1" fmla="*/ 0 h 6"/>
              <a:gd name="T2" fmla="*/ 228 w 232"/>
              <a:gd name="T3" fmla="*/ 0 h 6"/>
              <a:gd name="T4" fmla="*/ 232 w 232"/>
              <a:gd name="T5" fmla="*/ 3 h 6"/>
              <a:gd name="T6" fmla="*/ 228 w 232"/>
              <a:gd name="T7" fmla="*/ 6 h 6"/>
              <a:gd name="T8" fmla="*/ 3 w 232"/>
              <a:gd name="T9" fmla="*/ 6 h 6"/>
              <a:gd name="T10" fmla="*/ 0 w 232"/>
              <a:gd name="T11" fmla="*/ 3 h 6"/>
              <a:gd name="T12" fmla="*/ 3 w 232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2" h="6">
                <a:moveTo>
                  <a:pt x="3" y="0"/>
                </a:moveTo>
                <a:cubicBezTo>
                  <a:pt x="228" y="0"/>
                  <a:pt x="228" y="0"/>
                  <a:pt x="228" y="0"/>
                </a:cubicBezTo>
                <a:cubicBezTo>
                  <a:pt x="230" y="0"/>
                  <a:pt x="232" y="1"/>
                  <a:pt x="232" y="3"/>
                </a:cubicBezTo>
                <a:cubicBezTo>
                  <a:pt x="232" y="4"/>
                  <a:pt x="230" y="6"/>
                  <a:pt x="228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4"/>
                  <a:pt x="0" y="3"/>
                </a:cubicBezTo>
                <a:cubicBezTo>
                  <a:pt x="0" y="1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4" name="iṣlîḍè">
            <a:extLst>
              <a:ext uri="{FF2B5EF4-FFF2-40B4-BE49-F238E27FC236}">
                <a16:creationId xmlns:a16="http://schemas.microsoft.com/office/drawing/2014/main" id="{1BA070F7-983C-41F0-89A1-B9F7C6A26AFE}"/>
              </a:ext>
            </a:extLst>
          </p:cNvPr>
          <p:cNvSpPr/>
          <p:nvPr/>
        </p:nvSpPr>
        <p:spPr bwMode="auto">
          <a:xfrm>
            <a:off x="10875725" y="3545008"/>
            <a:ext cx="571500" cy="19050"/>
          </a:xfrm>
          <a:custGeom>
            <a:avLst/>
            <a:gdLst>
              <a:gd name="T0" fmla="*/ 3 w 173"/>
              <a:gd name="T1" fmla="*/ 0 h 6"/>
              <a:gd name="T2" fmla="*/ 169 w 173"/>
              <a:gd name="T3" fmla="*/ 0 h 6"/>
              <a:gd name="T4" fmla="*/ 173 w 173"/>
              <a:gd name="T5" fmla="*/ 3 h 6"/>
              <a:gd name="T6" fmla="*/ 169 w 173"/>
              <a:gd name="T7" fmla="*/ 6 h 6"/>
              <a:gd name="T8" fmla="*/ 3 w 173"/>
              <a:gd name="T9" fmla="*/ 6 h 6"/>
              <a:gd name="T10" fmla="*/ 0 w 173"/>
              <a:gd name="T11" fmla="*/ 3 h 6"/>
              <a:gd name="T12" fmla="*/ 3 w 17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3" h="6">
                <a:moveTo>
                  <a:pt x="3" y="0"/>
                </a:moveTo>
                <a:cubicBezTo>
                  <a:pt x="169" y="0"/>
                  <a:pt x="169" y="0"/>
                  <a:pt x="169" y="0"/>
                </a:cubicBezTo>
                <a:cubicBezTo>
                  <a:pt x="171" y="0"/>
                  <a:pt x="173" y="2"/>
                  <a:pt x="173" y="3"/>
                </a:cubicBezTo>
                <a:cubicBezTo>
                  <a:pt x="173" y="5"/>
                  <a:pt x="171" y="6"/>
                  <a:pt x="169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5" name="íšlïḓê">
            <a:extLst>
              <a:ext uri="{FF2B5EF4-FFF2-40B4-BE49-F238E27FC236}">
                <a16:creationId xmlns:a16="http://schemas.microsoft.com/office/drawing/2014/main" id="{31CCFF61-DC5F-4C37-B1DD-29F0D538E29C}"/>
              </a:ext>
            </a:extLst>
          </p:cNvPr>
          <p:cNvSpPr/>
          <p:nvPr/>
        </p:nvSpPr>
        <p:spPr bwMode="auto">
          <a:xfrm>
            <a:off x="10707450" y="3545008"/>
            <a:ext cx="112713" cy="19050"/>
          </a:xfrm>
          <a:custGeom>
            <a:avLst/>
            <a:gdLst>
              <a:gd name="T0" fmla="*/ 4 w 34"/>
              <a:gd name="T1" fmla="*/ 0 h 6"/>
              <a:gd name="T2" fmla="*/ 31 w 34"/>
              <a:gd name="T3" fmla="*/ 0 h 6"/>
              <a:gd name="T4" fmla="*/ 34 w 34"/>
              <a:gd name="T5" fmla="*/ 3 h 6"/>
              <a:gd name="T6" fmla="*/ 31 w 34"/>
              <a:gd name="T7" fmla="*/ 6 h 6"/>
              <a:gd name="T8" fmla="*/ 4 w 34"/>
              <a:gd name="T9" fmla="*/ 6 h 6"/>
              <a:gd name="T10" fmla="*/ 0 w 34"/>
              <a:gd name="T11" fmla="*/ 3 h 6"/>
              <a:gd name="T12" fmla="*/ 4 w 34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" h="6">
                <a:moveTo>
                  <a:pt x="4" y="0"/>
                </a:move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4" y="2"/>
                  <a:pt x="34" y="3"/>
                </a:cubicBezTo>
                <a:cubicBezTo>
                  <a:pt x="34" y="5"/>
                  <a:pt x="32" y="6"/>
                  <a:pt x="31" y="6"/>
                </a:cubicBezTo>
                <a:cubicBezTo>
                  <a:pt x="4" y="6"/>
                  <a:pt x="4" y="6"/>
                  <a:pt x="4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4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6" name="ïšľiḑé">
            <a:extLst>
              <a:ext uri="{FF2B5EF4-FFF2-40B4-BE49-F238E27FC236}">
                <a16:creationId xmlns:a16="http://schemas.microsoft.com/office/drawing/2014/main" id="{15BC630B-C075-4E95-AC6B-2B01A1B6634D}"/>
              </a:ext>
            </a:extLst>
          </p:cNvPr>
          <p:cNvSpPr/>
          <p:nvPr/>
        </p:nvSpPr>
        <p:spPr bwMode="auto">
          <a:xfrm>
            <a:off x="11371025" y="3416420"/>
            <a:ext cx="76200" cy="19050"/>
          </a:xfrm>
          <a:custGeom>
            <a:avLst/>
            <a:gdLst>
              <a:gd name="T0" fmla="*/ 3 w 23"/>
              <a:gd name="T1" fmla="*/ 0 h 6"/>
              <a:gd name="T2" fmla="*/ 19 w 23"/>
              <a:gd name="T3" fmla="*/ 0 h 6"/>
              <a:gd name="T4" fmla="*/ 23 w 23"/>
              <a:gd name="T5" fmla="*/ 3 h 6"/>
              <a:gd name="T6" fmla="*/ 19 w 23"/>
              <a:gd name="T7" fmla="*/ 6 h 6"/>
              <a:gd name="T8" fmla="*/ 3 w 23"/>
              <a:gd name="T9" fmla="*/ 6 h 6"/>
              <a:gd name="T10" fmla="*/ 0 w 23"/>
              <a:gd name="T11" fmla="*/ 3 h 6"/>
              <a:gd name="T12" fmla="*/ 3 w 2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6">
                <a:moveTo>
                  <a:pt x="3" y="0"/>
                </a:move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3" y="2"/>
                  <a:pt x="23" y="3"/>
                </a:cubicBezTo>
                <a:cubicBezTo>
                  <a:pt x="23" y="5"/>
                  <a:pt x="21" y="6"/>
                  <a:pt x="19" y="6"/>
                </a:cubicBezTo>
                <a:cubicBezTo>
                  <a:pt x="3" y="6"/>
                  <a:pt x="3" y="6"/>
                  <a:pt x="3" y="6"/>
                </a:cubicBezTo>
                <a:cubicBezTo>
                  <a:pt x="2" y="6"/>
                  <a:pt x="0" y="5"/>
                  <a:pt x="0" y="3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7" name="iṣlíḓê">
            <a:extLst>
              <a:ext uri="{FF2B5EF4-FFF2-40B4-BE49-F238E27FC236}">
                <a16:creationId xmlns:a16="http://schemas.microsoft.com/office/drawing/2014/main" id="{510FC204-6B92-4DE6-940B-3267CE1E187D}"/>
              </a:ext>
            </a:extLst>
          </p:cNvPr>
          <p:cNvSpPr/>
          <p:nvPr/>
        </p:nvSpPr>
        <p:spPr bwMode="auto">
          <a:xfrm>
            <a:off x="10774125" y="3416420"/>
            <a:ext cx="550863" cy="19050"/>
          </a:xfrm>
          <a:custGeom>
            <a:avLst/>
            <a:gdLst>
              <a:gd name="T0" fmla="*/ 3 w 167"/>
              <a:gd name="T1" fmla="*/ 0 h 6"/>
              <a:gd name="T2" fmla="*/ 164 w 167"/>
              <a:gd name="T3" fmla="*/ 0 h 6"/>
              <a:gd name="T4" fmla="*/ 167 w 167"/>
              <a:gd name="T5" fmla="*/ 3 h 6"/>
              <a:gd name="T6" fmla="*/ 164 w 167"/>
              <a:gd name="T7" fmla="*/ 6 h 6"/>
              <a:gd name="T8" fmla="*/ 3 w 167"/>
              <a:gd name="T9" fmla="*/ 6 h 6"/>
              <a:gd name="T10" fmla="*/ 0 w 167"/>
              <a:gd name="T11" fmla="*/ 3 h 6"/>
              <a:gd name="T12" fmla="*/ 3 w 167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7" h="6">
                <a:moveTo>
                  <a:pt x="3" y="0"/>
                </a:moveTo>
                <a:cubicBezTo>
                  <a:pt x="164" y="0"/>
                  <a:pt x="164" y="0"/>
                  <a:pt x="164" y="0"/>
                </a:cubicBezTo>
                <a:cubicBezTo>
                  <a:pt x="166" y="0"/>
                  <a:pt x="167" y="2"/>
                  <a:pt x="167" y="3"/>
                </a:cubicBezTo>
                <a:cubicBezTo>
                  <a:pt x="167" y="5"/>
                  <a:pt x="166" y="6"/>
                  <a:pt x="164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8" name="iṡḷíḓé">
            <a:extLst>
              <a:ext uri="{FF2B5EF4-FFF2-40B4-BE49-F238E27FC236}">
                <a16:creationId xmlns:a16="http://schemas.microsoft.com/office/drawing/2014/main" id="{A0A55AAC-60AD-46E9-BDEA-BA79B9E0C7D0}"/>
              </a:ext>
            </a:extLst>
          </p:cNvPr>
          <p:cNvSpPr/>
          <p:nvPr/>
        </p:nvSpPr>
        <p:spPr bwMode="auto">
          <a:xfrm>
            <a:off x="10431225" y="3416420"/>
            <a:ext cx="300038" cy="19050"/>
          </a:xfrm>
          <a:custGeom>
            <a:avLst/>
            <a:gdLst>
              <a:gd name="T0" fmla="*/ 3 w 91"/>
              <a:gd name="T1" fmla="*/ 0 h 6"/>
              <a:gd name="T2" fmla="*/ 88 w 91"/>
              <a:gd name="T3" fmla="*/ 0 h 6"/>
              <a:gd name="T4" fmla="*/ 91 w 91"/>
              <a:gd name="T5" fmla="*/ 3 h 6"/>
              <a:gd name="T6" fmla="*/ 88 w 91"/>
              <a:gd name="T7" fmla="*/ 6 h 6"/>
              <a:gd name="T8" fmla="*/ 3 w 91"/>
              <a:gd name="T9" fmla="*/ 6 h 6"/>
              <a:gd name="T10" fmla="*/ 0 w 91"/>
              <a:gd name="T11" fmla="*/ 3 h 6"/>
              <a:gd name="T12" fmla="*/ 3 w 91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6">
                <a:moveTo>
                  <a:pt x="3" y="0"/>
                </a:moveTo>
                <a:cubicBezTo>
                  <a:pt x="88" y="0"/>
                  <a:pt x="88" y="0"/>
                  <a:pt x="88" y="0"/>
                </a:cubicBezTo>
                <a:cubicBezTo>
                  <a:pt x="89" y="0"/>
                  <a:pt x="91" y="2"/>
                  <a:pt x="91" y="3"/>
                </a:cubicBezTo>
                <a:cubicBezTo>
                  <a:pt x="91" y="5"/>
                  <a:pt x="89" y="6"/>
                  <a:pt x="88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9" name="îṩlîdê">
            <a:extLst>
              <a:ext uri="{FF2B5EF4-FFF2-40B4-BE49-F238E27FC236}">
                <a16:creationId xmlns:a16="http://schemas.microsoft.com/office/drawing/2014/main" id="{8F0F68CA-A95D-402C-BA5E-44C791260260}"/>
              </a:ext>
            </a:extLst>
          </p:cNvPr>
          <p:cNvSpPr/>
          <p:nvPr/>
        </p:nvSpPr>
        <p:spPr bwMode="auto">
          <a:xfrm>
            <a:off x="11199575" y="3264020"/>
            <a:ext cx="161925" cy="19050"/>
          </a:xfrm>
          <a:custGeom>
            <a:avLst/>
            <a:gdLst>
              <a:gd name="T0" fmla="*/ 3 w 49"/>
              <a:gd name="T1" fmla="*/ 0 h 6"/>
              <a:gd name="T2" fmla="*/ 46 w 49"/>
              <a:gd name="T3" fmla="*/ 0 h 6"/>
              <a:gd name="T4" fmla="*/ 49 w 49"/>
              <a:gd name="T5" fmla="*/ 3 h 6"/>
              <a:gd name="T6" fmla="*/ 46 w 49"/>
              <a:gd name="T7" fmla="*/ 6 h 6"/>
              <a:gd name="T8" fmla="*/ 3 w 49"/>
              <a:gd name="T9" fmla="*/ 6 h 6"/>
              <a:gd name="T10" fmla="*/ 0 w 49"/>
              <a:gd name="T11" fmla="*/ 3 h 6"/>
              <a:gd name="T12" fmla="*/ 3 w 49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6">
                <a:moveTo>
                  <a:pt x="3" y="0"/>
                </a:moveTo>
                <a:cubicBezTo>
                  <a:pt x="46" y="0"/>
                  <a:pt x="46" y="0"/>
                  <a:pt x="46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4"/>
                  <a:pt x="47" y="6"/>
                  <a:pt x="46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0" name="i$ḷîdè">
            <a:extLst>
              <a:ext uri="{FF2B5EF4-FFF2-40B4-BE49-F238E27FC236}">
                <a16:creationId xmlns:a16="http://schemas.microsoft.com/office/drawing/2014/main" id="{C21EC190-758A-4A56-9C7E-6CBEF0CC0CD3}"/>
              </a:ext>
            </a:extLst>
          </p:cNvPr>
          <p:cNvSpPr/>
          <p:nvPr/>
        </p:nvSpPr>
        <p:spPr bwMode="auto">
          <a:xfrm>
            <a:off x="10507425" y="3264020"/>
            <a:ext cx="652463" cy="19050"/>
          </a:xfrm>
          <a:custGeom>
            <a:avLst/>
            <a:gdLst>
              <a:gd name="T0" fmla="*/ 3 w 198"/>
              <a:gd name="T1" fmla="*/ 0 h 6"/>
              <a:gd name="T2" fmla="*/ 195 w 198"/>
              <a:gd name="T3" fmla="*/ 0 h 6"/>
              <a:gd name="T4" fmla="*/ 198 w 198"/>
              <a:gd name="T5" fmla="*/ 3 h 6"/>
              <a:gd name="T6" fmla="*/ 195 w 198"/>
              <a:gd name="T7" fmla="*/ 6 h 6"/>
              <a:gd name="T8" fmla="*/ 3 w 198"/>
              <a:gd name="T9" fmla="*/ 6 h 6"/>
              <a:gd name="T10" fmla="*/ 0 w 198"/>
              <a:gd name="T11" fmla="*/ 3 h 6"/>
              <a:gd name="T12" fmla="*/ 3 w 198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6">
                <a:moveTo>
                  <a:pt x="3" y="0"/>
                </a:moveTo>
                <a:cubicBezTo>
                  <a:pt x="195" y="0"/>
                  <a:pt x="195" y="0"/>
                  <a:pt x="195" y="0"/>
                </a:cubicBezTo>
                <a:cubicBezTo>
                  <a:pt x="197" y="0"/>
                  <a:pt x="198" y="1"/>
                  <a:pt x="198" y="3"/>
                </a:cubicBezTo>
                <a:cubicBezTo>
                  <a:pt x="198" y="4"/>
                  <a:pt x="197" y="6"/>
                  <a:pt x="195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1" name="îSľîḋe">
            <a:extLst>
              <a:ext uri="{FF2B5EF4-FFF2-40B4-BE49-F238E27FC236}">
                <a16:creationId xmlns:a16="http://schemas.microsoft.com/office/drawing/2014/main" id="{689D2165-4361-4BD6-9144-8E9C20493952}"/>
              </a:ext>
            </a:extLst>
          </p:cNvPr>
          <p:cNvSpPr/>
          <p:nvPr/>
        </p:nvSpPr>
        <p:spPr bwMode="auto">
          <a:xfrm>
            <a:off x="11321813" y="3135433"/>
            <a:ext cx="125413" cy="22225"/>
          </a:xfrm>
          <a:custGeom>
            <a:avLst/>
            <a:gdLst>
              <a:gd name="T0" fmla="*/ 3 w 38"/>
              <a:gd name="T1" fmla="*/ 0 h 7"/>
              <a:gd name="T2" fmla="*/ 34 w 38"/>
              <a:gd name="T3" fmla="*/ 0 h 7"/>
              <a:gd name="T4" fmla="*/ 38 w 38"/>
              <a:gd name="T5" fmla="*/ 4 h 7"/>
              <a:gd name="T6" fmla="*/ 34 w 38"/>
              <a:gd name="T7" fmla="*/ 7 h 7"/>
              <a:gd name="T8" fmla="*/ 3 w 38"/>
              <a:gd name="T9" fmla="*/ 7 h 7"/>
              <a:gd name="T10" fmla="*/ 0 w 38"/>
              <a:gd name="T11" fmla="*/ 4 h 7"/>
              <a:gd name="T12" fmla="*/ 3 w 38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3" y="0"/>
                </a:moveTo>
                <a:cubicBezTo>
                  <a:pt x="34" y="0"/>
                  <a:pt x="34" y="0"/>
                  <a:pt x="34" y="0"/>
                </a:cubicBezTo>
                <a:cubicBezTo>
                  <a:pt x="36" y="0"/>
                  <a:pt x="38" y="2"/>
                  <a:pt x="38" y="4"/>
                </a:cubicBezTo>
                <a:cubicBezTo>
                  <a:pt x="38" y="5"/>
                  <a:pt x="36" y="7"/>
                  <a:pt x="34" y="7"/>
                </a:cubicBez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2" name="íś1iďé">
            <a:extLst>
              <a:ext uri="{FF2B5EF4-FFF2-40B4-BE49-F238E27FC236}">
                <a16:creationId xmlns:a16="http://schemas.microsoft.com/office/drawing/2014/main" id="{B05C16E4-7AC1-4306-AB66-AF9D59862620}"/>
              </a:ext>
            </a:extLst>
          </p:cNvPr>
          <p:cNvSpPr/>
          <p:nvPr/>
        </p:nvSpPr>
        <p:spPr bwMode="auto">
          <a:xfrm>
            <a:off x="10859850" y="3135433"/>
            <a:ext cx="428625" cy="22225"/>
          </a:xfrm>
          <a:custGeom>
            <a:avLst/>
            <a:gdLst>
              <a:gd name="T0" fmla="*/ 3 w 130"/>
              <a:gd name="T1" fmla="*/ 0 h 7"/>
              <a:gd name="T2" fmla="*/ 127 w 130"/>
              <a:gd name="T3" fmla="*/ 0 h 7"/>
              <a:gd name="T4" fmla="*/ 130 w 130"/>
              <a:gd name="T5" fmla="*/ 4 h 7"/>
              <a:gd name="T6" fmla="*/ 127 w 130"/>
              <a:gd name="T7" fmla="*/ 7 h 7"/>
              <a:gd name="T8" fmla="*/ 3 w 130"/>
              <a:gd name="T9" fmla="*/ 7 h 7"/>
              <a:gd name="T10" fmla="*/ 0 w 130"/>
              <a:gd name="T11" fmla="*/ 4 h 7"/>
              <a:gd name="T12" fmla="*/ 3 w 130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0" h="7">
                <a:moveTo>
                  <a:pt x="3" y="0"/>
                </a:moveTo>
                <a:cubicBezTo>
                  <a:pt x="127" y="0"/>
                  <a:pt x="127" y="0"/>
                  <a:pt x="127" y="0"/>
                </a:cubicBezTo>
                <a:cubicBezTo>
                  <a:pt x="129" y="0"/>
                  <a:pt x="130" y="2"/>
                  <a:pt x="130" y="4"/>
                </a:cubicBezTo>
                <a:cubicBezTo>
                  <a:pt x="130" y="5"/>
                  <a:pt x="129" y="7"/>
                  <a:pt x="127" y="7"/>
                </a:cubicBez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3" name="îṣḻíḓê">
            <a:extLst>
              <a:ext uri="{FF2B5EF4-FFF2-40B4-BE49-F238E27FC236}">
                <a16:creationId xmlns:a16="http://schemas.microsoft.com/office/drawing/2014/main" id="{397BF340-62AD-401C-9B44-20DBC149B13C}"/>
              </a:ext>
            </a:extLst>
          </p:cNvPr>
          <p:cNvSpPr/>
          <p:nvPr/>
        </p:nvSpPr>
        <p:spPr bwMode="auto">
          <a:xfrm>
            <a:off x="10440750" y="3135433"/>
            <a:ext cx="363538" cy="22225"/>
          </a:xfrm>
          <a:custGeom>
            <a:avLst/>
            <a:gdLst>
              <a:gd name="T0" fmla="*/ 3 w 110"/>
              <a:gd name="T1" fmla="*/ 0 h 7"/>
              <a:gd name="T2" fmla="*/ 107 w 110"/>
              <a:gd name="T3" fmla="*/ 0 h 7"/>
              <a:gd name="T4" fmla="*/ 110 w 110"/>
              <a:gd name="T5" fmla="*/ 4 h 7"/>
              <a:gd name="T6" fmla="*/ 107 w 110"/>
              <a:gd name="T7" fmla="*/ 7 h 7"/>
              <a:gd name="T8" fmla="*/ 3 w 110"/>
              <a:gd name="T9" fmla="*/ 7 h 7"/>
              <a:gd name="T10" fmla="*/ 0 w 110"/>
              <a:gd name="T11" fmla="*/ 4 h 7"/>
              <a:gd name="T12" fmla="*/ 3 w 110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0" h="7">
                <a:moveTo>
                  <a:pt x="3" y="0"/>
                </a:moveTo>
                <a:cubicBezTo>
                  <a:pt x="107" y="0"/>
                  <a:pt x="107" y="0"/>
                  <a:pt x="107" y="0"/>
                </a:cubicBezTo>
                <a:cubicBezTo>
                  <a:pt x="109" y="0"/>
                  <a:pt x="110" y="2"/>
                  <a:pt x="110" y="4"/>
                </a:cubicBezTo>
                <a:cubicBezTo>
                  <a:pt x="110" y="5"/>
                  <a:pt x="109" y="7"/>
                  <a:pt x="107" y="7"/>
                </a:cubicBezTo>
                <a:cubicBezTo>
                  <a:pt x="3" y="7"/>
                  <a:pt x="3" y="7"/>
                  <a:pt x="3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2" y="0"/>
                  <a:pt x="3" y="0"/>
                </a:cubicBezTo>
                <a:close/>
              </a:path>
            </a:pathLst>
          </a:custGeom>
          <a:solidFill>
            <a:srgbClr val="D1D3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4" name="ïş1îḍè">
            <a:extLst>
              <a:ext uri="{FF2B5EF4-FFF2-40B4-BE49-F238E27FC236}">
                <a16:creationId xmlns:a16="http://schemas.microsoft.com/office/drawing/2014/main" id="{1F9764E0-316D-492D-B8FA-FB20715324A9}"/>
              </a:ext>
            </a:extLst>
          </p:cNvPr>
          <p:cNvSpPr/>
          <p:nvPr/>
        </p:nvSpPr>
        <p:spPr bwMode="auto">
          <a:xfrm>
            <a:off x="7511813" y="4680070"/>
            <a:ext cx="952500" cy="333375"/>
          </a:xfrm>
          <a:custGeom>
            <a:avLst/>
            <a:gdLst>
              <a:gd name="T0" fmla="*/ 10 w 289"/>
              <a:gd name="T1" fmla="*/ 4 h 101"/>
              <a:gd name="T2" fmla="*/ 10 w 289"/>
              <a:gd name="T3" fmla="*/ 4 h 101"/>
              <a:gd name="T4" fmla="*/ 7 w 289"/>
              <a:gd name="T5" fmla="*/ 8 h 101"/>
              <a:gd name="T6" fmla="*/ 10 w 289"/>
              <a:gd name="T7" fmla="*/ 4 h 101"/>
              <a:gd name="T8" fmla="*/ 97 w 289"/>
              <a:gd name="T9" fmla="*/ 80 h 101"/>
              <a:gd name="T10" fmla="*/ 95 w 289"/>
              <a:gd name="T11" fmla="*/ 78 h 101"/>
              <a:gd name="T12" fmla="*/ 97 w 289"/>
              <a:gd name="T13" fmla="*/ 76 h 101"/>
              <a:gd name="T14" fmla="*/ 208 w 289"/>
              <a:gd name="T15" fmla="*/ 76 h 101"/>
              <a:gd name="T16" fmla="*/ 210 w 289"/>
              <a:gd name="T17" fmla="*/ 78 h 101"/>
              <a:gd name="T18" fmla="*/ 208 w 289"/>
              <a:gd name="T19" fmla="*/ 80 h 101"/>
              <a:gd name="T20" fmla="*/ 97 w 289"/>
              <a:gd name="T21" fmla="*/ 80 h 101"/>
              <a:gd name="T22" fmla="*/ 68 w 289"/>
              <a:gd name="T23" fmla="*/ 62 h 101"/>
              <a:gd name="T24" fmla="*/ 66 w 289"/>
              <a:gd name="T25" fmla="*/ 60 h 101"/>
              <a:gd name="T26" fmla="*/ 68 w 289"/>
              <a:gd name="T27" fmla="*/ 59 h 101"/>
              <a:gd name="T28" fmla="*/ 161 w 289"/>
              <a:gd name="T29" fmla="*/ 59 h 101"/>
              <a:gd name="T30" fmla="*/ 163 w 289"/>
              <a:gd name="T31" fmla="*/ 60 h 101"/>
              <a:gd name="T32" fmla="*/ 161 w 289"/>
              <a:gd name="T33" fmla="*/ 62 h 101"/>
              <a:gd name="T34" fmla="*/ 68 w 289"/>
              <a:gd name="T35" fmla="*/ 62 h 101"/>
              <a:gd name="T36" fmla="*/ 172 w 289"/>
              <a:gd name="T37" fmla="*/ 62 h 101"/>
              <a:gd name="T38" fmla="*/ 171 w 289"/>
              <a:gd name="T39" fmla="*/ 60 h 101"/>
              <a:gd name="T40" fmla="*/ 172 w 289"/>
              <a:gd name="T41" fmla="*/ 59 h 101"/>
              <a:gd name="T42" fmla="*/ 221 w 289"/>
              <a:gd name="T43" fmla="*/ 59 h 101"/>
              <a:gd name="T44" fmla="*/ 223 w 289"/>
              <a:gd name="T45" fmla="*/ 60 h 101"/>
              <a:gd name="T46" fmla="*/ 221 w 289"/>
              <a:gd name="T47" fmla="*/ 62 h 101"/>
              <a:gd name="T48" fmla="*/ 172 w 289"/>
              <a:gd name="T49" fmla="*/ 62 h 101"/>
              <a:gd name="T50" fmla="*/ 266 w 289"/>
              <a:gd name="T51" fmla="*/ 0 h 101"/>
              <a:gd name="T52" fmla="*/ 39 w 289"/>
              <a:gd name="T53" fmla="*/ 0 h 101"/>
              <a:gd name="T54" fmla="*/ 42 w 289"/>
              <a:gd name="T55" fmla="*/ 2 h 101"/>
              <a:gd name="T56" fmla="*/ 55 w 289"/>
              <a:gd name="T57" fmla="*/ 44 h 101"/>
              <a:gd name="T58" fmla="*/ 48 w 289"/>
              <a:gd name="T59" fmla="*/ 42 h 101"/>
              <a:gd name="T60" fmla="*/ 48 w 289"/>
              <a:gd name="T61" fmla="*/ 42 h 101"/>
              <a:gd name="T62" fmla="*/ 13 w 289"/>
              <a:gd name="T63" fmla="*/ 30 h 101"/>
              <a:gd name="T64" fmla="*/ 2 w 289"/>
              <a:gd name="T65" fmla="*/ 15 h 101"/>
              <a:gd name="T66" fmla="*/ 0 w 289"/>
              <a:gd name="T67" fmla="*/ 25 h 101"/>
              <a:gd name="T68" fmla="*/ 0 w 289"/>
              <a:gd name="T69" fmla="*/ 75 h 101"/>
              <a:gd name="T70" fmla="*/ 23 w 289"/>
              <a:gd name="T71" fmla="*/ 101 h 101"/>
              <a:gd name="T72" fmla="*/ 266 w 289"/>
              <a:gd name="T73" fmla="*/ 101 h 101"/>
              <a:gd name="T74" fmla="*/ 289 w 289"/>
              <a:gd name="T75" fmla="*/ 75 h 101"/>
              <a:gd name="T76" fmla="*/ 289 w 289"/>
              <a:gd name="T77" fmla="*/ 25 h 101"/>
              <a:gd name="T78" fmla="*/ 266 w 289"/>
              <a:gd name="T79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89" h="101">
                <a:moveTo>
                  <a:pt x="10" y="4"/>
                </a:moveTo>
                <a:cubicBezTo>
                  <a:pt x="10" y="4"/>
                  <a:pt x="10" y="4"/>
                  <a:pt x="10" y="4"/>
                </a:cubicBezTo>
                <a:cubicBezTo>
                  <a:pt x="7" y="8"/>
                  <a:pt x="7" y="8"/>
                  <a:pt x="7" y="8"/>
                </a:cubicBezTo>
                <a:cubicBezTo>
                  <a:pt x="10" y="4"/>
                  <a:pt x="10" y="4"/>
                  <a:pt x="10" y="4"/>
                </a:cubicBezTo>
                <a:moveTo>
                  <a:pt x="97" y="80"/>
                </a:moveTo>
                <a:cubicBezTo>
                  <a:pt x="96" y="80"/>
                  <a:pt x="95" y="79"/>
                  <a:pt x="95" y="78"/>
                </a:cubicBezTo>
                <a:cubicBezTo>
                  <a:pt x="95" y="77"/>
                  <a:pt x="96" y="76"/>
                  <a:pt x="97" y="76"/>
                </a:cubicBezTo>
                <a:cubicBezTo>
                  <a:pt x="208" y="76"/>
                  <a:pt x="208" y="76"/>
                  <a:pt x="208" y="76"/>
                </a:cubicBezTo>
                <a:cubicBezTo>
                  <a:pt x="209" y="76"/>
                  <a:pt x="210" y="77"/>
                  <a:pt x="210" y="78"/>
                </a:cubicBezTo>
                <a:cubicBezTo>
                  <a:pt x="210" y="79"/>
                  <a:pt x="209" y="80"/>
                  <a:pt x="208" y="80"/>
                </a:cubicBezTo>
                <a:cubicBezTo>
                  <a:pt x="97" y="80"/>
                  <a:pt x="97" y="80"/>
                  <a:pt x="97" y="80"/>
                </a:cubicBezTo>
                <a:moveTo>
                  <a:pt x="68" y="62"/>
                </a:moveTo>
                <a:cubicBezTo>
                  <a:pt x="67" y="62"/>
                  <a:pt x="66" y="61"/>
                  <a:pt x="66" y="60"/>
                </a:cubicBezTo>
                <a:cubicBezTo>
                  <a:pt x="66" y="59"/>
                  <a:pt x="67" y="59"/>
                  <a:pt x="68" y="59"/>
                </a:cubicBezTo>
                <a:cubicBezTo>
                  <a:pt x="161" y="59"/>
                  <a:pt x="161" y="59"/>
                  <a:pt x="161" y="59"/>
                </a:cubicBezTo>
                <a:cubicBezTo>
                  <a:pt x="162" y="59"/>
                  <a:pt x="163" y="59"/>
                  <a:pt x="163" y="60"/>
                </a:cubicBezTo>
                <a:cubicBezTo>
                  <a:pt x="163" y="61"/>
                  <a:pt x="162" y="62"/>
                  <a:pt x="161" y="62"/>
                </a:cubicBezTo>
                <a:cubicBezTo>
                  <a:pt x="68" y="62"/>
                  <a:pt x="68" y="62"/>
                  <a:pt x="68" y="62"/>
                </a:cubicBezTo>
                <a:moveTo>
                  <a:pt x="172" y="62"/>
                </a:moveTo>
                <a:cubicBezTo>
                  <a:pt x="171" y="62"/>
                  <a:pt x="171" y="61"/>
                  <a:pt x="171" y="60"/>
                </a:cubicBezTo>
                <a:cubicBezTo>
                  <a:pt x="171" y="59"/>
                  <a:pt x="171" y="59"/>
                  <a:pt x="172" y="59"/>
                </a:cubicBezTo>
                <a:cubicBezTo>
                  <a:pt x="221" y="59"/>
                  <a:pt x="221" y="59"/>
                  <a:pt x="221" y="59"/>
                </a:cubicBezTo>
                <a:cubicBezTo>
                  <a:pt x="222" y="59"/>
                  <a:pt x="223" y="59"/>
                  <a:pt x="223" y="60"/>
                </a:cubicBezTo>
                <a:cubicBezTo>
                  <a:pt x="223" y="61"/>
                  <a:pt x="222" y="62"/>
                  <a:pt x="221" y="62"/>
                </a:cubicBezTo>
                <a:cubicBezTo>
                  <a:pt x="172" y="62"/>
                  <a:pt x="172" y="62"/>
                  <a:pt x="172" y="62"/>
                </a:cubicBezTo>
                <a:moveTo>
                  <a:pt x="266" y="0"/>
                </a:moveTo>
                <a:cubicBezTo>
                  <a:pt x="39" y="0"/>
                  <a:pt x="39" y="0"/>
                  <a:pt x="39" y="0"/>
                </a:cubicBezTo>
                <a:cubicBezTo>
                  <a:pt x="42" y="2"/>
                  <a:pt x="42" y="2"/>
                  <a:pt x="42" y="2"/>
                </a:cubicBezTo>
                <a:cubicBezTo>
                  <a:pt x="55" y="44"/>
                  <a:pt x="55" y="44"/>
                  <a:pt x="55" y="44"/>
                </a:cubicBezTo>
                <a:cubicBezTo>
                  <a:pt x="48" y="42"/>
                  <a:pt x="48" y="42"/>
                  <a:pt x="48" y="42"/>
                </a:cubicBezTo>
                <a:cubicBezTo>
                  <a:pt x="48" y="42"/>
                  <a:pt x="48" y="42"/>
                  <a:pt x="48" y="42"/>
                </a:cubicBezTo>
                <a:cubicBezTo>
                  <a:pt x="13" y="30"/>
                  <a:pt x="13" y="30"/>
                  <a:pt x="13" y="30"/>
                </a:cubicBezTo>
                <a:cubicBezTo>
                  <a:pt x="2" y="15"/>
                  <a:pt x="2" y="15"/>
                  <a:pt x="2" y="15"/>
                </a:cubicBezTo>
                <a:cubicBezTo>
                  <a:pt x="0" y="18"/>
                  <a:pt x="0" y="22"/>
                  <a:pt x="0" y="25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0"/>
                  <a:pt x="10" y="101"/>
                  <a:pt x="23" y="101"/>
                </a:cubicBezTo>
                <a:cubicBezTo>
                  <a:pt x="266" y="101"/>
                  <a:pt x="266" y="101"/>
                  <a:pt x="266" y="101"/>
                </a:cubicBezTo>
                <a:cubicBezTo>
                  <a:pt x="279" y="101"/>
                  <a:pt x="289" y="90"/>
                  <a:pt x="289" y="75"/>
                </a:cubicBezTo>
                <a:cubicBezTo>
                  <a:pt x="289" y="25"/>
                  <a:pt x="289" y="25"/>
                  <a:pt x="289" y="25"/>
                </a:cubicBezTo>
                <a:cubicBezTo>
                  <a:pt x="289" y="11"/>
                  <a:pt x="279" y="0"/>
                  <a:pt x="266" y="0"/>
                </a:cubicBezTo>
              </a:path>
            </a:pathLst>
          </a:custGeom>
          <a:solidFill>
            <a:srgbClr val="FBE3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5" name="îṡḷíḓè">
            <a:extLst>
              <a:ext uri="{FF2B5EF4-FFF2-40B4-BE49-F238E27FC236}">
                <a16:creationId xmlns:a16="http://schemas.microsoft.com/office/drawing/2014/main" id="{2FF17833-1014-46B8-B5E1-DEC85E28234C}"/>
              </a:ext>
            </a:extLst>
          </p:cNvPr>
          <p:cNvSpPr/>
          <p:nvPr/>
        </p:nvSpPr>
        <p:spPr bwMode="auto">
          <a:xfrm>
            <a:off x="7729300" y="4875333"/>
            <a:ext cx="319088" cy="9525"/>
          </a:xfrm>
          <a:custGeom>
            <a:avLst/>
            <a:gdLst>
              <a:gd name="T0" fmla="*/ 95 w 97"/>
              <a:gd name="T1" fmla="*/ 0 h 3"/>
              <a:gd name="T2" fmla="*/ 2 w 97"/>
              <a:gd name="T3" fmla="*/ 0 h 3"/>
              <a:gd name="T4" fmla="*/ 0 w 97"/>
              <a:gd name="T5" fmla="*/ 1 h 3"/>
              <a:gd name="T6" fmla="*/ 2 w 97"/>
              <a:gd name="T7" fmla="*/ 3 h 3"/>
              <a:gd name="T8" fmla="*/ 95 w 97"/>
              <a:gd name="T9" fmla="*/ 3 h 3"/>
              <a:gd name="T10" fmla="*/ 97 w 97"/>
              <a:gd name="T11" fmla="*/ 1 h 3"/>
              <a:gd name="T12" fmla="*/ 95 w 97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" h="3">
                <a:moveTo>
                  <a:pt x="95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1"/>
                </a:cubicBezTo>
                <a:cubicBezTo>
                  <a:pt x="0" y="2"/>
                  <a:pt x="1" y="3"/>
                  <a:pt x="2" y="3"/>
                </a:cubicBezTo>
                <a:cubicBezTo>
                  <a:pt x="95" y="3"/>
                  <a:pt x="95" y="3"/>
                  <a:pt x="95" y="3"/>
                </a:cubicBezTo>
                <a:cubicBezTo>
                  <a:pt x="96" y="3"/>
                  <a:pt x="97" y="2"/>
                  <a:pt x="97" y="1"/>
                </a:cubicBezTo>
                <a:cubicBezTo>
                  <a:pt x="97" y="0"/>
                  <a:pt x="96" y="0"/>
                  <a:pt x="95" y="0"/>
                </a:cubicBezTo>
              </a:path>
            </a:pathLst>
          </a:custGeom>
          <a:solidFill>
            <a:srgbClr val="BBA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6" name="îṥľïḓê">
            <a:extLst>
              <a:ext uri="{FF2B5EF4-FFF2-40B4-BE49-F238E27FC236}">
                <a16:creationId xmlns:a16="http://schemas.microsoft.com/office/drawing/2014/main" id="{518B0F1D-EFA0-4A71-9F33-655F3E9AA4E1}"/>
              </a:ext>
            </a:extLst>
          </p:cNvPr>
          <p:cNvSpPr/>
          <p:nvPr/>
        </p:nvSpPr>
        <p:spPr bwMode="auto">
          <a:xfrm>
            <a:off x="8075375" y="4875333"/>
            <a:ext cx="171450" cy="9525"/>
          </a:xfrm>
          <a:custGeom>
            <a:avLst/>
            <a:gdLst>
              <a:gd name="T0" fmla="*/ 50 w 52"/>
              <a:gd name="T1" fmla="*/ 0 h 3"/>
              <a:gd name="T2" fmla="*/ 1 w 52"/>
              <a:gd name="T3" fmla="*/ 0 h 3"/>
              <a:gd name="T4" fmla="*/ 0 w 52"/>
              <a:gd name="T5" fmla="*/ 1 h 3"/>
              <a:gd name="T6" fmla="*/ 1 w 52"/>
              <a:gd name="T7" fmla="*/ 3 h 3"/>
              <a:gd name="T8" fmla="*/ 50 w 52"/>
              <a:gd name="T9" fmla="*/ 3 h 3"/>
              <a:gd name="T10" fmla="*/ 52 w 52"/>
              <a:gd name="T11" fmla="*/ 1 h 3"/>
              <a:gd name="T12" fmla="*/ 50 w 52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3">
                <a:moveTo>
                  <a:pt x="50" y="0"/>
                </a:moveTo>
                <a:cubicBezTo>
                  <a:pt x="1" y="0"/>
                  <a:pt x="1" y="0"/>
                  <a:pt x="1" y="0"/>
                </a:cubicBezTo>
                <a:cubicBezTo>
                  <a:pt x="0" y="0"/>
                  <a:pt x="0" y="0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50" y="3"/>
                  <a:pt x="50" y="3"/>
                  <a:pt x="50" y="3"/>
                </a:cubicBezTo>
                <a:cubicBezTo>
                  <a:pt x="51" y="3"/>
                  <a:pt x="52" y="2"/>
                  <a:pt x="52" y="1"/>
                </a:cubicBezTo>
                <a:cubicBezTo>
                  <a:pt x="52" y="0"/>
                  <a:pt x="51" y="0"/>
                  <a:pt x="50" y="0"/>
                </a:cubicBezTo>
              </a:path>
            </a:pathLst>
          </a:custGeom>
          <a:solidFill>
            <a:srgbClr val="BBA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7" name="îṩ1îdè">
            <a:extLst>
              <a:ext uri="{FF2B5EF4-FFF2-40B4-BE49-F238E27FC236}">
                <a16:creationId xmlns:a16="http://schemas.microsoft.com/office/drawing/2014/main" id="{59F35BC7-9A49-461F-92F1-6C3197941B64}"/>
              </a:ext>
            </a:extLst>
          </p:cNvPr>
          <p:cNvSpPr/>
          <p:nvPr/>
        </p:nvSpPr>
        <p:spPr bwMode="auto">
          <a:xfrm>
            <a:off x="7824550" y="4930895"/>
            <a:ext cx="379413" cy="14288"/>
          </a:xfrm>
          <a:custGeom>
            <a:avLst/>
            <a:gdLst>
              <a:gd name="T0" fmla="*/ 113 w 115"/>
              <a:gd name="T1" fmla="*/ 0 h 4"/>
              <a:gd name="T2" fmla="*/ 2 w 115"/>
              <a:gd name="T3" fmla="*/ 0 h 4"/>
              <a:gd name="T4" fmla="*/ 0 w 115"/>
              <a:gd name="T5" fmla="*/ 2 h 4"/>
              <a:gd name="T6" fmla="*/ 2 w 115"/>
              <a:gd name="T7" fmla="*/ 4 h 4"/>
              <a:gd name="T8" fmla="*/ 113 w 115"/>
              <a:gd name="T9" fmla="*/ 4 h 4"/>
              <a:gd name="T10" fmla="*/ 115 w 115"/>
              <a:gd name="T11" fmla="*/ 2 h 4"/>
              <a:gd name="T12" fmla="*/ 113 w 115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4">
                <a:moveTo>
                  <a:pt x="113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113" y="4"/>
                  <a:pt x="113" y="4"/>
                  <a:pt x="113" y="4"/>
                </a:cubicBezTo>
                <a:cubicBezTo>
                  <a:pt x="114" y="4"/>
                  <a:pt x="115" y="3"/>
                  <a:pt x="115" y="2"/>
                </a:cubicBezTo>
                <a:cubicBezTo>
                  <a:pt x="115" y="1"/>
                  <a:pt x="114" y="0"/>
                  <a:pt x="113" y="0"/>
                </a:cubicBezTo>
              </a:path>
            </a:pathLst>
          </a:custGeom>
          <a:solidFill>
            <a:srgbClr val="BBA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8" name="îṡļîďè">
            <a:extLst>
              <a:ext uri="{FF2B5EF4-FFF2-40B4-BE49-F238E27FC236}">
                <a16:creationId xmlns:a16="http://schemas.microsoft.com/office/drawing/2014/main" id="{61332CB7-0250-4356-9921-27D234E61823}"/>
              </a:ext>
            </a:extLst>
          </p:cNvPr>
          <p:cNvSpPr/>
          <p:nvPr/>
        </p:nvSpPr>
        <p:spPr bwMode="auto">
          <a:xfrm>
            <a:off x="7702313" y="4749920"/>
            <a:ext cx="538163" cy="85725"/>
          </a:xfrm>
          <a:custGeom>
            <a:avLst/>
            <a:gdLst>
              <a:gd name="T0" fmla="*/ 4 w 163"/>
              <a:gd name="T1" fmla="*/ 25 h 26"/>
              <a:gd name="T2" fmla="*/ 3 w 163"/>
              <a:gd name="T3" fmla="*/ 25 h 26"/>
              <a:gd name="T4" fmla="*/ 2 w 163"/>
              <a:gd name="T5" fmla="*/ 16 h 26"/>
              <a:gd name="T6" fmla="*/ 23 w 163"/>
              <a:gd name="T7" fmla="*/ 1 h 26"/>
              <a:gd name="T8" fmla="*/ 29 w 163"/>
              <a:gd name="T9" fmla="*/ 5 h 26"/>
              <a:gd name="T10" fmla="*/ 49 w 163"/>
              <a:gd name="T11" fmla="*/ 11 h 26"/>
              <a:gd name="T12" fmla="*/ 49 w 163"/>
              <a:gd name="T13" fmla="*/ 12 h 26"/>
              <a:gd name="T14" fmla="*/ 52 w 163"/>
              <a:gd name="T15" fmla="*/ 14 h 26"/>
              <a:gd name="T16" fmla="*/ 55 w 163"/>
              <a:gd name="T17" fmla="*/ 15 h 26"/>
              <a:gd name="T18" fmla="*/ 61 w 163"/>
              <a:gd name="T19" fmla="*/ 11 h 26"/>
              <a:gd name="T20" fmla="*/ 65 w 163"/>
              <a:gd name="T21" fmla="*/ 7 h 26"/>
              <a:gd name="T22" fmla="*/ 68 w 163"/>
              <a:gd name="T23" fmla="*/ 8 h 26"/>
              <a:gd name="T24" fmla="*/ 69 w 163"/>
              <a:gd name="T25" fmla="*/ 12 h 26"/>
              <a:gd name="T26" fmla="*/ 71 w 163"/>
              <a:gd name="T27" fmla="*/ 16 h 26"/>
              <a:gd name="T28" fmla="*/ 78 w 163"/>
              <a:gd name="T29" fmla="*/ 14 h 26"/>
              <a:gd name="T30" fmla="*/ 83 w 163"/>
              <a:gd name="T31" fmla="*/ 10 h 26"/>
              <a:gd name="T32" fmla="*/ 93 w 163"/>
              <a:gd name="T33" fmla="*/ 12 h 26"/>
              <a:gd name="T34" fmla="*/ 98 w 163"/>
              <a:gd name="T35" fmla="*/ 13 h 26"/>
              <a:gd name="T36" fmla="*/ 100 w 163"/>
              <a:gd name="T37" fmla="*/ 14 h 26"/>
              <a:gd name="T38" fmla="*/ 100 w 163"/>
              <a:gd name="T39" fmla="*/ 16 h 26"/>
              <a:gd name="T40" fmla="*/ 99 w 163"/>
              <a:gd name="T41" fmla="*/ 17 h 26"/>
              <a:gd name="T42" fmla="*/ 131 w 163"/>
              <a:gd name="T43" fmla="*/ 16 h 26"/>
              <a:gd name="T44" fmla="*/ 145 w 163"/>
              <a:gd name="T45" fmla="*/ 14 h 26"/>
              <a:gd name="T46" fmla="*/ 152 w 163"/>
              <a:gd name="T47" fmla="*/ 13 h 26"/>
              <a:gd name="T48" fmla="*/ 162 w 163"/>
              <a:gd name="T49" fmla="*/ 12 h 26"/>
              <a:gd name="T50" fmla="*/ 163 w 163"/>
              <a:gd name="T51" fmla="*/ 14 h 26"/>
              <a:gd name="T52" fmla="*/ 161 w 163"/>
              <a:gd name="T53" fmla="*/ 16 h 26"/>
              <a:gd name="T54" fmla="*/ 152 w 163"/>
              <a:gd name="T55" fmla="*/ 17 h 26"/>
              <a:gd name="T56" fmla="*/ 146 w 163"/>
              <a:gd name="T57" fmla="*/ 17 h 26"/>
              <a:gd name="T58" fmla="*/ 131 w 163"/>
              <a:gd name="T59" fmla="*/ 19 h 26"/>
              <a:gd name="T60" fmla="*/ 95 w 163"/>
              <a:gd name="T61" fmla="*/ 18 h 26"/>
              <a:gd name="T62" fmla="*/ 95 w 163"/>
              <a:gd name="T63" fmla="*/ 17 h 26"/>
              <a:gd name="T64" fmla="*/ 91 w 163"/>
              <a:gd name="T65" fmla="*/ 14 h 26"/>
              <a:gd name="T66" fmla="*/ 85 w 163"/>
              <a:gd name="T67" fmla="*/ 13 h 26"/>
              <a:gd name="T68" fmla="*/ 81 w 163"/>
              <a:gd name="T69" fmla="*/ 16 h 26"/>
              <a:gd name="T70" fmla="*/ 69 w 163"/>
              <a:gd name="T71" fmla="*/ 19 h 26"/>
              <a:gd name="T72" fmla="*/ 66 w 163"/>
              <a:gd name="T73" fmla="*/ 12 h 26"/>
              <a:gd name="T74" fmla="*/ 65 w 163"/>
              <a:gd name="T75" fmla="*/ 12 h 26"/>
              <a:gd name="T76" fmla="*/ 63 w 163"/>
              <a:gd name="T77" fmla="*/ 13 h 26"/>
              <a:gd name="T78" fmla="*/ 56 w 163"/>
              <a:gd name="T79" fmla="*/ 18 h 26"/>
              <a:gd name="T80" fmla="*/ 49 w 163"/>
              <a:gd name="T81" fmla="*/ 17 h 26"/>
              <a:gd name="T82" fmla="*/ 47 w 163"/>
              <a:gd name="T83" fmla="*/ 15 h 26"/>
              <a:gd name="T84" fmla="*/ 46 w 163"/>
              <a:gd name="T85" fmla="*/ 14 h 26"/>
              <a:gd name="T86" fmla="*/ 30 w 163"/>
              <a:gd name="T87" fmla="*/ 8 h 26"/>
              <a:gd name="T88" fmla="*/ 25 w 163"/>
              <a:gd name="T89" fmla="*/ 18 h 26"/>
              <a:gd name="T90" fmla="*/ 19 w 163"/>
              <a:gd name="T91" fmla="*/ 18 h 26"/>
              <a:gd name="T92" fmla="*/ 18 w 163"/>
              <a:gd name="T93" fmla="*/ 13 h 26"/>
              <a:gd name="T94" fmla="*/ 25 w 163"/>
              <a:gd name="T95" fmla="*/ 6 h 26"/>
              <a:gd name="T96" fmla="*/ 25 w 163"/>
              <a:gd name="T97" fmla="*/ 6 h 26"/>
              <a:gd name="T98" fmla="*/ 22 w 163"/>
              <a:gd name="T99" fmla="*/ 4 h 26"/>
              <a:gd name="T100" fmla="*/ 6 w 163"/>
              <a:gd name="T101" fmla="*/ 17 h 26"/>
              <a:gd name="T102" fmla="*/ 5 w 163"/>
              <a:gd name="T103" fmla="*/ 22 h 26"/>
              <a:gd name="T104" fmla="*/ 5 w 163"/>
              <a:gd name="T105" fmla="*/ 25 h 26"/>
              <a:gd name="T106" fmla="*/ 4 w 163"/>
              <a:gd name="T107" fmla="*/ 25 h 26"/>
              <a:gd name="T108" fmla="*/ 27 w 163"/>
              <a:gd name="T109" fmla="*/ 9 h 26"/>
              <a:gd name="T110" fmla="*/ 27 w 163"/>
              <a:gd name="T111" fmla="*/ 9 h 26"/>
              <a:gd name="T112" fmla="*/ 21 w 163"/>
              <a:gd name="T113" fmla="*/ 14 h 26"/>
              <a:gd name="T114" fmla="*/ 22 w 163"/>
              <a:gd name="T115" fmla="*/ 15 h 26"/>
              <a:gd name="T116" fmla="*/ 24 w 163"/>
              <a:gd name="T117" fmla="*/ 15 h 26"/>
              <a:gd name="T118" fmla="*/ 27 w 163"/>
              <a:gd name="T119" fmla="*/ 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3" h="26">
                <a:moveTo>
                  <a:pt x="4" y="25"/>
                </a:moveTo>
                <a:cubicBezTo>
                  <a:pt x="4" y="25"/>
                  <a:pt x="3" y="25"/>
                  <a:pt x="3" y="25"/>
                </a:cubicBezTo>
                <a:cubicBezTo>
                  <a:pt x="2" y="23"/>
                  <a:pt x="0" y="21"/>
                  <a:pt x="2" y="16"/>
                </a:cubicBezTo>
                <a:cubicBezTo>
                  <a:pt x="6" y="8"/>
                  <a:pt x="16" y="0"/>
                  <a:pt x="23" y="1"/>
                </a:cubicBezTo>
                <a:cubicBezTo>
                  <a:pt x="26" y="1"/>
                  <a:pt x="28" y="3"/>
                  <a:pt x="29" y="5"/>
                </a:cubicBezTo>
                <a:cubicBezTo>
                  <a:pt x="38" y="3"/>
                  <a:pt x="42" y="7"/>
                  <a:pt x="49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51" y="13"/>
                  <a:pt x="51" y="14"/>
                  <a:pt x="52" y="14"/>
                </a:cubicBezTo>
                <a:cubicBezTo>
                  <a:pt x="53" y="15"/>
                  <a:pt x="53" y="15"/>
                  <a:pt x="55" y="15"/>
                </a:cubicBezTo>
                <a:cubicBezTo>
                  <a:pt x="57" y="15"/>
                  <a:pt x="59" y="13"/>
                  <a:pt x="61" y="11"/>
                </a:cubicBezTo>
                <a:cubicBezTo>
                  <a:pt x="62" y="9"/>
                  <a:pt x="64" y="8"/>
                  <a:pt x="65" y="7"/>
                </a:cubicBezTo>
                <a:cubicBezTo>
                  <a:pt x="66" y="7"/>
                  <a:pt x="67" y="7"/>
                  <a:pt x="68" y="8"/>
                </a:cubicBezTo>
                <a:cubicBezTo>
                  <a:pt x="68" y="9"/>
                  <a:pt x="69" y="10"/>
                  <a:pt x="69" y="12"/>
                </a:cubicBezTo>
                <a:cubicBezTo>
                  <a:pt x="70" y="14"/>
                  <a:pt x="70" y="16"/>
                  <a:pt x="71" y="16"/>
                </a:cubicBezTo>
                <a:cubicBezTo>
                  <a:pt x="74" y="18"/>
                  <a:pt x="75" y="17"/>
                  <a:pt x="78" y="14"/>
                </a:cubicBezTo>
                <a:cubicBezTo>
                  <a:pt x="80" y="12"/>
                  <a:pt x="81" y="11"/>
                  <a:pt x="83" y="10"/>
                </a:cubicBezTo>
                <a:cubicBezTo>
                  <a:pt x="88" y="8"/>
                  <a:pt x="91" y="10"/>
                  <a:pt x="93" y="12"/>
                </a:cubicBezTo>
                <a:cubicBezTo>
                  <a:pt x="95" y="13"/>
                  <a:pt x="96" y="14"/>
                  <a:pt x="98" y="13"/>
                </a:cubicBezTo>
                <a:cubicBezTo>
                  <a:pt x="99" y="13"/>
                  <a:pt x="100" y="13"/>
                  <a:pt x="100" y="14"/>
                </a:cubicBezTo>
                <a:cubicBezTo>
                  <a:pt x="101" y="15"/>
                  <a:pt x="101" y="16"/>
                  <a:pt x="100" y="16"/>
                </a:cubicBezTo>
                <a:cubicBezTo>
                  <a:pt x="99" y="17"/>
                  <a:pt x="99" y="17"/>
                  <a:pt x="99" y="17"/>
                </a:cubicBezTo>
                <a:cubicBezTo>
                  <a:pt x="106" y="21"/>
                  <a:pt x="120" y="18"/>
                  <a:pt x="131" y="16"/>
                </a:cubicBezTo>
                <a:cubicBezTo>
                  <a:pt x="136" y="15"/>
                  <a:pt x="142" y="14"/>
                  <a:pt x="145" y="14"/>
                </a:cubicBezTo>
                <a:cubicBezTo>
                  <a:pt x="147" y="14"/>
                  <a:pt x="150" y="13"/>
                  <a:pt x="152" y="13"/>
                </a:cubicBezTo>
                <a:cubicBezTo>
                  <a:pt x="156" y="13"/>
                  <a:pt x="159" y="12"/>
                  <a:pt x="162" y="12"/>
                </a:cubicBezTo>
                <a:cubicBezTo>
                  <a:pt x="163" y="13"/>
                  <a:pt x="163" y="13"/>
                  <a:pt x="163" y="14"/>
                </a:cubicBezTo>
                <a:cubicBezTo>
                  <a:pt x="163" y="15"/>
                  <a:pt x="162" y="16"/>
                  <a:pt x="161" y="16"/>
                </a:cubicBezTo>
                <a:cubicBezTo>
                  <a:pt x="159" y="16"/>
                  <a:pt x="156" y="16"/>
                  <a:pt x="152" y="17"/>
                </a:cubicBezTo>
                <a:cubicBezTo>
                  <a:pt x="150" y="17"/>
                  <a:pt x="147" y="17"/>
                  <a:pt x="146" y="17"/>
                </a:cubicBezTo>
                <a:cubicBezTo>
                  <a:pt x="142" y="17"/>
                  <a:pt x="137" y="18"/>
                  <a:pt x="131" y="19"/>
                </a:cubicBezTo>
                <a:cubicBezTo>
                  <a:pt x="118" y="22"/>
                  <a:pt x="102" y="26"/>
                  <a:pt x="95" y="18"/>
                </a:cubicBezTo>
                <a:cubicBezTo>
                  <a:pt x="95" y="18"/>
                  <a:pt x="95" y="17"/>
                  <a:pt x="95" y="17"/>
                </a:cubicBezTo>
                <a:cubicBezTo>
                  <a:pt x="93" y="16"/>
                  <a:pt x="92" y="15"/>
                  <a:pt x="91" y="14"/>
                </a:cubicBezTo>
                <a:cubicBezTo>
                  <a:pt x="88" y="13"/>
                  <a:pt x="87" y="12"/>
                  <a:pt x="85" y="13"/>
                </a:cubicBezTo>
                <a:cubicBezTo>
                  <a:pt x="83" y="14"/>
                  <a:pt x="82" y="15"/>
                  <a:pt x="81" y="16"/>
                </a:cubicBezTo>
                <a:cubicBezTo>
                  <a:pt x="78" y="19"/>
                  <a:pt x="75" y="23"/>
                  <a:pt x="69" y="19"/>
                </a:cubicBezTo>
                <a:cubicBezTo>
                  <a:pt x="67" y="18"/>
                  <a:pt x="66" y="15"/>
                  <a:pt x="66" y="12"/>
                </a:cubicBezTo>
                <a:cubicBezTo>
                  <a:pt x="65" y="12"/>
                  <a:pt x="65" y="12"/>
                  <a:pt x="65" y="12"/>
                </a:cubicBezTo>
                <a:cubicBezTo>
                  <a:pt x="65" y="12"/>
                  <a:pt x="64" y="13"/>
                  <a:pt x="63" y="13"/>
                </a:cubicBezTo>
                <a:cubicBezTo>
                  <a:pt x="61" y="16"/>
                  <a:pt x="59" y="18"/>
                  <a:pt x="56" y="18"/>
                </a:cubicBezTo>
                <a:cubicBezTo>
                  <a:pt x="52" y="19"/>
                  <a:pt x="51" y="19"/>
                  <a:pt x="49" y="17"/>
                </a:cubicBezTo>
                <a:cubicBezTo>
                  <a:pt x="49" y="16"/>
                  <a:pt x="48" y="16"/>
                  <a:pt x="47" y="15"/>
                </a:cubicBezTo>
                <a:cubicBezTo>
                  <a:pt x="46" y="14"/>
                  <a:pt x="46" y="14"/>
                  <a:pt x="46" y="14"/>
                </a:cubicBezTo>
                <a:cubicBezTo>
                  <a:pt x="41" y="10"/>
                  <a:pt x="37" y="7"/>
                  <a:pt x="30" y="8"/>
                </a:cubicBezTo>
                <a:cubicBezTo>
                  <a:pt x="31" y="12"/>
                  <a:pt x="28" y="17"/>
                  <a:pt x="25" y="18"/>
                </a:cubicBezTo>
                <a:cubicBezTo>
                  <a:pt x="23" y="19"/>
                  <a:pt x="21" y="19"/>
                  <a:pt x="19" y="18"/>
                </a:cubicBezTo>
                <a:cubicBezTo>
                  <a:pt x="18" y="16"/>
                  <a:pt x="17" y="14"/>
                  <a:pt x="18" y="13"/>
                </a:cubicBezTo>
                <a:cubicBezTo>
                  <a:pt x="19" y="9"/>
                  <a:pt x="25" y="6"/>
                  <a:pt x="25" y="6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5"/>
                  <a:pt x="24" y="5"/>
                  <a:pt x="22" y="4"/>
                </a:cubicBezTo>
                <a:cubicBezTo>
                  <a:pt x="18" y="4"/>
                  <a:pt x="9" y="11"/>
                  <a:pt x="6" y="17"/>
                </a:cubicBezTo>
                <a:cubicBezTo>
                  <a:pt x="5" y="19"/>
                  <a:pt x="4" y="21"/>
                  <a:pt x="5" y="22"/>
                </a:cubicBezTo>
                <a:cubicBezTo>
                  <a:pt x="6" y="23"/>
                  <a:pt x="6" y="24"/>
                  <a:pt x="5" y="25"/>
                </a:cubicBezTo>
                <a:cubicBezTo>
                  <a:pt x="5" y="25"/>
                  <a:pt x="5" y="25"/>
                  <a:pt x="4" y="25"/>
                </a:cubicBezTo>
                <a:close/>
                <a:moveTo>
                  <a:pt x="27" y="9"/>
                </a:moveTo>
                <a:cubicBezTo>
                  <a:pt x="27" y="9"/>
                  <a:pt x="27" y="9"/>
                  <a:pt x="27" y="9"/>
                </a:cubicBezTo>
                <a:cubicBezTo>
                  <a:pt x="25" y="10"/>
                  <a:pt x="22" y="12"/>
                  <a:pt x="21" y="14"/>
                </a:cubicBezTo>
                <a:cubicBezTo>
                  <a:pt x="21" y="14"/>
                  <a:pt x="21" y="14"/>
                  <a:pt x="22" y="15"/>
                </a:cubicBezTo>
                <a:cubicBezTo>
                  <a:pt x="22" y="15"/>
                  <a:pt x="23" y="15"/>
                  <a:pt x="24" y="15"/>
                </a:cubicBezTo>
                <a:cubicBezTo>
                  <a:pt x="25" y="14"/>
                  <a:pt x="27" y="12"/>
                  <a:pt x="27" y="9"/>
                </a:cubicBezTo>
                <a:close/>
              </a:path>
            </a:pathLst>
          </a:custGeom>
          <a:solidFill>
            <a:srgbClr val="6E6D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9" name="išļïḓe">
            <a:extLst>
              <a:ext uri="{FF2B5EF4-FFF2-40B4-BE49-F238E27FC236}">
                <a16:creationId xmlns:a16="http://schemas.microsoft.com/office/drawing/2014/main" id="{129CBABD-2418-438B-BCB3-0822F6543CDD}"/>
              </a:ext>
            </a:extLst>
          </p:cNvPr>
          <p:cNvSpPr/>
          <p:nvPr/>
        </p:nvSpPr>
        <p:spPr bwMode="auto">
          <a:xfrm>
            <a:off x="6805375" y="3933945"/>
            <a:ext cx="787400" cy="792163"/>
          </a:xfrm>
          <a:custGeom>
            <a:avLst/>
            <a:gdLst>
              <a:gd name="T0" fmla="*/ 239 w 239"/>
              <a:gd name="T1" fmla="*/ 215 h 240"/>
              <a:gd name="T2" fmla="*/ 29 w 239"/>
              <a:gd name="T3" fmla="*/ 5 h 240"/>
              <a:gd name="T4" fmla="*/ 12 w 239"/>
              <a:gd name="T5" fmla="*/ 5 h 240"/>
              <a:gd name="T6" fmla="*/ 4 w 239"/>
              <a:gd name="T7" fmla="*/ 13 h 240"/>
              <a:gd name="T8" fmla="*/ 4 w 239"/>
              <a:gd name="T9" fmla="*/ 30 h 240"/>
              <a:gd name="T10" fmla="*/ 214 w 239"/>
              <a:gd name="T11" fmla="*/ 240 h 240"/>
              <a:gd name="T12" fmla="*/ 239 w 239"/>
              <a:gd name="T13" fmla="*/ 21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9" h="240">
                <a:moveTo>
                  <a:pt x="239" y="215"/>
                </a:moveTo>
                <a:cubicBezTo>
                  <a:pt x="29" y="5"/>
                  <a:pt x="29" y="5"/>
                  <a:pt x="29" y="5"/>
                </a:cubicBezTo>
                <a:cubicBezTo>
                  <a:pt x="24" y="0"/>
                  <a:pt x="17" y="0"/>
                  <a:pt x="12" y="5"/>
                </a:cubicBezTo>
                <a:cubicBezTo>
                  <a:pt x="4" y="13"/>
                  <a:pt x="4" y="13"/>
                  <a:pt x="4" y="13"/>
                </a:cubicBezTo>
                <a:cubicBezTo>
                  <a:pt x="0" y="17"/>
                  <a:pt x="0" y="25"/>
                  <a:pt x="4" y="30"/>
                </a:cubicBezTo>
                <a:cubicBezTo>
                  <a:pt x="214" y="240"/>
                  <a:pt x="214" y="240"/>
                  <a:pt x="214" y="240"/>
                </a:cubicBezTo>
                <a:cubicBezTo>
                  <a:pt x="239" y="215"/>
                  <a:pt x="239" y="215"/>
                  <a:pt x="239" y="215"/>
                </a:cubicBezTo>
              </a:path>
            </a:pathLst>
          </a:custGeom>
          <a:solidFill>
            <a:srgbClr val="3E43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0" name="íşļïďê">
            <a:extLst>
              <a:ext uri="{FF2B5EF4-FFF2-40B4-BE49-F238E27FC236}">
                <a16:creationId xmlns:a16="http://schemas.microsoft.com/office/drawing/2014/main" id="{52FB26CD-69F5-4EB5-B90D-B613261110F1}"/>
              </a:ext>
            </a:extLst>
          </p:cNvPr>
          <p:cNvSpPr/>
          <p:nvPr/>
        </p:nvSpPr>
        <p:spPr bwMode="auto">
          <a:xfrm>
            <a:off x="6830775" y="3933945"/>
            <a:ext cx="762000" cy="723900"/>
          </a:xfrm>
          <a:custGeom>
            <a:avLst/>
            <a:gdLst>
              <a:gd name="T0" fmla="*/ 17 w 231"/>
              <a:gd name="T1" fmla="*/ 9 h 219"/>
              <a:gd name="T2" fmla="*/ 227 w 231"/>
              <a:gd name="T3" fmla="*/ 219 h 219"/>
              <a:gd name="T4" fmla="*/ 231 w 231"/>
              <a:gd name="T5" fmla="*/ 215 h 219"/>
              <a:gd name="T6" fmla="*/ 21 w 231"/>
              <a:gd name="T7" fmla="*/ 5 h 219"/>
              <a:gd name="T8" fmla="*/ 4 w 231"/>
              <a:gd name="T9" fmla="*/ 5 h 219"/>
              <a:gd name="T10" fmla="*/ 0 w 231"/>
              <a:gd name="T11" fmla="*/ 9 h 219"/>
              <a:gd name="T12" fmla="*/ 17 w 231"/>
              <a:gd name="T13" fmla="*/ 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1" h="219">
                <a:moveTo>
                  <a:pt x="17" y="9"/>
                </a:moveTo>
                <a:cubicBezTo>
                  <a:pt x="227" y="219"/>
                  <a:pt x="227" y="219"/>
                  <a:pt x="227" y="219"/>
                </a:cubicBezTo>
                <a:cubicBezTo>
                  <a:pt x="231" y="215"/>
                  <a:pt x="231" y="215"/>
                  <a:pt x="231" y="215"/>
                </a:cubicBezTo>
                <a:cubicBezTo>
                  <a:pt x="21" y="5"/>
                  <a:pt x="21" y="5"/>
                  <a:pt x="21" y="5"/>
                </a:cubicBezTo>
                <a:cubicBezTo>
                  <a:pt x="16" y="0"/>
                  <a:pt x="9" y="0"/>
                  <a:pt x="4" y="5"/>
                </a:cubicBezTo>
                <a:cubicBezTo>
                  <a:pt x="0" y="9"/>
                  <a:pt x="0" y="9"/>
                  <a:pt x="0" y="9"/>
                </a:cubicBezTo>
                <a:cubicBezTo>
                  <a:pt x="4" y="5"/>
                  <a:pt x="12" y="5"/>
                  <a:pt x="17" y="9"/>
                </a:cubicBezTo>
              </a:path>
            </a:pathLst>
          </a:custGeom>
          <a:solidFill>
            <a:srgbClr val="4D52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1" name="íšľïḍè">
            <a:extLst>
              <a:ext uri="{FF2B5EF4-FFF2-40B4-BE49-F238E27FC236}">
                <a16:creationId xmlns:a16="http://schemas.microsoft.com/office/drawing/2014/main" id="{24E67295-7113-458C-A11C-6329CBD5169A}"/>
              </a:ext>
            </a:extLst>
          </p:cNvPr>
          <p:cNvSpPr/>
          <p:nvPr/>
        </p:nvSpPr>
        <p:spPr bwMode="auto">
          <a:xfrm>
            <a:off x="6726000" y="3854570"/>
            <a:ext cx="349250" cy="350838"/>
          </a:xfrm>
          <a:custGeom>
            <a:avLst/>
            <a:gdLst>
              <a:gd name="T0" fmla="*/ 106 w 106"/>
              <a:gd name="T1" fmla="*/ 80 h 106"/>
              <a:gd name="T2" fmla="*/ 31 w 106"/>
              <a:gd name="T3" fmla="*/ 5 h 106"/>
              <a:gd name="T4" fmla="*/ 13 w 106"/>
              <a:gd name="T5" fmla="*/ 5 h 106"/>
              <a:gd name="T6" fmla="*/ 5 w 106"/>
              <a:gd name="T7" fmla="*/ 13 h 106"/>
              <a:gd name="T8" fmla="*/ 5 w 106"/>
              <a:gd name="T9" fmla="*/ 32 h 106"/>
              <a:gd name="T10" fmla="*/ 80 w 106"/>
              <a:gd name="T11" fmla="*/ 106 h 106"/>
              <a:gd name="T12" fmla="*/ 106 w 106"/>
              <a:gd name="T13" fmla="*/ 80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6" h="106">
                <a:moveTo>
                  <a:pt x="106" y="80"/>
                </a:moveTo>
                <a:cubicBezTo>
                  <a:pt x="31" y="5"/>
                  <a:pt x="31" y="5"/>
                  <a:pt x="31" y="5"/>
                </a:cubicBezTo>
                <a:cubicBezTo>
                  <a:pt x="26" y="0"/>
                  <a:pt x="18" y="0"/>
                  <a:pt x="13" y="5"/>
                </a:cubicBezTo>
                <a:cubicBezTo>
                  <a:pt x="5" y="13"/>
                  <a:pt x="5" y="13"/>
                  <a:pt x="5" y="13"/>
                </a:cubicBezTo>
                <a:cubicBezTo>
                  <a:pt x="0" y="18"/>
                  <a:pt x="0" y="27"/>
                  <a:pt x="5" y="32"/>
                </a:cubicBezTo>
                <a:cubicBezTo>
                  <a:pt x="80" y="106"/>
                  <a:pt x="80" y="106"/>
                  <a:pt x="80" y="106"/>
                </a:cubicBezTo>
                <a:lnTo>
                  <a:pt x="106" y="80"/>
                </a:lnTo>
                <a:close/>
              </a:path>
            </a:pathLst>
          </a:custGeom>
          <a:solidFill>
            <a:srgbClr val="4449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2" name="iṧḻiḓe">
            <a:extLst>
              <a:ext uri="{FF2B5EF4-FFF2-40B4-BE49-F238E27FC236}">
                <a16:creationId xmlns:a16="http://schemas.microsoft.com/office/drawing/2014/main" id="{4C7B0B84-F7AA-48A4-AE71-5CF13BEF7DA2}"/>
              </a:ext>
            </a:extLst>
          </p:cNvPr>
          <p:cNvSpPr/>
          <p:nvPr/>
        </p:nvSpPr>
        <p:spPr bwMode="auto">
          <a:xfrm>
            <a:off x="6838713" y="3973633"/>
            <a:ext cx="328613" cy="333375"/>
          </a:xfrm>
          <a:custGeom>
            <a:avLst/>
            <a:gdLst>
              <a:gd name="T0" fmla="*/ 6 w 100"/>
              <a:gd name="T1" fmla="*/ 2 h 101"/>
              <a:gd name="T2" fmla="*/ 1 w 100"/>
              <a:gd name="T3" fmla="*/ 2 h 101"/>
              <a:gd name="T4" fmla="*/ 1 w 100"/>
              <a:gd name="T5" fmla="*/ 7 h 101"/>
              <a:gd name="T6" fmla="*/ 94 w 100"/>
              <a:gd name="T7" fmla="*/ 100 h 101"/>
              <a:gd name="T8" fmla="*/ 99 w 100"/>
              <a:gd name="T9" fmla="*/ 100 h 101"/>
              <a:gd name="T10" fmla="*/ 99 w 100"/>
              <a:gd name="T11" fmla="*/ 94 h 101"/>
              <a:gd name="T12" fmla="*/ 6 w 100"/>
              <a:gd name="T13" fmla="*/ 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0" h="101">
                <a:moveTo>
                  <a:pt x="6" y="2"/>
                </a:moveTo>
                <a:cubicBezTo>
                  <a:pt x="5" y="0"/>
                  <a:pt x="3" y="0"/>
                  <a:pt x="1" y="2"/>
                </a:cubicBezTo>
                <a:cubicBezTo>
                  <a:pt x="0" y="3"/>
                  <a:pt x="0" y="6"/>
                  <a:pt x="1" y="7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5" y="101"/>
                  <a:pt x="97" y="101"/>
                  <a:pt x="99" y="100"/>
                </a:cubicBezTo>
                <a:cubicBezTo>
                  <a:pt x="100" y="98"/>
                  <a:pt x="100" y="96"/>
                  <a:pt x="99" y="94"/>
                </a:cubicBezTo>
                <a:lnTo>
                  <a:pt x="6" y="2"/>
                </a:lnTo>
                <a:close/>
              </a:path>
            </a:pathLst>
          </a:custGeom>
          <a:solidFill>
            <a:srgbClr val="A1A1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3" name="ï$ḻîde">
            <a:extLst>
              <a:ext uri="{FF2B5EF4-FFF2-40B4-BE49-F238E27FC236}">
                <a16:creationId xmlns:a16="http://schemas.microsoft.com/office/drawing/2014/main" id="{A69D3304-E534-460D-AA46-741A52A8393F}"/>
              </a:ext>
            </a:extLst>
          </p:cNvPr>
          <p:cNvSpPr/>
          <p:nvPr/>
        </p:nvSpPr>
        <p:spPr bwMode="auto">
          <a:xfrm>
            <a:off x="6838713" y="3973633"/>
            <a:ext cx="331788" cy="330200"/>
          </a:xfrm>
          <a:custGeom>
            <a:avLst/>
            <a:gdLst>
              <a:gd name="T0" fmla="*/ 4 w 101"/>
              <a:gd name="T1" fmla="*/ 4 h 100"/>
              <a:gd name="T2" fmla="*/ 97 w 101"/>
              <a:gd name="T3" fmla="*/ 97 h 100"/>
              <a:gd name="T4" fmla="*/ 97 w 101"/>
              <a:gd name="T5" fmla="*/ 100 h 100"/>
              <a:gd name="T6" fmla="*/ 99 w 101"/>
              <a:gd name="T7" fmla="*/ 99 h 100"/>
              <a:gd name="T8" fmla="*/ 99 w 101"/>
              <a:gd name="T9" fmla="*/ 94 h 100"/>
              <a:gd name="T10" fmla="*/ 7 w 101"/>
              <a:gd name="T11" fmla="*/ 1 h 100"/>
              <a:gd name="T12" fmla="*/ 1 w 101"/>
              <a:gd name="T13" fmla="*/ 1 h 100"/>
              <a:gd name="T14" fmla="*/ 0 w 101"/>
              <a:gd name="T15" fmla="*/ 3 h 100"/>
              <a:gd name="T16" fmla="*/ 4 w 101"/>
              <a:gd name="T17" fmla="*/ 4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" h="100">
                <a:moveTo>
                  <a:pt x="4" y="4"/>
                </a:moveTo>
                <a:cubicBezTo>
                  <a:pt x="97" y="97"/>
                  <a:pt x="97" y="97"/>
                  <a:pt x="97" y="97"/>
                </a:cubicBezTo>
                <a:cubicBezTo>
                  <a:pt x="97" y="97"/>
                  <a:pt x="98" y="99"/>
                  <a:pt x="97" y="100"/>
                </a:cubicBezTo>
                <a:cubicBezTo>
                  <a:pt x="98" y="100"/>
                  <a:pt x="99" y="100"/>
                  <a:pt x="99" y="99"/>
                </a:cubicBezTo>
                <a:cubicBezTo>
                  <a:pt x="101" y="98"/>
                  <a:pt x="101" y="95"/>
                  <a:pt x="99" y="94"/>
                </a:cubicBezTo>
                <a:cubicBezTo>
                  <a:pt x="7" y="1"/>
                  <a:pt x="7" y="1"/>
                  <a:pt x="7" y="1"/>
                </a:cubicBezTo>
                <a:cubicBezTo>
                  <a:pt x="5" y="0"/>
                  <a:pt x="3" y="0"/>
                  <a:pt x="1" y="1"/>
                </a:cubicBezTo>
                <a:cubicBezTo>
                  <a:pt x="1" y="2"/>
                  <a:pt x="1" y="2"/>
                  <a:pt x="0" y="3"/>
                </a:cubicBezTo>
                <a:cubicBezTo>
                  <a:pt x="2" y="3"/>
                  <a:pt x="3" y="3"/>
                  <a:pt x="4" y="4"/>
                </a:cubicBezTo>
                <a:close/>
              </a:path>
            </a:pathLst>
          </a:custGeom>
          <a:solidFill>
            <a:srgbClr val="CBCB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4" name="ïSľíḍê">
            <a:extLst>
              <a:ext uri="{FF2B5EF4-FFF2-40B4-BE49-F238E27FC236}">
                <a16:creationId xmlns:a16="http://schemas.microsoft.com/office/drawing/2014/main" id="{BF7660A1-7F4E-4EF6-B4B7-62C3FECB764F}"/>
              </a:ext>
            </a:extLst>
          </p:cNvPr>
          <p:cNvSpPr/>
          <p:nvPr/>
        </p:nvSpPr>
        <p:spPr bwMode="auto">
          <a:xfrm>
            <a:off x="7475300" y="4607045"/>
            <a:ext cx="95250" cy="96838"/>
          </a:xfrm>
          <a:custGeom>
            <a:avLst/>
            <a:gdLst>
              <a:gd name="T0" fmla="*/ 0 w 60"/>
              <a:gd name="T1" fmla="*/ 50 h 61"/>
              <a:gd name="T2" fmla="*/ 52 w 60"/>
              <a:gd name="T3" fmla="*/ 0 h 61"/>
              <a:gd name="T4" fmla="*/ 60 w 60"/>
              <a:gd name="T5" fmla="*/ 9 h 61"/>
              <a:gd name="T6" fmla="*/ 10 w 60"/>
              <a:gd name="T7" fmla="*/ 61 h 61"/>
              <a:gd name="T8" fmla="*/ 0 w 60"/>
              <a:gd name="T9" fmla="*/ 5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61">
                <a:moveTo>
                  <a:pt x="0" y="50"/>
                </a:moveTo>
                <a:lnTo>
                  <a:pt x="52" y="0"/>
                </a:lnTo>
                <a:lnTo>
                  <a:pt x="60" y="9"/>
                </a:lnTo>
                <a:lnTo>
                  <a:pt x="10" y="61"/>
                </a:lnTo>
                <a:lnTo>
                  <a:pt x="0" y="50"/>
                </a:lnTo>
                <a:close/>
              </a:path>
            </a:pathLst>
          </a:custGeom>
          <a:solidFill>
            <a:srgbClr val="CBCB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5" name="îšḷíḍê">
            <a:extLst>
              <a:ext uri="{FF2B5EF4-FFF2-40B4-BE49-F238E27FC236}">
                <a16:creationId xmlns:a16="http://schemas.microsoft.com/office/drawing/2014/main" id="{58604A43-A12A-4E07-8C69-25DF253A5A91}"/>
              </a:ext>
            </a:extLst>
          </p:cNvPr>
          <p:cNvSpPr/>
          <p:nvPr/>
        </p:nvSpPr>
        <p:spPr bwMode="auto">
          <a:xfrm>
            <a:off x="7488000" y="4621333"/>
            <a:ext cx="82550" cy="82550"/>
          </a:xfrm>
          <a:custGeom>
            <a:avLst/>
            <a:gdLst>
              <a:gd name="T0" fmla="*/ 0 w 52"/>
              <a:gd name="T1" fmla="*/ 50 h 52"/>
              <a:gd name="T2" fmla="*/ 52 w 52"/>
              <a:gd name="T3" fmla="*/ 0 h 52"/>
              <a:gd name="T4" fmla="*/ 52 w 52"/>
              <a:gd name="T5" fmla="*/ 0 h 52"/>
              <a:gd name="T6" fmla="*/ 2 w 52"/>
              <a:gd name="T7" fmla="*/ 52 h 52"/>
              <a:gd name="T8" fmla="*/ 0 w 52"/>
              <a:gd name="T9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52">
                <a:moveTo>
                  <a:pt x="0" y="50"/>
                </a:moveTo>
                <a:lnTo>
                  <a:pt x="52" y="0"/>
                </a:lnTo>
                <a:lnTo>
                  <a:pt x="52" y="0"/>
                </a:lnTo>
                <a:lnTo>
                  <a:pt x="2" y="52"/>
                </a:lnTo>
                <a:lnTo>
                  <a:pt x="0" y="50"/>
                </a:lnTo>
                <a:close/>
              </a:path>
            </a:pathLst>
          </a:custGeom>
          <a:solidFill>
            <a:srgbClr val="DDDC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6" name="iṣľide">
            <a:extLst>
              <a:ext uri="{FF2B5EF4-FFF2-40B4-BE49-F238E27FC236}">
                <a16:creationId xmlns:a16="http://schemas.microsoft.com/office/drawing/2014/main" id="{8657D0E0-2E17-4A24-8598-0D8BD8FA99E6}"/>
              </a:ext>
            </a:extLst>
          </p:cNvPr>
          <p:cNvSpPr/>
          <p:nvPr/>
        </p:nvSpPr>
        <p:spPr bwMode="auto">
          <a:xfrm>
            <a:off x="7475300" y="4607045"/>
            <a:ext cx="82550" cy="82550"/>
          </a:xfrm>
          <a:custGeom>
            <a:avLst/>
            <a:gdLst>
              <a:gd name="T0" fmla="*/ 0 w 52"/>
              <a:gd name="T1" fmla="*/ 50 h 52"/>
              <a:gd name="T2" fmla="*/ 52 w 52"/>
              <a:gd name="T3" fmla="*/ 0 h 52"/>
              <a:gd name="T4" fmla="*/ 52 w 52"/>
              <a:gd name="T5" fmla="*/ 0 h 52"/>
              <a:gd name="T6" fmla="*/ 2 w 52"/>
              <a:gd name="T7" fmla="*/ 52 h 52"/>
              <a:gd name="T8" fmla="*/ 0 w 52"/>
              <a:gd name="T9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52">
                <a:moveTo>
                  <a:pt x="0" y="50"/>
                </a:moveTo>
                <a:lnTo>
                  <a:pt x="52" y="0"/>
                </a:lnTo>
                <a:lnTo>
                  <a:pt x="52" y="0"/>
                </a:lnTo>
                <a:lnTo>
                  <a:pt x="2" y="52"/>
                </a:lnTo>
                <a:lnTo>
                  <a:pt x="0" y="50"/>
                </a:lnTo>
                <a:close/>
              </a:path>
            </a:pathLst>
          </a:custGeom>
          <a:solidFill>
            <a:srgbClr val="DDDC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7" name="iŝḻiḋe">
            <a:extLst>
              <a:ext uri="{FF2B5EF4-FFF2-40B4-BE49-F238E27FC236}">
                <a16:creationId xmlns:a16="http://schemas.microsoft.com/office/drawing/2014/main" id="{4B8CBF7C-8F50-4716-984C-1A0FE475A4B5}"/>
              </a:ext>
            </a:extLst>
          </p:cNvPr>
          <p:cNvSpPr/>
          <p:nvPr/>
        </p:nvSpPr>
        <p:spPr bwMode="auto">
          <a:xfrm>
            <a:off x="7445138" y="4578470"/>
            <a:ext cx="95250" cy="95250"/>
          </a:xfrm>
          <a:custGeom>
            <a:avLst/>
            <a:gdLst>
              <a:gd name="T0" fmla="*/ 0 w 60"/>
              <a:gd name="T1" fmla="*/ 50 h 60"/>
              <a:gd name="T2" fmla="*/ 52 w 60"/>
              <a:gd name="T3" fmla="*/ 0 h 60"/>
              <a:gd name="T4" fmla="*/ 60 w 60"/>
              <a:gd name="T5" fmla="*/ 8 h 60"/>
              <a:gd name="T6" fmla="*/ 10 w 60"/>
              <a:gd name="T7" fmla="*/ 60 h 60"/>
              <a:gd name="T8" fmla="*/ 0 w 60"/>
              <a:gd name="T9" fmla="*/ 5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60">
                <a:moveTo>
                  <a:pt x="0" y="50"/>
                </a:moveTo>
                <a:lnTo>
                  <a:pt x="52" y="0"/>
                </a:lnTo>
                <a:lnTo>
                  <a:pt x="60" y="8"/>
                </a:lnTo>
                <a:lnTo>
                  <a:pt x="10" y="60"/>
                </a:lnTo>
                <a:lnTo>
                  <a:pt x="0" y="50"/>
                </a:lnTo>
                <a:close/>
              </a:path>
            </a:pathLst>
          </a:custGeom>
          <a:solidFill>
            <a:srgbClr val="CBCB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8" name="îš1íďé">
            <a:extLst>
              <a:ext uri="{FF2B5EF4-FFF2-40B4-BE49-F238E27FC236}">
                <a16:creationId xmlns:a16="http://schemas.microsoft.com/office/drawing/2014/main" id="{954FDF24-04C8-4203-BA68-20B3E9D766D4}"/>
              </a:ext>
            </a:extLst>
          </p:cNvPr>
          <p:cNvSpPr/>
          <p:nvPr/>
        </p:nvSpPr>
        <p:spPr bwMode="auto">
          <a:xfrm>
            <a:off x="7457838" y="4591170"/>
            <a:ext cx="82550" cy="82550"/>
          </a:xfrm>
          <a:custGeom>
            <a:avLst/>
            <a:gdLst>
              <a:gd name="T0" fmla="*/ 0 w 52"/>
              <a:gd name="T1" fmla="*/ 50 h 52"/>
              <a:gd name="T2" fmla="*/ 50 w 52"/>
              <a:gd name="T3" fmla="*/ 0 h 52"/>
              <a:gd name="T4" fmla="*/ 52 w 52"/>
              <a:gd name="T5" fmla="*/ 0 h 52"/>
              <a:gd name="T6" fmla="*/ 2 w 52"/>
              <a:gd name="T7" fmla="*/ 52 h 52"/>
              <a:gd name="T8" fmla="*/ 0 w 52"/>
              <a:gd name="T9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52">
                <a:moveTo>
                  <a:pt x="0" y="50"/>
                </a:moveTo>
                <a:lnTo>
                  <a:pt x="50" y="0"/>
                </a:lnTo>
                <a:lnTo>
                  <a:pt x="52" y="0"/>
                </a:lnTo>
                <a:lnTo>
                  <a:pt x="2" y="52"/>
                </a:lnTo>
                <a:lnTo>
                  <a:pt x="0" y="50"/>
                </a:lnTo>
                <a:close/>
              </a:path>
            </a:pathLst>
          </a:custGeom>
          <a:solidFill>
            <a:srgbClr val="DDDC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9" name="íṧḻîdê">
            <a:extLst>
              <a:ext uri="{FF2B5EF4-FFF2-40B4-BE49-F238E27FC236}">
                <a16:creationId xmlns:a16="http://schemas.microsoft.com/office/drawing/2014/main" id="{76834681-95AD-4217-9B07-4C3607AE0B00}"/>
              </a:ext>
            </a:extLst>
          </p:cNvPr>
          <p:cNvSpPr/>
          <p:nvPr/>
        </p:nvSpPr>
        <p:spPr bwMode="auto">
          <a:xfrm>
            <a:off x="7445138" y="4578470"/>
            <a:ext cx="82550" cy="82550"/>
          </a:xfrm>
          <a:custGeom>
            <a:avLst/>
            <a:gdLst>
              <a:gd name="T0" fmla="*/ 0 w 52"/>
              <a:gd name="T1" fmla="*/ 50 h 52"/>
              <a:gd name="T2" fmla="*/ 52 w 52"/>
              <a:gd name="T3" fmla="*/ 0 h 52"/>
              <a:gd name="T4" fmla="*/ 52 w 52"/>
              <a:gd name="T5" fmla="*/ 0 h 52"/>
              <a:gd name="T6" fmla="*/ 2 w 52"/>
              <a:gd name="T7" fmla="*/ 52 h 52"/>
              <a:gd name="T8" fmla="*/ 0 w 52"/>
              <a:gd name="T9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52">
                <a:moveTo>
                  <a:pt x="0" y="50"/>
                </a:moveTo>
                <a:lnTo>
                  <a:pt x="52" y="0"/>
                </a:lnTo>
                <a:lnTo>
                  <a:pt x="52" y="0"/>
                </a:lnTo>
                <a:lnTo>
                  <a:pt x="2" y="52"/>
                </a:lnTo>
                <a:lnTo>
                  <a:pt x="0" y="50"/>
                </a:lnTo>
                <a:close/>
              </a:path>
            </a:pathLst>
          </a:custGeom>
          <a:solidFill>
            <a:srgbClr val="DDDC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0" name="íşļîdé">
            <a:extLst>
              <a:ext uri="{FF2B5EF4-FFF2-40B4-BE49-F238E27FC236}">
                <a16:creationId xmlns:a16="http://schemas.microsoft.com/office/drawing/2014/main" id="{CAF4AC75-E236-4803-B7E1-68F700A5B897}"/>
              </a:ext>
            </a:extLst>
          </p:cNvPr>
          <p:cNvSpPr/>
          <p:nvPr/>
        </p:nvSpPr>
        <p:spPr bwMode="auto">
          <a:xfrm>
            <a:off x="7511813" y="4643558"/>
            <a:ext cx="180975" cy="182563"/>
          </a:xfrm>
          <a:custGeom>
            <a:avLst/>
            <a:gdLst>
              <a:gd name="T0" fmla="*/ 114 w 114"/>
              <a:gd name="T1" fmla="*/ 115 h 115"/>
              <a:gd name="T2" fmla="*/ 87 w 114"/>
              <a:gd name="T3" fmla="*/ 27 h 115"/>
              <a:gd name="T4" fmla="*/ 51 w 114"/>
              <a:gd name="T5" fmla="*/ 0 h 115"/>
              <a:gd name="T6" fmla="*/ 27 w 114"/>
              <a:gd name="T7" fmla="*/ 25 h 115"/>
              <a:gd name="T8" fmla="*/ 0 w 114"/>
              <a:gd name="T9" fmla="*/ 52 h 115"/>
              <a:gd name="T10" fmla="*/ 27 w 114"/>
              <a:gd name="T11" fmla="*/ 86 h 115"/>
              <a:gd name="T12" fmla="*/ 114 w 114"/>
              <a:gd name="T13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115">
                <a:moveTo>
                  <a:pt x="114" y="115"/>
                </a:moveTo>
                <a:lnTo>
                  <a:pt x="87" y="27"/>
                </a:lnTo>
                <a:lnTo>
                  <a:pt x="51" y="0"/>
                </a:lnTo>
                <a:lnTo>
                  <a:pt x="27" y="25"/>
                </a:lnTo>
                <a:lnTo>
                  <a:pt x="0" y="52"/>
                </a:lnTo>
                <a:lnTo>
                  <a:pt x="27" y="86"/>
                </a:lnTo>
                <a:lnTo>
                  <a:pt x="114" y="115"/>
                </a:lnTo>
                <a:close/>
              </a:path>
            </a:pathLst>
          </a:cu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1" name="îşľïďe">
            <a:extLst>
              <a:ext uri="{FF2B5EF4-FFF2-40B4-BE49-F238E27FC236}">
                <a16:creationId xmlns:a16="http://schemas.microsoft.com/office/drawing/2014/main" id="{48A26757-F59C-4BC2-A785-E23CA350E730}"/>
              </a:ext>
            </a:extLst>
          </p:cNvPr>
          <p:cNvSpPr/>
          <p:nvPr/>
        </p:nvSpPr>
        <p:spPr bwMode="auto">
          <a:xfrm>
            <a:off x="7511813" y="4643558"/>
            <a:ext cx="180975" cy="182563"/>
          </a:xfrm>
          <a:custGeom>
            <a:avLst/>
            <a:gdLst>
              <a:gd name="T0" fmla="*/ 114 w 114"/>
              <a:gd name="T1" fmla="*/ 115 h 115"/>
              <a:gd name="T2" fmla="*/ 87 w 114"/>
              <a:gd name="T3" fmla="*/ 27 h 115"/>
              <a:gd name="T4" fmla="*/ 51 w 114"/>
              <a:gd name="T5" fmla="*/ 0 h 115"/>
              <a:gd name="T6" fmla="*/ 27 w 114"/>
              <a:gd name="T7" fmla="*/ 25 h 115"/>
              <a:gd name="T8" fmla="*/ 0 w 114"/>
              <a:gd name="T9" fmla="*/ 52 h 115"/>
              <a:gd name="T10" fmla="*/ 27 w 114"/>
              <a:gd name="T11" fmla="*/ 86 h 115"/>
              <a:gd name="T12" fmla="*/ 114 w 114"/>
              <a:gd name="T13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115">
                <a:moveTo>
                  <a:pt x="114" y="115"/>
                </a:moveTo>
                <a:lnTo>
                  <a:pt x="87" y="27"/>
                </a:lnTo>
                <a:lnTo>
                  <a:pt x="51" y="0"/>
                </a:lnTo>
                <a:lnTo>
                  <a:pt x="27" y="25"/>
                </a:lnTo>
                <a:lnTo>
                  <a:pt x="0" y="52"/>
                </a:lnTo>
                <a:lnTo>
                  <a:pt x="27" y="86"/>
                </a:lnTo>
                <a:lnTo>
                  <a:pt x="114" y="1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2" name="ïŝ1îḑè">
            <a:extLst>
              <a:ext uri="{FF2B5EF4-FFF2-40B4-BE49-F238E27FC236}">
                <a16:creationId xmlns:a16="http://schemas.microsoft.com/office/drawing/2014/main" id="{61F7A710-4B69-46B6-8152-A6364385B82E}"/>
              </a:ext>
            </a:extLst>
          </p:cNvPr>
          <p:cNvSpPr/>
          <p:nvPr/>
        </p:nvSpPr>
        <p:spPr bwMode="auto">
          <a:xfrm>
            <a:off x="7640400" y="4680070"/>
            <a:ext cx="52388" cy="146050"/>
          </a:xfrm>
          <a:custGeom>
            <a:avLst/>
            <a:gdLst>
              <a:gd name="T0" fmla="*/ 18 w 33"/>
              <a:gd name="T1" fmla="*/ 88 h 92"/>
              <a:gd name="T2" fmla="*/ 18 w 33"/>
              <a:gd name="T3" fmla="*/ 88 h 92"/>
              <a:gd name="T4" fmla="*/ 33 w 33"/>
              <a:gd name="T5" fmla="*/ 92 h 92"/>
              <a:gd name="T6" fmla="*/ 18 w 33"/>
              <a:gd name="T7" fmla="*/ 88 h 92"/>
              <a:gd name="T8" fmla="*/ 0 w 33"/>
              <a:gd name="T9" fmla="*/ 0 h 92"/>
              <a:gd name="T10" fmla="*/ 0 w 33"/>
              <a:gd name="T11" fmla="*/ 0 h 92"/>
              <a:gd name="T12" fmla="*/ 6 w 33"/>
              <a:gd name="T13" fmla="*/ 4 h 92"/>
              <a:gd name="T14" fmla="*/ 33 w 33"/>
              <a:gd name="T15" fmla="*/ 92 h 92"/>
              <a:gd name="T16" fmla="*/ 6 w 33"/>
              <a:gd name="T17" fmla="*/ 4 h 92"/>
              <a:gd name="T18" fmla="*/ 0 w 33"/>
              <a:gd name="T1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92">
                <a:moveTo>
                  <a:pt x="18" y="88"/>
                </a:moveTo>
                <a:lnTo>
                  <a:pt x="18" y="88"/>
                </a:lnTo>
                <a:lnTo>
                  <a:pt x="33" y="92"/>
                </a:lnTo>
                <a:lnTo>
                  <a:pt x="18" y="88"/>
                </a:lnTo>
                <a:close/>
                <a:moveTo>
                  <a:pt x="0" y="0"/>
                </a:moveTo>
                <a:lnTo>
                  <a:pt x="0" y="0"/>
                </a:lnTo>
                <a:lnTo>
                  <a:pt x="6" y="4"/>
                </a:lnTo>
                <a:lnTo>
                  <a:pt x="33" y="92"/>
                </a:lnTo>
                <a:lnTo>
                  <a:pt x="6" y="4"/>
                </a:lnTo>
                <a:lnTo>
                  <a:pt x="0" y="0"/>
                </a:lnTo>
                <a:close/>
              </a:path>
            </a:pathLst>
          </a:custGeom>
          <a:solidFill>
            <a:srgbClr val="FDF4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3" name="iṣḷíďè">
            <a:extLst>
              <a:ext uri="{FF2B5EF4-FFF2-40B4-BE49-F238E27FC236}">
                <a16:creationId xmlns:a16="http://schemas.microsoft.com/office/drawing/2014/main" id="{1A41A44D-3F16-4AAA-85F3-C6F00A6CF34A}"/>
              </a:ext>
            </a:extLst>
          </p:cNvPr>
          <p:cNvSpPr/>
          <p:nvPr/>
        </p:nvSpPr>
        <p:spPr bwMode="auto">
          <a:xfrm>
            <a:off x="7640400" y="4680070"/>
            <a:ext cx="52388" cy="146050"/>
          </a:xfrm>
          <a:custGeom>
            <a:avLst/>
            <a:gdLst>
              <a:gd name="T0" fmla="*/ 18 w 33"/>
              <a:gd name="T1" fmla="*/ 88 h 92"/>
              <a:gd name="T2" fmla="*/ 18 w 33"/>
              <a:gd name="T3" fmla="*/ 88 h 92"/>
              <a:gd name="T4" fmla="*/ 33 w 33"/>
              <a:gd name="T5" fmla="*/ 92 h 92"/>
              <a:gd name="T6" fmla="*/ 18 w 33"/>
              <a:gd name="T7" fmla="*/ 88 h 92"/>
              <a:gd name="T8" fmla="*/ 0 w 33"/>
              <a:gd name="T9" fmla="*/ 0 h 92"/>
              <a:gd name="T10" fmla="*/ 0 w 33"/>
              <a:gd name="T11" fmla="*/ 0 h 92"/>
              <a:gd name="T12" fmla="*/ 6 w 33"/>
              <a:gd name="T13" fmla="*/ 4 h 92"/>
              <a:gd name="T14" fmla="*/ 33 w 33"/>
              <a:gd name="T15" fmla="*/ 92 h 92"/>
              <a:gd name="T16" fmla="*/ 6 w 33"/>
              <a:gd name="T17" fmla="*/ 4 h 92"/>
              <a:gd name="T18" fmla="*/ 0 w 33"/>
              <a:gd name="T1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92">
                <a:moveTo>
                  <a:pt x="18" y="88"/>
                </a:moveTo>
                <a:lnTo>
                  <a:pt x="18" y="88"/>
                </a:lnTo>
                <a:lnTo>
                  <a:pt x="33" y="92"/>
                </a:lnTo>
                <a:lnTo>
                  <a:pt x="18" y="88"/>
                </a:lnTo>
                <a:moveTo>
                  <a:pt x="0" y="0"/>
                </a:moveTo>
                <a:lnTo>
                  <a:pt x="0" y="0"/>
                </a:lnTo>
                <a:lnTo>
                  <a:pt x="6" y="4"/>
                </a:lnTo>
                <a:lnTo>
                  <a:pt x="33" y="92"/>
                </a:lnTo>
                <a:lnTo>
                  <a:pt x="6" y="4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4" name="ïṡḻiďé">
            <a:extLst>
              <a:ext uri="{FF2B5EF4-FFF2-40B4-BE49-F238E27FC236}">
                <a16:creationId xmlns:a16="http://schemas.microsoft.com/office/drawing/2014/main" id="{E5E4BB37-73E2-4E6C-82B6-8D3956D6C315}"/>
              </a:ext>
            </a:extLst>
          </p:cNvPr>
          <p:cNvSpPr/>
          <p:nvPr/>
        </p:nvSpPr>
        <p:spPr bwMode="auto">
          <a:xfrm>
            <a:off x="7583250" y="4643558"/>
            <a:ext cx="109538" cy="182563"/>
          </a:xfrm>
          <a:custGeom>
            <a:avLst/>
            <a:gdLst>
              <a:gd name="T0" fmla="*/ 6 w 69"/>
              <a:gd name="T1" fmla="*/ 0 h 115"/>
              <a:gd name="T2" fmla="*/ 6 w 69"/>
              <a:gd name="T3" fmla="*/ 0 h 115"/>
              <a:gd name="T4" fmla="*/ 0 w 69"/>
              <a:gd name="T5" fmla="*/ 7 h 115"/>
              <a:gd name="T6" fmla="*/ 29 w 69"/>
              <a:gd name="T7" fmla="*/ 29 h 115"/>
              <a:gd name="T8" fmla="*/ 54 w 69"/>
              <a:gd name="T9" fmla="*/ 111 h 115"/>
              <a:gd name="T10" fmla="*/ 69 w 69"/>
              <a:gd name="T11" fmla="*/ 115 h 115"/>
              <a:gd name="T12" fmla="*/ 42 w 69"/>
              <a:gd name="T13" fmla="*/ 27 h 115"/>
              <a:gd name="T14" fmla="*/ 36 w 69"/>
              <a:gd name="T15" fmla="*/ 23 h 115"/>
              <a:gd name="T16" fmla="*/ 6 w 69"/>
              <a:gd name="T17" fmla="*/ 0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115">
                <a:moveTo>
                  <a:pt x="6" y="0"/>
                </a:moveTo>
                <a:lnTo>
                  <a:pt x="6" y="0"/>
                </a:lnTo>
                <a:lnTo>
                  <a:pt x="0" y="7"/>
                </a:lnTo>
                <a:lnTo>
                  <a:pt x="29" y="29"/>
                </a:lnTo>
                <a:lnTo>
                  <a:pt x="54" y="111"/>
                </a:lnTo>
                <a:lnTo>
                  <a:pt x="69" y="115"/>
                </a:lnTo>
                <a:lnTo>
                  <a:pt x="42" y="27"/>
                </a:lnTo>
                <a:lnTo>
                  <a:pt x="36" y="23"/>
                </a:lnTo>
                <a:lnTo>
                  <a:pt x="6" y="0"/>
                </a:lnTo>
                <a:close/>
              </a:path>
            </a:pathLst>
          </a:custGeom>
          <a:solidFill>
            <a:srgbClr val="F9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5" name="ïṣľîḓe">
            <a:extLst>
              <a:ext uri="{FF2B5EF4-FFF2-40B4-BE49-F238E27FC236}">
                <a16:creationId xmlns:a16="http://schemas.microsoft.com/office/drawing/2014/main" id="{08D58196-7B84-4C45-8C73-3BB058605449}"/>
              </a:ext>
            </a:extLst>
          </p:cNvPr>
          <p:cNvSpPr/>
          <p:nvPr/>
        </p:nvSpPr>
        <p:spPr bwMode="auto">
          <a:xfrm>
            <a:off x="7583250" y="4643558"/>
            <a:ext cx="109538" cy="182563"/>
          </a:xfrm>
          <a:custGeom>
            <a:avLst/>
            <a:gdLst>
              <a:gd name="T0" fmla="*/ 6 w 69"/>
              <a:gd name="T1" fmla="*/ 0 h 115"/>
              <a:gd name="T2" fmla="*/ 6 w 69"/>
              <a:gd name="T3" fmla="*/ 0 h 115"/>
              <a:gd name="T4" fmla="*/ 0 w 69"/>
              <a:gd name="T5" fmla="*/ 7 h 115"/>
              <a:gd name="T6" fmla="*/ 29 w 69"/>
              <a:gd name="T7" fmla="*/ 29 h 115"/>
              <a:gd name="T8" fmla="*/ 54 w 69"/>
              <a:gd name="T9" fmla="*/ 111 h 115"/>
              <a:gd name="T10" fmla="*/ 69 w 69"/>
              <a:gd name="T11" fmla="*/ 115 h 115"/>
              <a:gd name="T12" fmla="*/ 42 w 69"/>
              <a:gd name="T13" fmla="*/ 27 h 115"/>
              <a:gd name="T14" fmla="*/ 36 w 69"/>
              <a:gd name="T15" fmla="*/ 23 h 115"/>
              <a:gd name="T16" fmla="*/ 6 w 69"/>
              <a:gd name="T17" fmla="*/ 0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115">
                <a:moveTo>
                  <a:pt x="6" y="0"/>
                </a:moveTo>
                <a:lnTo>
                  <a:pt x="6" y="0"/>
                </a:lnTo>
                <a:lnTo>
                  <a:pt x="0" y="7"/>
                </a:lnTo>
                <a:lnTo>
                  <a:pt x="29" y="29"/>
                </a:lnTo>
                <a:lnTo>
                  <a:pt x="54" y="111"/>
                </a:lnTo>
                <a:lnTo>
                  <a:pt x="69" y="115"/>
                </a:lnTo>
                <a:lnTo>
                  <a:pt x="42" y="27"/>
                </a:lnTo>
                <a:lnTo>
                  <a:pt x="36" y="23"/>
                </a:lnTo>
                <a:lnTo>
                  <a:pt x="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6" name="îṩļíḑè">
            <a:extLst>
              <a:ext uri="{FF2B5EF4-FFF2-40B4-BE49-F238E27FC236}">
                <a16:creationId xmlns:a16="http://schemas.microsoft.com/office/drawing/2014/main" id="{CFF63F48-66C3-4153-B76E-4991C975E89A}"/>
              </a:ext>
            </a:extLst>
          </p:cNvPr>
          <p:cNvSpPr/>
          <p:nvPr/>
        </p:nvSpPr>
        <p:spPr bwMode="auto">
          <a:xfrm>
            <a:off x="7619763" y="4753095"/>
            <a:ext cx="66675" cy="61913"/>
          </a:xfrm>
          <a:custGeom>
            <a:avLst/>
            <a:gdLst>
              <a:gd name="T0" fmla="*/ 0 w 42"/>
              <a:gd name="T1" fmla="*/ 2 h 39"/>
              <a:gd name="T2" fmla="*/ 2 w 42"/>
              <a:gd name="T3" fmla="*/ 0 h 39"/>
              <a:gd name="T4" fmla="*/ 2 w 42"/>
              <a:gd name="T5" fmla="*/ 0 h 39"/>
              <a:gd name="T6" fmla="*/ 42 w 42"/>
              <a:gd name="T7" fmla="*/ 39 h 39"/>
              <a:gd name="T8" fmla="*/ 42 w 42"/>
              <a:gd name="T9" fmla="*/ 39 h 39"/>
              <a:gd name="T10" fmla="*/ 40 w 42"/>
              <a:gd name="T11" fmla="*/ 39 h 39"/>
              <a:gd name="T12" fmla="*/ 0 w 42"/>
              <a:gd name="T13" fmla="*/ 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39">
                <a:moveTo>
                  <a:pt x="0" y="2"/>
                </a:moveTo>
                <a:lnTo>
                  <a:pt x="2" y="0"/>
                </a:lnTo>
                <a:lnTo>
                  <a:pt x="2" y="0"/>
                </a:lnTo>
                <a:lnTo>
                  <a:pt x="42" y="39"/>
                </a:lnTo>
                <a:lnTo>
                  <a:pt x="42" y="39"/>
                </a:lnTo>
                <a:lnTo>
                  <a:pt x="40" y="39"/>
                </a:lnTo>
                <a:lnTo>
                  <a:pt x="0" y="2"/>
                </a:lnTo>
                <a:close/>
              </a:path>
            </a:pathLst>
          </a:custGeom>
          <a:solidFill>
            <a:srgbClr val="979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7" name="îṣḻïḑè">
            <a:extLst>
              <a:ext uri="{FF2B5EF4-FFF2-40B4-BE49-F238E27FC236}">
                <a16:creationId xmlns:a16="http://schemas.microsoft.com/office/drawing/2014/main" id="{50A3925D-0A05-4FA7-973C-CFCF4F13E7B5}"/>
              </a:ext>
            </a:extLst>
          </p:cNvPr>
          <p:cNvSpPr/>
          <p:nvPr/>
        </p:nvSpPr>
        <p:spPr bwMode="auto">
          <a:xfrm>
            <a:off x="7613413" y="4743570"/>
            <a:ext cx="15875" cy="19050"/>
          </a:xfrm>
          <a:custGeom>
            <a:avLst/>
            <a:gdLst>
              <a:gd name="T0" fmla="*/ 1 w 5"/>
              <a:gd name="T1" fmla="*/ 5 h 6"/>
              <a:gd name="T2" fmla="*/ 1 w 5"/>
              <a:gd name="T3" fmla="*/ 1 h 6"/>
              <a:gd name="T4" fmla="*/ 4 w 5"/>
              <a:gd name="T5" fmla="*/ 1 h 6"/>
              <a:gd name="T6" fmla="*/ 4 w 5"/>
              <a:gd name="T7" fmla="*/ 5 h 6"/>
              <a:gd name="T8" fmla="*/ 1 w 5"/>
              <a:gd name="T9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6">
                <a:moveTo>
                  <a:pt x="1" y="5"/>
                </a:moveTo>
                <a:cubicBezTo>
                  <a:pt x="0" y="4"/>
                  <a:pt x="0" y="2"/>
                  <a:pt x="1" y="1"/>
                </a:cubicBezTo>
                <a:cubicBezTo>
                  <a:pt x="2" y="0"/>
                  <a:pt x="3" y="0"/>
                  <a:pt x="4" y="1"/>
                </a:cubicBezTo>
                <a:cubicBezTo>
                  <a:pt x="5" y="2"/>
                  <a:pt x="5" y="4"/>
                  <a:pt x="4" y="5"/>
                </a:cubicBezTo>
                <a:cubicBezTo>
                  <a:pt x="3" y="6"/>
                  <a:pt x="2" y="6"/>
                  <a:pt x="1" y="5"/>
                </a:cubicBezTo>
                <a:close/>
              </a:path>
            </a:pathLst>
          </a:custGeom>
          <a:solidFill>
            <a:srgbClr val="9799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" name="íṧlîḑé">
            <a:extLst>
              <a:ext uri="{FF2B5EF4-FFF2-40B4-BE49-F238E27FC236}">
                <a16:creationId xmlns:a16="http://schemas.microsoft.com/office/drawing/2014/main" id="{C1602EFF-06FF-4B8F-8C5E-CF53F5F660DE}"/>
              </a:ext>
            </a:extLst>
          </p:cNvPr>
          <p:cNvSpPr/>
          <p:nvPr/>
        </p:nvSpPr>
        <p:spPr>
          <a:xfrm>
            <a:off x="762366" y="4836168"/>
            <a:ext cx="2232248" cy="478544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</p:txBody>
      </p:sp>
      <p:sp>
        <p:nvSpPr>
          <p:cNvPr id="17" name="i$1iḓé">
            <a:extLst>
              <a:ext uri="{FF2B5EF4-FFF2-40B4-BE49-F238E27FC236}">
                <a16:creationId xmlns:a16="http://schemas.microsoft.com/office/drawing/2014/main" id="{4ACEBE81-88A6-445B-99C1-96E8543BE244}"/>
              </a:ext>
            </a:extLst>
          </p:cNvPr>
          <p:cNvSpPr/>
          <p:nvPr/>
        </p:nvSpPr>
        <p:spPr>
          <a:xfrm>
            <a:off x="762366" y="4213270"/>
            <a:ext cx="1680474" cy="672131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/>
          <a:p>
            <a:r>
              <a:rPr lang="en-US" altLang="zh-CN" sz="3600" dirty="0">
                <a:solidFill>
                  <a:schemeClr val="accent1">
                    <a:lumMod val="100000"/>
                  </a:schemeClr>
                </a:solidFill>
                <a:effectLst/>
                <a:latin typeface="Impact" panose="020B0806030902050204" pitchFamily="34" charset="0"/>
              </a:rPr>
              <a:t>45%</a:t>
            </a:r>
          </a:p>
        </p:txBody>
      </p:sp>
      <p:sp>
        <p:nvSpPr>
          <p:cNvPr id="18" name="îṡ1ïdè">
            <a:extLst>
              <a:ext uri="{FF2B5EF4-FFF2-40B4-BE49-F238E27FC236}">
                <a16:creationId xmlns:a16="http://schemas.microsoft.com/office/drawing/2014/main" id="{C3E680EE-2C14-436D-AD1A-3811CB790492}"/>
              </a:ext>
            </a:extLst>
          </p:cNvPr>
          <p:cNvSpPr/>
          <p:nvPr/>
        </p:nvSpPr>
        <p:spPr>
          <a:xfrm>
            <a:off x="1784319" y="4452012"/>
            <a:ext cx="1210296" cy="263902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/>
          <a:p>
            <a:pPr algn="r"/>
            <a:r>
              <a:rPr lang="en-US" altLang="zh-CN" sz="1400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3" name="ï$ḻïďe">
            <a:extLst>
              <a:ext uri="{FF2B5EF4-FFF2-40B4-BE49-F238E27FC236}">
                <a16:creationId xmlns:a16="http://schemas.microsoft.com/office/drawing/2014/main" id="{6C2FC296-C465-4FF0-8F27-99B52DC3BAC4}"/>
              </a:ext>
            </a:extLst>
          </p:cNvPr>
          <p:cNvSpPr/>
          <p:nvPr/>
        </p:nvSpPr>
        <p:spPr>
          <a:xfrm>
            <a:off x="4276501" y="4836168"/>
            <a:ext cx="2232248" cy="478544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</p:txBody>
      </p:sp>
      <p:sp>
        <p:nvSpPr>
          <p:cNvPr id="14" name="ïṣḻíḑe">
            <a:extLst>
              <a:ext uri="{FF2B5EF4-FFF2-40B4-BE49-F238E27FC236}">
                <a16:creationId xmlns:a16="http://schemas.microsoft.com/office/drawing/2014/main" id="{DCA7F335-FC47-4290-A803-2A9B497C3494}"/>
              </a:ext>
            </a:extLst>
          </p:cNvPr>
          <p:cNvSpPr/>
          <p:nvPr/>
        </p:nvSpPr>
        <p:spPr>
          <a:xfrm>
            <a:off x="4276501" y="4213270"/>
            <a:ext cx="1680474" cy="672131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/>
          <a:p>
            <a:r>
              <a:rPr lang="en-US" altLang="zh-CN" sz="3600" dirty="0">
                <a:solidFill>
                  <a:schemeClr val="accent3"/>
                </a:solidFill>
                <a:effectLst/>
                <a:latin typeface="Impact" panose="020B0806030902050204" pitchFamily="34" charset="0"/>
              </a:rPr>
              <a:t>55%</a:t>
            </a:r>
          </a:p>
        </p:txBody>
      </p:sp>
      <p:sp>
        <p:nvSpPr>
          <p:cNvPr id="15" name="îšḷîḓe">
            <a:extLst>
              <a:ext uri="{FF2B5EF4-FFF2-40B4-BE49-F238E27FC236}">
                <a16:creationId xmlns:a16="http://schemas.microsoft.com/office/drawing/2014/main" id="{DA018E95-90BA-4FB9-92FB-C836B539EB42}"/>
              </a:ext>
            </a:extLst>
          </p:cNvPr>
          <p:cNvSpPr/>
          <p:nvPr/>
        </p:nvSpPr>
        <p:spPr>
          <a:xfrm>
            <a:off x="5298454" y="4452012"/>
            <a:ext cx="1210296" cy="263902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/>
          <a:p>
            <a:pPr algn="r"/>
            <a:r>
              <a:rPr lang="en-US" altLang="zh-CN" sz="1400" b="1" dirty="0">
                <a:solidFill>
                  <a:schemeClr val="accent3"/>
                </a:solidFill>
              </a:rPr>
              <a:t>Text here</a:t>
            </a:r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46BD0F67-23E2-4F00-8D60-E08270B544B8}"/>
              </a:ext>
            </a:extLst>
          </p:cNvPr>
          <p:cNvCxnSpPr/>
          <p:nvPr/>
        </p:nvCxnSpPr>
        <p:spPr>
          <a:xfrm>
            <a:off x="3133005" y="4650570"/>
            <a:ext cx="864096" cy="0"/>
          </a:xfrm>
          <a:prstGeom prst="straightConnector1">
            <a:avLst/>
          </a:prstGeom>
          <a:ln w="317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íṡ1ïḍé">
            <a:extLst>
              <a:ext uri="{FF2B5EF4-FFF2-40B4-BE49-F238E27FC236}">
                <a16:creationId xmlns:a16="http://schemas.microsoft.com/office/drawing/2014/main" id="{D267C34B-2FFC-48A9-815A-735424990BB4}"/>
              </a:ext>
            </a:extLst>
          </p:cNvPr>
          <p:cNvSpPr txBox="1"/>
          <p:nvPr/>
        </p:nvSpPr>
        <p:spPr>
          <a:xfrm>
            <a:off x="3076501" y="4192982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anchor="ctr" anchorCtr="0">
            <a:normAutofit/>
          </a:bodyPr>
          <a:lstStyle/>
          <a:p>
            <a:pPr algn="ctr"/>
            <a:r>
              <a:rPr lang="en-US" altLang="zh-CN" sz="1400" b="1" dirty="0"/>
              <a:t>keyword</a:t>
            </a:r>
            <a:endParaRPr lang="zh-CN" altLang="en-US" sz="1400" b="1" dirty="0"/>
          </a:p>
        </p:txBody>
      </p:sp>
      <p:sp>
        <p:nvSpPr>
          <p:cNvPr id="10" name="iṣḷïďè">
            <a:extLst>
              <a:ext uri="{FF2B5EF4-FFF2-40B4-BE49-F238E27FC236}">
                <a16:creationId xmlns:a16="http://schemas.microsoft.com/office/drawing/2014/main" id="{FC699199-ACE3-43FD-A004-542E77F35836}"/>
              </a:ext>
            </a:extLst>
          </p:cNvPr>
          <p:cNvSpPr txBox="1"/>
          <p:nvPr/>
        </p:nvSpPr>
        <p:spPr>
          <a:xfrm>
            <a:off x="695313" y="1193919"/>
            <a:ext cx="5832250" cy="1908176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Unified fonts make reading more fluent.</a:t>
            </a:r>
          </a:p>
          <a:p>
            <a:pPr>
              <a:lnSpc>
                <a:spcPct val="150000"/>
              </a:lnSpc>
            </a:pPr>
            <a:r>
              <a:rPr lang="en-US" altLang="zh-CN" sz="1700" b="1" dirty="0"/>
              <a:t>Theme color makes PPT more convenient to change.</a:t>
            </a:r>
          </a:p>
          <a:p>
            <a:pPr>
              <a:lnSpc>
                <a:spcPct val="150000"/>
              </a:lnSpc>
            </a:pPr>
            <a:r>
              <a:rPr lang="en-US" altLang="zh-CN" sz="1400" dirty="0"/>
              <a:t>Adjust the spacing to adapt to Chinese typesetting, use the reference line in PPT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165799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1284" y="2419538"/>
            <a:ext cx="5013901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研究成果与应用前景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00" y="3314888"/>
            <a:ext cx="5013901" cy="1015623"/>
          </a:xfrm>
        </p:spPr>
        <p:txBody>
          <a:bodyPr/>
          <a:lstStyle/>
          <a:p>
            <a:r>
              <a:rPr lang="zh-CN" altLang="en-US"/>
              <a:t>本章节内容介绍文字</a:t>
            </a:r>
            <a:endParaRPr lang="en-US" altLang="zh-CN"/>
          </a:p>
          <a:p>
            <a:r>
              <a:rPr lang="en-US" altLang="zh-CN"/>
              <a:t>PPT</a:t>
            </a:r>
            <a:r>
              <a:rPr lang="zh-CN" altLang="en-US"/>
              <a:t>中的节标题可以帮助观众更有效的阅读和理解报告内容</a:t>
            </a:r>
            <a:endParaRPr lang="en-US" altLang="zh-CN"/>
          </a:p>
          <a:p>
            <a:r>
              <a:rPr lang="zh-CN" altLang="en-US"/>
              <a:t>您可以在幻灯片母版中对本页样式进行修改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500168" y="1918433"/>
            <a:ext cx="1803488" cy="80415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r>
              <a:rPr lang="zh-CN" altLang="en-US" sz="2800" b="1" dirty="0">
                <a:solidFill>
                  <a:schemeClr val="accent2"/>
                </a:solidFill>
              </a:rPr>
              <a:t>第四章</a:t>
            </a:r>
            <a:endParaRPr lang="en-US" altLang="zh-CN" sz="2800" b="1" dirty="0">
              <a:solidFill>
                <a:schemeClr val="accent2"/>
              </a:solidFill>
            </a:endParaRPr>
          </a:p>
          <a:p>
            <a:r>
              <a:rPr lang="en-US" altLang="zh-CN" sz="1100" b="1" dirty="0">
                <a:solidFill>
                  <a:schemeClr val="accent2"/>
                </a:solidFill>
              </a:rPr>
              <a:t>The fist chapter</a:t>
            </a:r>
            <a:endParaRPr lang="zh-CN" altLang="en-US" sz="1100" b="1" dirty="0">
              <a:solidFill>
                <a:schemeClr val="accent2"/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D359F57-F914-445A-B752-CBD4C3D34405}"/>
              </a:ext>
            </a:extLst>
          </p:cNvPr>
          <p:cNvCxnSpPr>
            <a:cxnSpLocks/>
          </p:cNvCxnSpPr>
          <p:nvPr/>
        </p:nvCxnSpPr>
        <p:spPr>
          <a:xfrm>
            <a:off x="6599209" y="2765585"/>
            <a:ext cx="4915976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A576D917-B5FE-4697-8A81-22B09D3F4165}"/>
              </a:ext>
            </a:extLst>
          </p:cNvPr>
          <p:cNvSpPr>
            <a:spLocks/>
          </p:cNvSpPr>
          <p:nvPr/>
        </p:nvSpPr>
        <p:spPr>
          <a:xfrm>
            <a:off x="0" y="0"/>
            <a:ext cx="6093767" cy="6858000"/>
          </a:xfrm>
          <a:prstGeom prst="rect">
            <a:avLst/>
          </a:prstGeom>
          <a:blipFill>
            <a:blip r:embed="rId2"/>
            <a:srcRect/>
            <a:stretch>
              <a:fillRect l="-20506" r="-205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ṧļïḋê">
            <a:extLst>
              <a:ext uri="{FF2B5EF4-FFF2-40B4-BE49-F238E27FC236}">
                <a16:creationId xmlns:a16="http://schemas.microsoft.com/office/drawing/2014/main" id="{742A6018-840A-47FD-80B0-2D92C6808D4E}"/>
              </a:ext>
            </a:extLst>
          </p:cNvPr>
          <p:cNvSpPr>
            <a:spLocks/>
          </p:cNvSpPr>
          <p:nvPr/>
        </p:nvSpPr>
        <p:spPr>
          <a:xfrm>
            <a:off x="1" y="0"/>
            <a:ext cx="6093767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5513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5025E2-3B9B-4E80-886C-8804892C0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8D913C7-976A-4AC1-9C0F-4268DC5B2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B75064-E514-4D18-93A8-8D681CC7A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2" name="íṩľiḓê">
            <a:extLst>
              <a:ext uri="{FF2B5EF4-FFF2-40B4-BE49-F238E27FC236}">
                <a16:creationId xmlns:a16="http://schemas.microsoft.com/office/drawing/2014/main" id="{5889A318-47BA-4BA8-A87D-83445DF64E3F}"/>
              </a:ext>
            </a:extLst>
          </p:cNvPr>
          <p:cNvSpPr/>
          <p:nvPr/>
        </p:nvSpPr>
        <p:spPr bwMode="auto">
          <a:xfrm>
            <a:off x="3385615" y="3125584"/>
            <a:ext cx="365701" cy="325111"/>
          </a:xfrm>
          <a:custGeom>
            <a:avLst/>
            <a:gdLst/>
            <a:ahLst/>
            <a:cxnLst>
              <a:cxn ang="0">
                <a:pos x="186" y="97"/>
              </a:cxn>
              <a:cxn ang="0">
                <a:pos x="186" y="97"/>
              </a:cxn>
              <a:cxn ang="0">
                <a:pos x="183" y="94"/>
              </a:cxn>
              <a:cxn ang="0">
                <a:pos x="178" y="92"/>
              </a:cxn>
              <a:cxn ang="0">
                <a:pos x="161" y="88"/>
              </a:cxn>
              <a:cxn ang="0">
                <a:pos x="130" y="81"/>
              </a:cxn>
              <a:cxn ang="0">
                <a:pos x="90" y="4"/>
              </a:cxn>
              <a:cxn ang="0">
                <a:pos x="75" y="0"/>
              </a:cxn>
              <a:cxn ang="0">
                <a:pos x="83" y="72"/>
              </a:cxn>
              <a:cxn ang="0">
                <a:pos x="43" y="64"/>
              </a:cxn>
              <a:cxn ang="0">
                <a:pos x="26" y="32"/>
              </a:cxn>
              <a:cxn ang="0">
                <a:pos x="18" y="31"/>
              </a:cxn>
              <a:cxn ang="0">
                <a:pos x="18" y="34"/>
              </a:cxn>
              <a:cxn ang="0">
                <a:pos x="16" y="33"/>
              </a:cxn>
              <a:cxn ang="0">
                <a:pos x="19" y="69"/>
              </a:cxn>
              <a:cxn ang="0">
                <a:pos x="19" y="75"/>
              </a:cxn>
              <a:cxn ang="0">
                <a:pos x="17" y="80"/>
              </a:cxn>
              <a:cxn ang="0">
                <a:pos x="0" y="111"/>
              </a:cxn>
              <a:cxn ang="0">
                <a:pos x="2" y="112"/>
              </a:cxn>
              <a:cxn ang="0">
                <a:pos x="0" y="114"/>
              </a:cxn>
              <a:cxn ang="0">
                <a:pos x="9" y="117"/>
              </a:cxn>
              <a:cxn ang="0">
                <a:pos x="38" y="95"/>
              </a:cxn>
              <a:cxn ang="0">
                <a:pos x="77" y="102"/>
              </a:cxn>
              <a:cxn ang="0">
                <a:pos x="41" y="165"/>
              </a:cxn>
              <a:cxn ang="0">
                <a:pos x="57" y="168"/>
              </a:cxn>
              <a:cxn ang="0">
                <a:pos x="124" y="111"/>
              </a:cxn>
              <a:cxn ang="0">
                <a:pos x="155" y="118"/>
              </a:cxn>
              <a:cxn ang="0">
                <a:pos x="173" y="121"/>
              </a:cxn>
              <a:cxn ang="0">
                <a:pos x="173" y="121"/>
              </a:cxn>
              <a:cxn ang="0">
                <a:pos x="177" y="121"/>
              </a:cxn>
              <a:cxn ang="0">
                <a:pos x="181" y="119"/>
              </a:cxn>
              <a:cxn ang="0">
                <a:pos x="181" y="119"/>
              </a:cxn>
              <a:cxn ang="0">
                <a:pos x="186" y="115"/>
              </a:cxn>
              <a:cxn ang="0">
                <a:pos x="188" y="112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6"/>
              </a:cxn>
              <a:cxn ang="0">
                <a:pos x="189" y="102"/>
              </a:cxn>
              <a:cxn ang="0">
                <a:pos x="186" y="97"/>
              </a:cxn>
              <a:cxn ang="0">
                <a:pos x="186" y="97"/>
              </a:cxn>
            </a:cxnLst>
            <a:rect l="0" t="0" r="r" b="b"/>
            <a:pathLst>
              <a:path w="189" h="168">
                <a:moveTo>
                  <a:pt x="186" y="97"/>
                </a:moveTo>
                <a:lnTo>
                  <a:pt x="186" y="97"/>
                </a:lnTo>
                <a:lnTo>
                  <a:pt x="183" y="94"/>
                </a:lnTo>
                <a:lnTo>
                  <a:pt x="178" y="92"/>
                </a:lnTo>
                <a:lnTo>
                  <a:pt x="161" y="88"/>
                </a:lnTo>
                <a:lnTo>
                  <a:pt x="130" y="81"/>
                </a:lnTo>
                <a:lnTo>
                  <a:pt x="90" y="4"/>
                </a:lnTo>
                <a:lnTo>
                  <a:pt x="75" y="0"/>
                </a:lnTo>
                <a:lnTo>
                  <a:pt x="83" y="72"/>
                </a:lnTo>
                <a:lnTo>
                  <a:pt x="43" y="64"/>
                </a:lnTo>
                <a:lnTo>
                  <a:pt x="26" y="32"/>
                </a:lnTo>
                <a:lnTo>
                  <a:pt x="18" y="31"/>
                </a:lnTo>
                <a:lnTo>
                  <a:pt x="18" y="34"/>
                </a:lnTo>
                <a:lnTo>
                  <a:pt x="16" y="33"/>
                </a:lnTo>
                <a:lnTo>
                  <a:pt x="19" y="69"/>
                </a:lnTo>
                <a:lnTo>
                  <a:pt x="19" y="75"/>
                </a:lnTo>
                <a:lnTo>
                  <a:pt x="17" y="80"/>
                </a:lnTo>
                <a:lnTo>
                  <a:pt x="0" y="111"/>
                </a:lnTo>
                <a:lnTo>
                  <a:pt x="2" y="112"/>
                </a:lnTo>
                <a:lnTo>
                  <a:pt x="0" y="114"/>
                </a:lnTo>
                <a:lnTo>
                  <a:pt x="9" y="117"/>
                </a:lnTo>
                <a:lnTo>
                  <a:pt x="38" y="95"/>
                </a:lnTo>
                <a:lnTo>
                  <a:pt x="77" y="102"/>
                </a:lnTo>
                <a:lnTo>
                  <a:pt x="41" y="165"/>
                </a:lnTo>
                <a:lnTo>
                  <a:pt x="57" y="168"/>
                </a:lnTo>
                <a:lnTo>
                  <a:pt x="124" y="111"/>
                </a:lnTo>
                <a:lnTo>
                  <a:pt x="155" y="118"/>
                </a:lnTo>
                <a:lnTo>
                  <a:pt x="173" y="121"/>
                </a:lnTo>
                <a:lnTo>
                  <a:pt x="173" y="121"/>
                </a:lnTo>
                <a:lnTo>
                  <a:pt x="177" y="121"/>
                </a:lnTo>
                <a:lnTo>
                  <a:pt x="181" y="119"/>
                </a:lnTo>
                <a:lnTo>
                  <a:pt x="181" y="119"/>
                </a:lnTo>
                <a:lnTo>
                  <a:pt x="186" y="115"/>
                </a:lnTo>
                <a:lnTo>
                  <a:pt x="188" y="112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6"/>
                </a:lnTo>
                <a:lnTo>
                  <a:pt x="189" y="102"/>
                </a:lnTo>
                <a:lnTo>
                  <a:pt x="186" y="97"/>
                </a:lnTo>
                <a:lnTo>
                  <a:pt x="186" y="9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3" name="ïśḷide">
            <a:extLst>
              <a:ext uri="{FF2B5EF4-FFF2-40B4-BE49-F238E27FC236}">
                <a16:creationId xmlns:a16="http://schemas.microsoft.com/office/drawing/2014/main" id="{76CF2842-8628-427A-AB65-1E56F7F4A711}"/>
              </a:ext>
            </a:extLst>
          </p:cNvPr>
          <p:cNvSpPr/>
          <p:nvPr/>
        </p:nvSpPr>
        <p:spPr bwMode="auto">
          <a:xfrm>
            <a:off x="2381391" y="3342325"/>
            <a:ext cx="65787" cy="36769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3" y="19"/>
              </a:cxn>
              <a:cxn ang="0">
                <a:pos x="3" y="19"/>
              </a:cxn>
              <a:cxn ang="0">
                <a:pos x="34" y="7"/>
              </a:cxn>
              <a:cxn ang="0">
                <a:pos x="32" y="0"/>
              </a:cxn>
              <a:cxn ang="0">
                <a:pos x="32" y="0"/>
              </a:cxn>
              <a:cxn ang="0">
                <a:pos x="0" y="12"/>
              </a:cxn>
              <a:cxn ang="0">
                <a:pos x="0" y="12"/>
              </a:cxn>
            </a:cxnLst>
            <a:rect l="0" t="0" r="r" b="b"/>
            <a:pathLst>
              <a:path w="34" h="19">
                <a:moveTo>
                  <a:pt x="0" y="12"/>
                </a:moveTo>
                <a:lnTo>
                  <a:pt x="3" y="19"/>
                </a:lnTo>
                <a:lnTo>
                  <a:pt x="3" y="19"/>
                </a:lnTo>
                <a:lnTo>
                  <a:pt x="34" y="7"/>
                </a:lnTo>
                <a:lnTo>
                  <a:pt x="32" y="0"/>
                </a:lnTo>
                <a:lnTo>
                  <a:pt x="32" y="0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4" name="iśḻiḓé">
            <a:extLst>
              <a:ext uri="{FF2B5EF4-FFF2-40B4-BE49-F238E27FC236}">
                <a16:creationId xmlns:a16="http://schemas.microsoft.com/office/drawing/2014/main" id="{AE7FE600-869C-4719-923E-C6602F7F2AE9}"/>
              </a:ext>
            </a:extLst>
          </p:cNvPr>
          <p:cNvSpPr/>
          <p:nvPr/>
        </p:nvSpPr>
        <p:spPr bwMode="auto">
          <a:xfrm>
            <a:off x="2259490" y="3394574"/>
            <a:ext cx="65787" cy="38704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3" y="20"/>
              </a:cxn>
              <a:cxn ang="0">
                <a:pos x="3" y="20"/>
              </a:cxn>
              <a:cxn ang="0">
                <a:pos x="34" y="6"/>
              </a:cxn>
              <a:cxn ang="0">
                <a:pos x="30" y="0"/>
              </a:cxn>
              <a:cxn ang="0">
                <a:pos x="30" y="0"/>
              </a:cxn>
              <a:cxn ang="0">
                <a:pos x="0" y="15"/>
              </a:cxn>
              <a:cxn ang="0">
                <a:pos x="0" y="15"/>
              </a:cxn>
            </a:cxnLst>
            <a:rect l="0" t="0" r="r" b="b"/>
            <a:pathLst>
              <a:path w="34" h="20">
                <a:moveTo>
                  <a:pt x="0" y="15"/>
                </a:moveTo>
                <a:lnTo>
                  <a:pt x="3" y="20"/>
                </a:lnTo>
                <a:lnTo>
                  <a:pt x="3" y="20"/>
                </a:lnTo>
                <a:lnTo>
                  <a:pt x="34" y="6"/>
                </a:lnTo>
                <a:lnTo>
                  <a:pt x="30" y="0"/>
                </a:lnTo>
                <a:lnTo>
                  <a:pt x="30" y="0"/>
                </a:lnTo>
                <a:lnTo>
                  <a:pt x="0" y="15"/>
                </a:lnTo>
                <a:lnTo>
                  <a:pt x="0" y="1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5" name="ïṧḷiḋé">
            <a:extLst>
              <a:ext uri="{FF2B5EF4-FFF2-40B4-BE49-F238E27FC236}">
                <a16:creationId xmlns:a16="http://schemas.microsoft.com/office/drawing/2014/main" id="{B7DF13C3-7BD2-48C0-8268-D0EC04FA13A5}"/>
              </a:ext>
            </a:extLst>
          </p:cNvPr>
          <p:cNvSpPr/>
          <p:nvPr/>
        </p:nvSpPr>
        <p:spPr bwMode="auto">
          <a:xfrm>
            <a:off x="2139525" y="3454566"/>
            <a:ext cx="65787" cy="46444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5" y="24"/>
              </a:cxn>
              <a:cxn ang="0">
                <a:pos x="5" y="24"/>
              </a:cxn>
              <a:cxn ang="0">
                <a:pos x="34" y="6"/>
              </a:cxn>
              <a:cxn ang="0">
                <a:pos x="31" y="0"/>
              </a:cxn>
              <a:cxn ang="0">
                <a:pos x="31" y="0"/>
              </a:cxn>
              <a:cxn ang="0">
                <a:pos x="0" y="18"/>
              </a:cxn>
              <a:cxn ang="0">
                <a:pos x="0" y="18"/>
              </a:cxn>
            </a:cxnLst>
            <a:rect l="0" t="0" r="r" b="b"/>
            <a:pathLst>
              <a:path w="34" h="24">
                <a:moveTo>
                  <a:pt x="0" y="18"/>
                </a:moveTo>
                <a:lnTo>
                  <a:pt x="5" y="24"/>
                </a:lnTo>
                <a:lnTo>
                  <a:pt x="5" y="24"/>
                </a:lnTo>
                <a:lnTo>
                  <a:pt x="34" y="6"/>
                </a:lnTo>
                <a:lnTo>
                  <a:pt x="31" y="0"/>
                </a:lnTo>
                <a:lnTo>
                  <a:pt x="31" y="0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6" name="ïsḷíde">
            <a:extLst>
              <a:ext uri="{FF2B5EF4-FFF2-40B4-BE49-F238E27FC236}">
                <a16:creationId xmlns:a16="http://schemas.microsoft.com/office/drawing/2014/main" id="{BEFEA670-6760-4E26-9856-ED777F22B365}"/>
              </a:ext>
            </a:extLst>
          </p:cNvPr>
          <p:cNvSpPr/>
          <p:nvPr/>
        </p:nvSpPr>
        <p:spPr bwMode="auto">
          <a:xfrm>
            <a:off x="1922814" y="3605510"/>
            <a:ext cx="59983" cy="56121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5" y="29"/>
              </a:cxn>
              <a:cxn ang="0">
                <a:pos x="5" y="29"/>
              </a:cxn>
              <a:cxn ang="0">
                <a:pos x="31" y="6"/>
              </a:cxn>
              <a:cxn ang="0">
                <a:pos x="27" y="0"/>
              </a:cxn>
              <a:cxn ang="0">
                <a:pos x="27" y="0"/>
              </a:cxn>
              <a:cxn ang="0">
                <a:pos x="0" y="23"/>
              </a:cxn>
              <a:cxn ang="0">
                <a:pos x="0" y="23"/>
              </a:cxn>
            </a:cxnLst>
            <a:rect l="0" t="0" r="r" b="b"/>
            <a:pathLst>
              <a:path w="31" h="29">
                <a:moveTo>
                  <a:pt x="0" y="23"/>
                </a:moveTo>
                <a:lnTo>
                  <a:pt x="5" y="29"/>
                </a:lnTo>
                <a:lnTo>
                  <a:pt x="5" y="29"/>
                </a:lnTo>
                <a:lnTo>
                  <a:pt x="31" y="6"/>
                </a:lnTo>
                <a:lnTo>
                  <a:pt x="27" y="0"/>
                </a:lnTo>
                <a:lnTo>
                  <a:pt x="27" y="0"/>
                </a:lnTo>
                <a:lnTo>
                  <a:pt x="0" y="23"/>
                </a:lnTo>
                <a:lnTo>
                  <a:pt x="0" y="23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7" name="ïsḻîḍê">
            <a:extLst>
              <a:ext uri="{FF2B5EF4-FFF2-40B4-BE49-F238E27FC236}">
                <a16:creationId xmlns:a16="http://schemas.microsoft.com/office/drawing/2014/main" id="{C8D67A60-ADA4-4BA5-8D14-F50819097327}"/>
              </a:ext>
            </a:extLst>
          </p:cNvPr>
          <p:cNvSpPr/>
          <p:nvPr/>
        </p:nvSpPr>
        <p:spPr bwMode="auto">
          <a:xfrm>
            <a:off x="2027300" y="3526167"/>
            <a:ext cx="61918" cy="48380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4" y="25"/>
              </a:cxn>
              <a:cxn ang="0">
                <a:pos x="4" y="25"/>
              </a:cxn>
              <a:cxn ang="0">
                <a:pos x="32" y="5"/>
              </a:cxn>
              <a:cxn ang="0">
                <a:pos x="29" y="0"/>
              </a:cxn>
              <a:cxn ang="0">
                <a:pos x="29" y="0"/>
              </a:cxn>
              <a:cxn ang="0">
                <a:pos x="0" y="19"/>
              </a:cxn>
              <a:cxn ang="0">
                <a:pos x="0" y="19"/>
              </a:cxn>
            </a:cxnLst>
            <a:rect l="0" t="0" r="r" b="b"/>
            <a:pathLst>
              <a:path w="32" h="25">
                <a:moveTo>
                  <a:pt x="0" y="19"/>
                </a:moveTo>
                <a:lnTo>
                  <a:pt x="4" y="25"/>
                </a:lnTo>
                <a:lnTo>
                  <a:pt x="4" y="25"/>
                </a:lnTo>
                <a:lnTo>
                  <a:pt x="32" y="5"/>
                </a:lnTo>
                <a:lnTo>
                  <a:pt x="29" y="0"/>
                </a:lnTo>
                <a:lnTo>
                  <a:pt x="29" y="0"/>
                </a:lnTo>
                <a:lnTo>
                  <a:pt x="0" y="19"/>
                </a:lnTo>
                <a:lnTo>
                  <a:pt x="0" y="19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8" name="îSľiďè">
            <a:extLst>
              <a:ext uri="{FF2B5EF4-FFF2-40B4-BE49-F238E27FC236}">
                <a16:creationId xmlns:a16="http://schemas.microsoft.com/office/drawing/2014/main" id="{A93E149C-CEA3-432A-B8CF-AF0F22531408}"/>
              </a:ext>
            </a:extLst>
          </p:cNvPr>
          <p:cNvSpPr/>
          <p:nvPr/>
        </p:nvSpPr>
        <p:spPr bwMode="auto">
          <a:xfrm>
            <a:off x="2903820" y="3232019"/>
            <a:ext cx="67723" cy="19352"/>
          </a:xfrm>
          <a:custGeom>
            <a:avLst/>
            <a:gdLst/>
            <a:ahLst/>
            <a:cxnLst>
              <a:cxn ang="0">
                <a:pos x="1" y="10"/>
              </a:cxn>
              <a:cxn ang="0">
                <a:pos x="1" y="10"/>
              </a:cxn>
              <a:cxn ang="0">
                <a:pos x="35" y="7"/>
              </a:cxn>
              <a:cxn ang="0">
                <a:pos x="35" y="0"/>
              </a:cxn>
              <a:cxn ang="0">
                <a:pos x="35" y="0"/>
              </a:cxn>
              <a:cxn ang="0">
                <a:pos x="0" y="3"/>
              </a:cxn>
              <a:cxn ang="0">
                <a:pos x="1" y="10"/>
              </a:cxn>
            </a:cxnLst>
            <a:rect l="0" t="0" r="r" b="b"/>
            <a:pathLst>
              <a:path w="35" h="10">
                <a:moveTo>
                  <a:pt x="1" y="10"/>
                </a:moveTo>
                <a:lnTo>
                  <a:pt x="1" y="10"/>
                </a:lnTo>
                <a:lnTo>
                  <a:pt x="35" y="7"/>
                </a:lnTo>
                <a:lnTo>
                  <a:pt x="35" y="0"/>
                </a:lnTo>
                <a:lnTo>
                  <a:pt x="35" y="0"/>
                </a:lnTo>
                <a:lnTo>
                  <a:pt x="0" y="3"/>
                </a:lnTo>
                <a:lnTo>
                  <a:pt x="1" y="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9" name="iṧ1ïḍè">
            <a:extLst>
              <a:ext uri="{FF2B5EF4-FFF2-40B4-BE49-F238E27FC236}">
                <a16:creationId xmlns:a16="http://schemas.microsoft.com/office/drawing/2014/main" id="{E0FAC046-039C-449E-B84B-067DC1A91CD6}"/>
              </a:ext>
            </a:extLst>
          </p:cNvPr>
          <p:cNvSpPr/>
          <p:nvPr/>
        </p:nvSpPr>
        <p:spPr bwMode="auto">
          <a:xfrm>
            <a:off x="3174709" y="3228148"/>
            <a:ext cx="67723" cy="1741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8"/>
              </a:cxn>
              <a:cxn ang="0">
                <a:pos x="35" y="9"/>
              </a:cxn>
              <a:cxn ang="0">
                <a:pos x="35" y="2"/>
              </a:cxn>
              <a:cxn ang="0">
                <a:pos x="35" y="2"/>
              </a:cxn>
              <a:cxn ang="0">
                <a:pos x="0" y="0"/>
              </a:cxn>
              <a:cxn ang="0">
                <a:pos x="0" y="8"/>
              </a:cxn>
            </a:cxnLst>
            <a:rect l="0" t="0" r="r" b="b"/>
            <a:pathLst>
              <a:path w="35" h="9">
                <a:moveTo>
                  <a:pt x="0" y="8"/>
                </a:moveTo>
                <a:lnTo>
                  <a:pt x="0" y="8"/>
                </a:lnTo>
                <a:lnTo>
                  <a:pt x="35" y="9"/>
                </a:lnTo>
                <a:lnTo>
                  <a:pt x="35" y="2"/>
                </a:lnTo>
                <a:lnTo>
                  <a:pt x="35" y="2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0" name="îṣḻïḍê">
            <a:extLst>
              <a:ext uri="{FF2B5EF4-FFF2-40B4-BE49-F238E27FC236}">
                <a16:creationId xmlns:a16="http://schemas.microsoft.com/office/drawing/2014/main" id="{86F89C9F-4A74-4205-940F-E799D62ECE48}"/>
              </a:ext>
            </a:extLst>
          </p:cNvPr>
          <p:cNvSpPr/>
          <p:nvPr/>
        </p:nvSpPr>
        <p:spPr bwMode="auto">
          <a:xfrm>
            <a:off x="3037329" y="3228148"/>
            <a:ext cx="69657" cy="15481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2" y="8"/>
              </a:cxn>
              <a:cxn ang="0">
                <a:pos x="36" y="7"/>
              </a:cxn>
              <a:cxn ang="0">
                <a:pos x="36" y="0"/>
              </a:cxn>
              <a:cxn ang="0">
                <a:pos x="36" y="0"/>
              </a:cxn>
              <a:cxn ang="0">
                <a:pos x="0" y="0"/>
              </a:cxn>
              <a:cxn ang="0">
                <a:pos x="2" y="8"/>
              </a:cxn>
            </a:cxnLst>
            <a:rect l="0" t="0" r="r" b="b"/>
            <a:pathLst>
              <a:path w="36" h="8">
                <a:moveTo>
                  <a:pt x="2" y="8"/>
                </a:moveTo>
                <a:lnTo>
                  <a:pt x="2" y="8"/>
                </a:lnTo>
                <a:lnTo>
                  <a:pt x="36" y="7"/>
                </a:lnTo>
                <a:lnTo>
                  <a:pt x="36" y="0"/>
                </a:lnTo>
                <a:lnTo>
                  <a:pt x="36" y="0"/>
                </a:lnTo>
                <a:lnTo>
                  <a:pt x="0" y="0"/>
                </a:lnTo>
                <a:lnTo>
                  <a:pt x="2" y="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1" name="î$lïḋé">
            <a:extLst>
              <a:ext uri="{FF2B5EF4-FFF2-40B4-BE49-F238E27FC236}">
                <a16:creationId xmlns:a16="http://schemas.microsoft.com/office/drawing/2014/main" id="{6E0AB3EB-AE74-433B-8372-87792D398FFA}"/>
              </a:ext>
            </a:extLst>
          </p:cNvPr>
          <p:cNvSpPr/>
          <p:nvPr/>
        </p:nvSpPr>
        <p:spPr bwMode="auto">
          <a:xfrm>
            <a:off x="3308218" y="3237825"/>
            <a:ext cx="67723" cy="25158"/>
          </a:xfrm>
          <a:custGeom>
            <a:avLst/>
            <a:gdLst/>
            <a:ahLst/>
            <a:cxnLst>
              <a:cxn ang="0">
                <a:pos x="35" y="5"/>
              </a:cxn>
              <a:cxn ang="0">
                <a:pos x="35" y="5"/>
              </a:cxn>
              <a:cxn ang="0">
                <a:pos x="26" y="4"/>
              </a:cxn>
              <a:cxn ang="0">
                <a:pos x="1" y="0"/>
              </a:cxn>
              <a:cxn ang="0">
                <a:pos x="0" y="7"/>
              </a:cxn>
              <a:cxn ang="0">
                <a:pos x="0" y="7"/>
              </a:cxn>
              <a:cxn ang="0">
                <a:pos x="25" y="10"/>
              </a:cxn>
              <a:cxn ang="0">
                <a:pos x="34" y="13"/>
              </a:cxn>
              <a:cxn ang="0">
                <a:pos x="35" y="5"/>
              </a:cxn>
            </a:cxnLst>
            <a:rect l="0" t="0" r="r" b="b"/>
            <a:pathLst>
              <a:path w="35" h="13">
                <a:moveTo>
                  <a:pt x="35" y="5"/>
                </a:moveTo>
                <a:lnTo>
                  <a:pt x="35" y="5"/>
                </a:lnTo>
                <a:lnTo>
                  <a:pt x="26" y="4"/>
                </a:lnTo>
                <a:lnTo>
                  <a:pt x="1" y="0"/>
                </a:lnTo>
                <a:lnTo>
                  <a:pt x="0" y="7"/>
                </a:lnTo>
                <a:lnTo>
                  <a:pt x="0" y="7"/>
                </a:lnTo>
                <a:lnTo>
                  <a:pt x="25" y="10"/>
                </a:lnTo>
                <a:lnTo>
                  <a:pt x="34" y="13"/>
                </a:lnTo>
                <a:lnTo>
                  <a:pt x="35" y="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2" name="iṩlîḋe">
            <a:extLst>
              <a:ext uri="{FF2B5EF4-FFF2-40B4-BE49-F238E27FC236}">
                <a16:creationId xmlns:a16="http://schemas.microsoft.com/office/drawing/2014/main" id="{14D6363F-093E-4C6A-BF3D-4186DE381C3C}"/>
              </a:ext>
            </a:extLst>
          </p:cNvPr>
          <p:cNvSpPr/>
          <p:nvPr/>
        </p:nvSpPr>
        <p:spPr bwMode="auto">
          <a:xfrm>
            <a:off x="2770310" y="3245566"/>
            <a:ext cx="67723" cy="23222"/>
          </a:xfrm>
          <a:custGeom>
            <a:avLst/>
            <a:gdLst/>
            <a:ahLst/>
            <a:cxnLst>
              <a:cxn ang="0">
                <a:pos x="1" y="12"/>
              </a:cxn>
              <a:cxn ang="0">
                <a:pos x="1" y="12"/>
              </a:cxn>
              <a:cxn ang="0">
                <a:pos x="35" y="7"/>
              </a:cxn>
              <a:cxn ang="0">
                <a:pos x="34" y="0"/>
              </a:cxn>
              <a:cxn ang="0">
                <a:pos x="34" y="0"/>
              </a:cxn>
              <a:cxn ang="0">
                <a:pos x="0" y="5"/>
              </a:cxn>
              <a:cxn ang="0">
                <a:pos x="1" y="12"/>
              </a:cxn>
            </a:cxnLst>
            <a:rect l="0" t="0" r="r" b="b"/>
            <a:pathLst>
              <a:path w="35" h="12">
                <a:moveTo>
                  <a:pt x="1" y="12"/>
                </a:moveTo>
                <a:lnTo>
                  <a:pt x="1" y="12"/>
                </a:lnTo>
                <a:lnTo>
                  <a:pt x="35" y="7"/>
                </a:lnTo>
                <a:lnTo>
                  <a:pt x="34" y="0"/>
                </a:lnTo>
                <a:lnTo>
                  <a:pt x="34" y="0"/>
                </a:lnTo>
                <a:lnTo>
                  <a:pt x="0" y="5"/>
                </a:lnTo>
                <a:lnTo>
                  <a:pt x="1" y="1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3" name="íṣḷiḍé">
            <a:extLst>
              <a:ext uri="{FF2B5EF4-FFF2-40B4-BE49-F238E27FC236}">
                <a16:creationId xmlns:a16="http://schemas.microsoft.com/office/drawing/2014/main" id="{7A499202-839F-40B0-B65D-66136B8B64C4}"/>
              </a:ext>
            </a:extLst>
          </p:cNvPr>
          <p:cNvSpPr/>
          <p:nvPr/>
        </p:nvSpPr>
        <p:spPr bwMode="auto">
          <a:xfrm>
            <a:off x="2638735" y="3268788"/>
            <a:ext cx="67723" cy="27093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" y="14"/>
              </a:cxn>
              <a:cxn ang="0">
                <a:pos x="1" y="14"/>
              </a:cxn>
              <a:cxn ang="0">
                <a:pos x="35" y="6"/>
              </a:cxn>
              <a:cxn ang="0">
                <a:pos x="34" y="0"/>
              </a:cxn>
              <a:cxn ang="0">
                <a:pos x="34" y="0"/>
              </a:cxn>
              <a:cxn ang="0">
                <a:pos x="0" y="7"/>
              </a:cxn>
              <a:cxn ang="0">
                <a:pos x="0" y="7"/>
              </a:cxn>
            </a:cxnLst>
            <a:rect l="0" t="0" r="r" b="b"/>
            <a:pathLst>
              <a:path w="35" h="14">
                <a:moveTo>
                  <a:pt x="0" y="7"/>
                </a:moveTo>
                <a:lnTo>
                  <a:pt x="1" y="14"/>
                </a:lnTo>
                <a:lnTo>
                  <a:pt x="1" y="14"/>
                </a:lnTo>
                <a:lnTo>
                  <a:pt x="35" y="6"/>
                </a:lnTo>
                <a:lnTo>
                  <a:pt x="34" y="0"/>
                </a:lnTo>
                <a:lnTo>
                  <a:pt x="34" y="0"/>
                </a:lnTo>
                <a:lnTo>
                  <a:pt x="0" y="7"/>
                </a:lnTo>
                <a:lnTo>
                  <a:pt x="0" y="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64" name="iŝḻídè">
            <a:extLst>
              <a:ext uri="{FF2B5EF4-FFF2-40B4-BE49-F238E27FC236}">
                <a16:creationId xmlns:a16="http://schemas.microsoft.com/office/drawing/2014/main" id="{DB9695DD-CA79-443B-A26D-5EFCB58CBF97}"/>
              </a:ext>
            </a:extLst>
          </p:cNvPr>
          <p:cNvSpPr/>
          <p:nvPr/>
        </p:nvSpPr>
        <p:spPr bwMode="auto">
          <a:xfrm>
            <a:off x="2507160" y="3299751"/>
            <a:ext cx="69657" cy="32899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2" y="17"/>
              </a:cxn>
              <a:cxn ang="0">
                <a:pos x="2" y="17"/>
              </a:cxn>
              <a:cxn ang="0">
                <a:pos x="36" y="7"/>
              </a:cxn>
              <a:cxn ang="0">
                <a:pos x="34" y="0"/>
              </a:cxn>
              <a:cxn ang="0">
                <a:pos x="34" y="0"/>
              </a:cxn>
              <a:cxn ang="0">
                <a:pos x="0" y="10"/>
              </a:cxn>
              <a:cxn ang="0">
                <a:pos x="0" y="10"/>
              </a:cxn>
            </a:cxnLst>
            <a:rect l="0" t="0" r="r" b="b"/>
            <a:pathLst>
              <a:path w="36" h="17">
                <a:moveTo>
                  <a:pt x="0" y="10"/>
                </a:moveTo>
                <a:lnTo>
                  <a:pt x="2" y="17"/>
                </a:lnTo>
                <a:lnTo>
                  <a:pt x="2" y="17"/>
                </a:lnTo>
                <a:lnTo>
                  <a:pt x="36" y="7"/>
                </a:lnTo>
                <a:lnTo>
                  <a:pt x="34" y="0"/>
                </a:lnTo>
                <a:lnTo>
                  <a:pt x="34" y="0"/>
                </a:lnTo>
                <a:lnTo>
                  <a:pt x="0" y="10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7" name="îşḷiḓè">
            <a:extLst>
              <a:ext uri="{FF2B5EF4-FFF2-40B4-BE49-F238E27FC236}">
                <a16:creationId xmlns:a16="http://schemas.microsoft.com/office/drawing/2014/main" id="{19B1B312-1824-4C46-AA01-BCFAEA386712}"/>
              </a:ext>
            </a:extLst>
          </p:cNvPr>
          <p:cNvSpPr/>
          <p:nvPr/>
        </p:nvSpPr>
        <p:spPr bwMode="auto">
          <a:xfrm>
            <a:off x="3368286" y="3429000"/>
            <a:ext cx="1983168" cy="952937"/>
          </a:xfrm>
          <a:custGeom>
            <a:avLst/>
            <a:gdLst/>
            <a:ahLst/>
            <a:cxnLst>
              <a:cxn ang="0">
                <a:pos x="179" y="60"/>
              </a:cxn>
              <a:cxn ang="0">
                <a:pos x="175" y="50"/>
              </a:cxn>
              <a:cxn ang="0">
                <a:pos x="170" y="42"/>
              </a:cxn>
              <a:cxn ang="0">
                <a:pos x="160" y="37"/>
              </a:cxn>
              <a:cxn ang="0">
                <a:pos x="148" y="33"/>
              </a:cxn>
              <a:cxn ang="0">
                <a:pos x="147" y="28"/>
              </a:cxn>
              <a:cxn ang="0">
                <a:pos x="141" y="19"/>
              </a:cxn>
              <a:cxn ang="0">
                <a:pos x="133" y="12"/>
              </a:cxn>
              <a:cxn ang="0">
                <a:pos x="121" y="9"/>
              </a:cxn>
              <a:cxn ang="0">
                <a:pos x="115" y="8"/>
              </a:cxn>
              <a:cxn ang="0">
                <a:pos x="103" y="10"/>
              </a:cxn>
              <a:cxn ang="0">
                <a:pos x="93" y="15"/>
              </a:cxn>
              <a:cxn ang="0">
                <a:pos x="88" y="9"/>
              </a:cxn>
              <a:cxn ang="0">
                <a:pos x="72" y="1"/>
              </a:cxn>
              <a:cxn ang="0">
                <a:pos x="64" y="0"/>
              </a:cxn>
              <a:cxn ang="0">
                <a:pos x="50" y="3"/>
              </a:cxn>
              <a:cxn ang="0">
                <a:pos x="39" y="8"/>
              </a:cxn>
              <a:cxn ang="0">
                <a:pos x="32" y="17"/>
              </a:cxn>
              <a:cxn ang="0">
                <a:pos x="30" y="27"/>
              </a:cxn>
              <a:cxn ang="0">
                <a:pos x="31" y="33"/>
              </a:cxn>
              <a:cxn ang="0">
                <a:pos x="24" y="34"/>
              </a:cxn>
              <a:cxn ang="0">
                <a:pos x="13" y="39"/>
              </a:cxn>
              <a:cxn ang="0">
                <a:pos x="5" y="45"/>
              </a:cxn>
              <a:cxn ang="0">
                <a:pos x="0" y="54"/>
              </a:cxn>
              <a:cxn ang="0">
                <a:pos x="0" y="60"/>
              </a:cxn>
              <a:cxn ang="0">
                <a:pos x="2" y="69"/>
              </a:cxn>
              <a:cxn ang="0">
                <a:pos x="9" y="77"/>
              </a:cxn>
              <a:cxn ang="0">
                <a:pos x="17" y="83"/>
              </a:cxn>
              <a:cxn ang="0">
                <a:pos x="30" y="86"/>
              </a:cxn>
              <a:cxn ang="0">
                <a:pos x="32" y="86"/>
              </a:cxn>
              <a:cxn ang="0">
                <a:pos x="34" y="86"/>
              </a:cxn>
              <a:cxn ang="0">
                <a:pos x="35" y="86"/>
              </a:cxn>
              <a:cxn ang="0">
                <a:pos x="147" y="86"/>
              </a:cxn>
              <a:cxn ang="0">
                <a:pos x="154" y="85"/>
              </a:cxn>
              <a:cxn ang="0">
                <a:pos x="165" y="80"/>
              </a:cxn>
              <a:cxn ang="0">
                <a:pos x="173" y="74"/>
              </a:cxn>
              <a:cxn ang="0">
                <a:pos x="178" y="64"/>
              </a:cxn>
              <a:cxn ang="0">
                <a:pos x="179" y="60"/>
              </a:cxn>
            </a:cxnLst>
            <a:rect l="0" t="0" r="r" b="b"/>
            <a:pathLst>
              <a:path w="179" h="86">
                <a:moveTo>
                  <a:pt x="179" y="60"/>
                </a:moveTo>
                <a:lnTo>
                  <a:pt x="179" y="60"/>
                </a:lnTo>
                <a:lnTo>
                  <a:pt x="178" y="54"/>
                </a:lnTo>
                <a:lnTo>
                  <a:pt x="175" y="50"/>
                </a:lnTo>
                <a:lnTo>
                  <a:pt x="173" y="45"/>
                </a:lnTo>
                <a:lnTo>
                  <a:pt x="170" y="42"/>
                </a:lnTo>
                <a:lnTo>
                  <a:pt x="166" y="39"/>
                </a:lnTo>
                <a:lnTo>
                  <a:pt x="160" y="37"/>
                </a:lnTo>
                <a:lnTo>
                  <a:pt x="155" y="34"/>
                </a:lnTo>
                <a:lnTo>
                  <a:pt x="148" y="33"/>
                </a:lnTo>
                <a:lnTo>
                  <a:pt x="148" y="33"/>
                </a:lnTo>
                <a:lnTo>
                  <a:pt x="147" y="28"/>
                </a:lnTo>
                <a:lnTo>
                  <a:pt x="145" y="23"/>
                </a:lnTo>
                <a:lnTo>
                  <a:pt x="141" y="19"/>
                </a:lnTo>
                <a:lnTo>
                  <a:pt x="138" y="16"/>
                </a:lnTo>
                <a:lnTo>
                  <a:pt x="133" y="12"/>
                </a:lnTo>
                <a:lnTo>
                  <a:pt x="127" y="10"/>
                </a:lnTo>
                <a:lnTo>
                  <a:pt x="121" y="9"/>
                </a:lnTo>
                <a:lnTo>
                  <a:pt x="115" y="8"/>
                </a:lnTo>
                <a:lnTo>
                  <a:pt x="115" y="8"/>
                </a:lnTo>
                <a:lnTo>
                  <a:pt x="109" y="9"/>
                </a:lnTo>
                <a:lnTo>
                  <a:pt x="103" y="10"/>
                </a:lnTo>
                <a:lnTo>
                  <a:pt x="98" y="12"/>
                </a:lnTo>
                <a:lnTo>
                  <a:pt x="93" y="15"/>
                </a:lnTo>
                <a:lnTo>
                  <a:pt x="93" y="15"/>
                </a:lnTo>
                <a:lnTo>
                  <a:pt x="88" y="9"/>
                </a:lnTo>
                <a:lnTo>
                  <a:pt x="81" y="5"/>
                </a:lnTo>
                <a:lnTo>
                  <a:pt x="72" y="1"/>
                </a:lnTo>
                <a:lnTo>
                  <a:pt x="64" y="0"/>
                </a:lnTo>
                <a:lnTo>
                  <a:pt x="64" y="0"/>
                </a:lnTo>
                <a:lnTo>
                  <a:pt x="56" y="1"/>
                </a:lnTo>
                <a:lnTo>
                  <a:pt x="50" y="3"/>
                </a:lnTo>
                <a:lnTo>
                  <a:pt x="44" y="5"/>
                </a:lnTo>
                <a:lnTo>
                  <a:pt x="39" y="8"/>
                </a:lnTo>
                <a:lnTo>
                  <a:pt x="35" y="12"/>
                </a:lnTo>
                <a:lnTo>
                  <a:pt x="32" y="17"/>
                </a:lnTo>
                <a:lnTo>
                  <a:pt x="31" y="21"/>
                </a:lnTo>
                <a:lnTo>
                  <a:pt x="30" y="27"/>
                </a:lnTo>
                <a:lnTo>
                  <a:pt x="30" y="27"/>
                </a:lnTo>
                <a:lnTo>
                  <a:pt x="31" y="33"/>
                </a:lnTo>
                <a:lnTo>
                  <a:pt x="31" y="33"/>
                </a:lnTo>
                <a:lnTo>
                  <a:pt x="24" y="34"/>
                </a:lnTo>
                <a:lnTo>
                  <a:pt x="19" y="35"/>
                </a:lnTo>
                <a:lnTo>
                  <a:pt x="13" y="39"/>
                </a:lnTo>
                <a:lnTo>
                  <a:pt x="9" y="42"/>
                </a:lnTo>
                <a:lnTo>
                  <a:pt x="5" y="45"/>
                </a:lnTo>
                <a:lnTo>
                  <a:pt x="2" y="50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0" y="64"/>
                </a:lnTo>
                <a:lnTo>
                  <a:pt x="2" y="69"/>
                </a:lnTo>
                <a:lnTo>
                  <a:pt x="4" y="73"/>
                </a:lnTo>
                <a:lnTo>
                  <a:pt x="9" y="77"/>
                </a:lnTo>
                <a:lnTo>
                  <a:pt x="13" y="80"/>
                </a:lnTo>
                <a:lnTo>
                  <a:pt x="17" y="83"/>
                </a:lnTo>
                <a:lnTo>
                  <a:pt x="23" y="85"/>
                </a:lnTo>
                <a:lnTo>
                  <a:pt x="30" y="86"/>
                </a:lnTo>
                <a:lnTo>
                  <a:pt x="30" y="86"/>
                </a:lnTo>
                <a:lnTo>
                  <a:pt x="32" y="86"/>
                </a:lnTo>
                <a:lnTo>
                  <a:pt x="32" y="86"/>
                </a:lnTo>
                <a:lnTo>
                  <a:pt x="34" y="86"/>
                </a:lnTo>
                <a:lnTo>
                  <a:pt x="34" y="86"/>
                </a:lnTo>
                <a:lnTo>
                  <a:pt x="35" y="86"/>
                </a:lnTo>
                <a:lnTo>
                  <a:pt x="147" y="86"/>
                </a:lnTo>
                <a:lnTo>
                  <a:pt x="147" y="86"/>
                </a:lnTo>
                <a:lnTo>
                  <a:pt x="147" y="86"/>
                </a:lnTo>
                <a:lnTo>
                  <a:pt x="154" y="85"/>
                </a:lnTo>
                <a:lnTo>
                  <a:pt x="159" y="83"/>
                </a:lnTo>
                <a:lnTo>
                  <a:pt x="165" y="80"/>
                </a:lnTo>
                <a:lnTo>
                  <a:pt x="169" y="77"/>
                </a:lnTo>
                <a:lnTo>
                  <a:pt x="173" y="74"/>
                </a:lnTo>
                <a:lnTo>
                  <a:pt x="175" y="69"/>
                </a:lnTo>
                <a:lnTo>
                  <a:pt x="178" y="64"/>
                </a:lnTo>
                <a:lnTo>
                  <a:pt x="179" y="60"/>
                </a:lnTo>
                <a:lnTo>
                  <a:pt x="179" y="6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 dirty="0"/>
          </a:p>
        </p:txBody>
      </p:sp>
      <p:sp>
        <p:nvSpPr>
          <p:cNvPr id="39" name="iSļïďè">
            <a:extLst>
              <a:ext uri="{FF2B5EF4-FFF2-40B4-BE49-F238E27FC236}">
                <a16:creationId xmlns:a16="http://schemas.microsoft.com/office/drawing/2014/main" id="{6308C28E-68DD-4C21-AAC8-D7659B4E769E}"/>
              </a:ext>
            </a:extLst>
          </p:cNvPr>
          <p:cNvSpPr/>
          <p:nvPr/>
        </p:nvSpPr>
        <p:spPr bwMode="auto">
          <a:xfrm rot="20994702" flipV="1">
            <a:off x="6003109" y="4299146"/>
            <a:ext cx="365701" cy="325111"/>
          </a:xfrm>
          <a:custGeom>
            <a:avLst/>
            <a:gdLst/>
            <a:ahLst/>
            <a:cxnLst>
              <a:cxn ang="0">
                <a:pos x="186" y="97"/>
              </a:cxn>
              <a:cxn ang="0">
                <a:pos x="186" y="97"/>
              </a:cxn>
              <a:cxn ang="0">
                <a:pos x="183" y="94"/>
              </a:cxn>
              <a:cxn ang="0">
                <a:pos x="178" y="92"/>
              </a:cxn>
              <a:cxn ang="0">
                <a:pos x="161" y="88"/>
              </a:cxn>
              <a:cxn ang="0">
                <a:pos x="130" y="81"/>
              </a:cxn>
              <a:cxn ang="0">
                <a:pos x="90" y="4"/>
              </a:cxn>
              <a:cxn ang="0">
                <a:pos x="75" y="0"/>
              </a:cxn>
              <a:cxn ang="0">
                <a:pos x="83" y="72"/>
              </a:cxn>
              <a:cxn ang="0">
                <a:pos x="43" y="64"/>
              </a:cxn>
              <a:cxn ang="0">
                <a:pos x="26" y="32"/>
              </a:cxn>
              <a:cxn ang="0">
                <a:pos x="18" y="31"/>
              </a:cxn>
              <a:cxn ang="0">
                <a:pos x="18" y="34"/>
              </a:cxn>
              <a:cxn ang="0">
                <a:pos x="16" y="33"/>
              </a:cxn>
              <a:cxn ang="0">
                <a:pos x="19" y="69"/>
              </a:cxn>
              <a:cxn ang="0">
                <a:pos x="19" y="75"/>
              </a:cxn>
              <a:cxn ang="0">
                <a:pos x="17" y="80"/>
              </a:cxn>
              <a:cxn ang="0">
                <a:pos x="0" y="111"/>
              </a:cxn>
              <a:cxn ang="0">
                <a:pos x="2" y="112"/>
              </a:cxn>
              <a:cxn ang="0">
                <a:pos x="0" y="114"/>
              </a:cxn>
              <a:cxn ang="0">
                <a:pos x="9" y="117"/>
              </a:cxn>
              <a:cxn ang="0">
                <a:pos x="38" y="95"/>
              </a:cxn>
              <a:cxn ang="0">
                <a:pos x="77" y="102"/>
              </a:cxn>
              <a:cxn ang="0">
                <a:pos x="41" y="165"/>
              </a:cxn>
              <a:cxn ang="0">
                <a:pos x="57" y="168"/>
              </a:cxn>
              <a:cxn ang="0">
                <a:pos x="124" y="111"/>
              </a:cxn>
              <a:cxn ang="0">
                <a:pos x="155" y="118"/>
              </a:cxn>
              <a:cxn ang="0">
                <a:pos x="173" y="121"/>
              </a:cxn>
              <a:cxn ang="0">
                <a:pos x="173" y="121"/>
              </a:cxn>
              <a:cxn ang="0">
                <a:pos x="177" y="121"/>
              </a:cxn>
              <a:cxn ang="0">
                <a:pos x="181" y="119"/>
              </a:cxn>
              <a:cxn ang="0">
                <a:pos x="181" y="119"/>
              </a:cxn>
              <a:cxn ang="0">
                <a:pos x="186" y="115"/>
              </a:cxn>
              <a:cxn ang="0">
                <a:pos x="188" y="112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6"/>
              </a:cxn>
              <a:cxn ang="0">
                <a:pos x="189" y="102"/>
              </a:cxn>
              <a:cxn ang="0">
                <a:pos x="186" y="97"/>
              </a:cxn>
              <a:cxn ang="0">
                <a:pos x="186" y="97"/>
              </a:cxn>
            </a:cxnLst>
            <a:rect l="0" t="0" r="r" b="b"/>
            <a:pathLst>
              <a:path w="189" h="168">
                <a:moveTo>
                  <a:pt x="186" y="97"/>
                </a:moveTo>
                <a:lnTo>
                  <a:pt x="186" y="97"/>
                </a:lnTo>
                <a:lnTo>
                  <a:pt x="183" y="94"/>
                </a:lnTo>
                <a:lnTo>
                  <a:pt x="178" y="92"/>
                </a:lnTo>
                <a:lnTo>
                  <a:pt x="161" y="88"/>
                </a:lnTo>
                <a:lnTo>
                  <a:pt x="130" y="81"/>
                </a:lnTo>
                <a:lnTo>
                  <a:pt x="90" y="4"/>
                </a:lnTo>
                <a:lnTo>
                  <a:pt x="75" y="0"/>
                </a:lnTo>
                <a:lnTo>
                  <a:pt x="83" y="72"/>
                </a:lnTo>
                <a:lnTo>
                  <a:pt x="43" y="64"/>
                </a:lnTo>
                <a:lnTo>
                  <a:pt x="26" y="32"/>
                </a:lnTo>
                <a:lnTo>
                  <a:pt x="18" y="31"/>
                </a:lnTo>
                <a:lnTo>
                  <a:pt x="18" y="34"/>
                </a:lnTo>
                <a:lnTo>
                  <a:pt x="16" y="33"/>
                </a:lnTo>
                <a:lnTo>
                  <a:pt x="19" y="69"/>
                </a:lnTo>
                <a:lnTo>
                  <a:pt x="19" y="75"/>
                </a:lnTo>
                <a:lnTo>
                  <a:pt x="17" y="80"/>
                </a:lnTo>
                <a:lnTo>
                  <a:pt x="0" y="111"/>
                </a:lnTo>
                <a:lnTo>
                  <a:pt x="2" y="112"/>
                </a:lnTo>
                <a:lnTo>
                  <a:pt x="0" y="114"/>
                </a:lnTo>
                <a:lnTo>
                  <a:pt x="9" y="117"/>
                </a:lnTo>
                <a:lnTo>
                  <a:pt x="38" y="95"/>
                </a:lnTo>
                <a:lnTo>
                  <a:pt x="77" y="102"/>
                </a:lnTo>
                <a:lnTo>
                  <a:pt x="41" y="165"/>
                </a:lnTo>
                <a:lnTo>
                  <a:pt x="57" y="168"/>
                </a:lnTo>
                <a:lnTo>
                  <a:pt x="124" y="111"/>
                </a:lnTo>
                <a:lnTo>
                  <a:pt x="155" y="118"/>
                </a:lnTo>
                <a:lnTo>
                  <a:pt x="173" y="121"/>
                </a:lnTo>
                <a:lnTo>
                  <a:pt x="173" y="121"/>
                </a:lnTo>
                <a:lnTo>
                  <a:pt x="177" y="121"/>
                </a:lnTo>
                <a:lnTo>
                  <a:pt x="181" y="119"/>
                </a:lnTo>
                <a:lnTo>
                  <a:pt x="181" y="119"/>
                </a:lnTo>
                <a:lnTo>
                  <a:pt x="186" y="115"/>
                </a:lnTo>
                <a:lnTo>
                  <a:pt x="188" y="112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6"/>
                </a:lnTo>
                <a:lnTo>
                  <a:pt x="189" y="102"/>
                </a:lnTo>
                <a:lnTo>
                  <a:pt x="186" y="97"/>
                </a:lnTo>
                <a:lnTo>
                  <a:pt x="186" y="97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0" name="îšḷîďè">
            <a:extLst>
              <a:ext uri="{FF2B5EF4-FFF2-40B4-BE49-F238E27FC236}">
                <a16:creationId xmlns:a16="http://schemas.microsoft.com/office/drawing/2014/main" id="{9C8EA812-8288-47E9-940E-EEC4DEB9EAFF}"/>
              </a:ext>
            </a:extLst>
          </p:cNvPr>
          <p:cNvSpPr/>
          <p:nvPr/>
        </p:nvSpPr>
        <p:spPr bwMode="auto">
          <a:xfrm rot="20994702" flipV="1">
            <a:off x="5016052" y="4586452"/>
            <a:ext cx="65787" cy="36769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3" y="19"/>
              </a:cxn>
              <a:cxn ang="0">
                <a:pos x="3" y="19"/>
              </a:cxn>
              <a:cxn ang="0">
                <a:pos x="34" y="7"/>
              </a:cxn>
              <a:cxn ang="0">
                <a:pos x="32" y="0"/>
              </a:cxn>
              <a:cxn ang="0">
                <a:pos x="32" y="0"/>
              </a:cxn>
              <a:cxn ang="0">
                <a:pos x="0" y="12"/>
              </a:cxn>
              <a:cxn ang="0">
                <a:pos x="0" y="12"/>
              </a:cxn>
            </a:cxnLst>
            <a:rect l="0" t="0" r="r" b="b"/>
            <a:pathLst>
              <a:path w="34" h="19">
                <a:moveTo>
                  <a:pt x="0" y="12"/>
                </a:moveTo>
                <a:lnTo>
                  <a:pt x="3" y="19"/>
                </a:lnTo>
                <a:lnTo>
                  <a:pt x="3" y="19"/>
                </a:lnTo>
                <a:lnTo>
                  <a:pt x="34" y="7"/>
                </a:lnTo>
                <a:lnTo>
                  <a:pt x="32" y="0"/>
                </a:lnTo>
                <a:lnTo>
                  <a:pt x="32" y="0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1" name="iṥļiḍê">
            <a:extLst>
              <a:ext uri="{FF2B5EF4-FFF2-40B4-BE49-F238E27FC236}">
                <a16:creationId xmlns:a16="http://schemas.microsoft.com/office/drawing/2014/main" id="{1EA29AD5-7AFE-4C99-88CE-E16EF6046A88}"/>
              </a:ext>
            </a:extLst>
          </p:cNvPr>
          <p:cNvSpPr/>
          <p:nvPr/>
        </p:nvSpPr>
        <p:spPr bwMode="auto">
          <a:xfrm rot="20994702" flipV="1">
            <a:off x="4886715" y="4554444"/>
            <a:ext cx="65787" cy="38704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3" y="20"/>
              </a:cxn>
              <a:cxn ang="0">
                <a:pos x="3" y="20"/>
              </a:cxn>
              <a:cxn ang="0">
                <a:pos x="34" y="6"/>
              </a:cxn>
              <a:cxn ang="0">
                <a:pos x="30" y="0"/>
              </a:cxn>
              <a:cxn ang="0">
                <a:pos x="30" y="0"/>
              </a:cxn>
              <a:cxn ang="0">
                <a:pos x="0" y="15"/>
              </a:cxn>
              <a:cxn ang="0">
                <a:pos x="0" y="15"/>
              </a:cxn>
            </a:cxnLst>
            <a:rect l="0" t="0" r="r" b="b"/>
            <a:pathLst>
              <a:path w="34" h="20">
                <a:moveTo>
                  <a:pt x="0" y="15"/>
                </a:moveTo>
                <a:lnTo>
                  <a:pt x="3" y="20"/>
                </a:lnTo>
                <a:lnTo>
                  <a:pt x="3" y="20"/>
                </a:lnTo>
                <a:lnTo>
                  <a:pt x="34" y="6"/>
                </a:lnTo>
                <a:lnTo>
                  <a:pt x="30" y="0"/>
                </a:lnTo>
                <a:lnTo>
                  <a:pt x="30" y="0"/>
                </a:lnTo>
                <a:lnTo>
                  <a:pt x="0" y="15"/>
                </a:lnTo>
                <a:lnTo>
                  <a:pt x="0" y="15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2" name="îŝ1iḓê">
            <a:extLst>
              <a:ext uri="{FF2B5EF4-FFF2-40B4-BE49-F238E27FC236}">
                <a16:creationId xmlns:a16="http://schemas.microsoft.com/office/drawing/2014/main" id="{1DD57995-9122-47D6-A5CF-9DF2F2CFE546}"/>
              </a:ext>
            </a:extLst>
          </p:cNvPr>
          <p:cNvSpPr/>
          <p:nvPr/>
        </p:nvSpPr>
        <p:spPr bwMode="auto">
          <a:xfrm rot="20994702" flipV="1">
            <a:off x="4757418" y="4508713"/>
            <a:ext cx="65787" cy="46444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5" y="24"/>
              </a:cxn>
              <a:cxn ang="0">
                <a:pos x="5" y="24"/>
              </a:cxn>
              <a:cxn ang="0">
                <a:pos x="34" y="6"/>
              </a:cxn>
              <a:cxn ang="0">
                <a:pos x="31" y="0"/>
              </a:cxn>
              <a:cxn ang="0">
                <a:pos x="31" y="0"/>
              </a:cxn>
              <a:cxn ang="0">
                <a:pos x="0" y="18"/>
              </a:cxn>
              <a:cxn ang="0">
                <a:pos x="0" y="18"/>
              </a:cxn>
            </a:cxnLst>
            <a:rect l="0" t="0" r="r" b="b"/>
            <a:pathLst>
              <a:path w="34" h="24">
                <a:moveTo>
                  <a:pt x="0" y="18"/>
                </a:moveTo>
                <a:lnTo>
                  <a:pt x="5" y="24"/>
                </a:lnTo>
                <a:lnTo>
                  <a:pt x="5" y="24"/>
                </a:lnTo>
                <a:lnTo>
                  <a:pt x="34" y="6"/>
                </a:lnTo>
                <a:lnTo>
                  <a:pt x="31" y="0"/>
                </a:lnTo>
                <a:lnTo>
                  <a:pt x="31" y="0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3" name="ïs1îḋè">
            <a:extLst>
              <a:ext uri="{FF2B5EF4-FFF2-40B4-BE49-F238E27FC236}">
                <a16:creationId xmlns:a16="http://schemas.microsoft.com/office/drawing/2014/main" id="{5CD2690B-E43F-43CF-B3A9-ABE9BB761E92}"/>
              </a:ext>
            </a:extLst>
          </p:cNvPr>
          <p:cNvSpPr/>
          <p:nvPr/>
        </p:nvSpPr>
        <p:spPr bwMode="auto">
          <a:xfrm rot="20994702" flipV="1">
            <a:off x="4516814" y="4388969"/>
            <a:ext cx="59983" cy="56121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5" y="29"/>
              </a:cxn>
              <a:cxn ang="0">
                <a:pos x="5" y="29"/>
              </a:cxn>
              <a:cxn ang="0">
                <a:pos x="31" y="6"/>
              </a:cxn>
              <a:cxn ang="0">
                <a:pos x="27" y="0"/>
              </a:cxn>
              <a:cxn ang="0">
                <a:pos x="27" y="0"/>
              </a:cxn>
              <a:cxn ang="0">
                <a:pos x="0" y="23"/>
              </a:cxn>
              <a:cxn ang="0">
                <a:pos x="0" y="23"/>
              </a:cxn>
            </a:cxnLst>
            <a:rect l="0" t="0" r="r" b="b"/>
            <a:pathLst>
              <a:path w="31" h="29">
                <a:moveTo>
                  <a:pt x="0" y="23"/>
                </a:moveTo>
                <a:lnTo>
                  <a:pt x="5" y="29"/>
                </a:lnTo>
                <a:lnTo>
                  <a:pt x="5" y="29"/>
                </a:lnTo>
                <a:lnTo>
                  <a:pt x="31" y="6"/>
                </a:lnTo>
                <a:lnTo>
                  <a:pt x="27" y="0"/>
                </a:lnTo>
                <a:lnTo>
                  <a:pt x="27" y="0"/>
                </a:lnTo>
                <a:lnTo>
                  <a:pt x="0" y="23"/>
                </a:lnTo>
                <a:lnTo>
                  <a:pt x="0" y="23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4" name="ïşḷïḋe">
            <a:extLst>
              <a:ext uri="{FF2B5EF4-FFF2-40B4-BE49-F238E27FC236}">
                <a16:creationId xmlns:a16="http://schemas.microsoft.com/office/drawing/2014/main" id="{99507899-7C2B-41EC-A10C-891F6D507E65}"/>
              </a:ext>
            </a:extLst>
          </p:cNvPr>
          <p:cNvSpPr/>
          <p:nvPr/>
        </p:nvSpPr>
        <p:spPr bwMode="auto">
          <a:xfrm rot="20994702" flipV="1">
            <a:off x="4634246" y="4456295"/>
            <a:ext cx="61918" cy="48380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4" y="25"/>
              </a:cxn>
              <a:cxn ang="0">
                <a:pos x="4" y="25"/>
              </a:cxn>
              <a:cxn ang="0">
                <a:pos x="32" y="5"/>
              </a:cxn>
              <a:cxn ang="0">
                <a:pos x="29" y="0"/>
              </a:cxn>
              <a:cxn ang="0">
                <a:pos x="29" y="0"/>
              </a:cxn>
              <a:cxn ang="0">
                <a:pos x="0" y="19"/>
              </a:cxn>
              <a:cxn ang="0">
                <a:pos x="0" y="19"/>
              </a:cxn>
            </a:cxnLst>
            <a:rect l="0" t="0" r="r" b="b"/>
            <a:pathLst>
              <a:path w="32" h="25">
                <a:moveTo>
                  <a:pt x="0" y="19"/>
                </a:moveTo>
                <a:lnTo>
                  <a:pt x="4" y="25"/>
                </a:lnTo>
                <a:lnTo>
                  <a:pt x="4" y="25"/>
                </a:lnTo>
                <a:lnTo>
                  <a:pt x="32" y="5"/>
                </a:lnTo>
                <a:lnTo>
                  <a:pt x="29" y="0"/>
                </a:lnTo>
                <a:lnTo>
                  <a:pt x="29" y="0"/>
                </a:lnTo>
                <a:lnTo>
                  <a:pt x="0" y="19"/>
                </a:lnTo>
                <a:lnTo>
                  <a:pt x="0" y="19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5" name="íṡļîḋé">
            <a:extLst>
              <a:ext uri="{FF2B5EF4-FFF2-40B4-BE49-F238E27FC236}">
                <a16:creationId xmlns:a16="http://schemas.microsoft.com/office/drawing/2014/main" id="{476B0A24-3436-4651-93C7-FF5E627A5BA8}"/>
              </a:ext>
            </a:extLst>
          </p:cNvPr>
          <p:cNvSpPr/>
          <p:nvPr/>
        </p:nvSpPr>
        <p:spPr bwMode="auto">
          <a:xfrm rot="20994702" flipV="1">
            <a:off x="5551236" y="4620654"/>
            <a:ext cx="67723" cy="19352"/>
          </a:xfrm>
          <a:custGeom>
            <a:avLst/>
            <a:gdLst/>
            <a:ahLst/>
            <a:cxnLst>
              <a:cxn ang="0">
                <a:pos x="1" y="10"/>
              </a:cxn>
              <a:cxn ang="0">
                <a:pos x="1" y="10"/>
              </a:cxn>
              <a:cxn ang="0">
                <a:pos x="35" y="7"/>
              </a:cxn>
              <a:cxn ang="0">
                <a:pos x="35" y="0"/>
              </a:cxn>
              <a:cxn ang="0">
                <a:pos x="35" y="0"/>
              </a:cxn>
              <a:cxn ang="0">
                <a:pos x="0" y="3"/>
              </a:cxn>
              <a:cxn ang="0">
                <a:pos x="1" y="10"/>
              </a:cxn>
            </a:cxnLst>
            <a:rect l="0" t="0" r="r" b="b"/>
            <a:pathLst>
              <a:path w="35" h="10">
                <a:moveTo>
                  <a:pt x="1" y="10"/>
                </a:moveTo>
                <a:lnTo>
                  <a:pt x="1" y="10"/>
                </a:lnTo>
                <a:lnTo>
                  <a:pt x="35" y="7"/>
                </a:lnTo>
                <a:lnTo>
                  <a:pt x="35" y="0"/>
                </a:lnTo>
                <a:lnTo>
                  <a:pt x="35" y="0"/>
                </a:lnTo>
                <a:lnTo>
                  <a:pt x="0" y="3"/>
                </a:lnTo>
                <a:lnTo>
                  <a:pt x="1" y="1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6" name="ïṩḷíḍé">
            <a:extLst>
              <a:ext uri="{FF2B5EF4-FFF2-40B4-BE49-F238E27FC236}">
                <a16:creationId xmlns:a16="http://schemas.microsoft.com/office/drawing/2014/main" id="{CF34FEB3-8C5D-4F72-808B-8A82A4735E88}"/>
              </a:ext>
            </a:extLst>
          </p:cNvPr>
          <p:cNvSpPr/>
          <p:nvPr/>
        </p:nvSpPr>
        <p:spPr bwMode="auto">
          <a:xfrm rot="20994702" flipV="1">
            <a:off x="5818785" y="4578934"/>
            <a:ext cx="67723" cy="1741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8"/>
              </a:cxn>
              <a:cxn ang="0">
                <a:pos x="35" y="9"/>
              </a:cxn>
              <a:cxn ang="0">
                <a:pos x="35" y="2"/>
              </a:cxn>
              <a:cxn ang="0">
                <a:pos x="35" y="2"/>
              </a:cxn>
              <a:cxn ang="0">
                <a:pos x="0" y="0"/>
              </a:cxn>
              <a:cxn ang="0">
                <a:pos x="0" y="8"/>
              </a:cxn>
            </a:cxnLst>
            <a:rect l="0" t="0" r="r" b="b"/>
            <a:pathLst>
              <a:path w="35" h="9">
                <a:moveTo>
                  <a:pt x="0" y="8"/>
                </a:moveTo>
                <a:lnTo>
                  <a:pt x="0" y="8"/>
                </a:lnTo>
                <a:lnTo>
                  <a:pt x="35" y="9"/>
                </a:lnTo>
                <a:lnTo>
                  <a:pt x="35" y="2"/>
                </a:lnTo>
                <a:lnTo>
                  <a:pt x="35" y="2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7" name="ïṥļïḑe">
            <a:extLst>
              <a:ext uri="{FF2B5EF4-FFF2-40B4-BE49-F238E27FC236}">
                <a16:creationId xmlns:a16="http://schemas.microsoft.com/office/drawing/2014/main" id="{C0BCD818-BC0B-468C-AE6F-B5CC1D2A3986}"/>
              </a:ext>
            </a:extLst>
          </p:cNvPr>
          <p:cNvSpPr/>
          <p:nvPr/>
        </p:nvSpPr>
        <p:spPr bwMode="auto">
          <a:xfrm rot="20994702" flipV="1">
            <a:off x="5683683" y="4604749"/>
            <a:ext cx="69657" cy="15481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2" y="8"/>
              </a:cxn>
              <a:cxn ang="0">
                <a:pos x="36" y="7"/>
              </a:cxn>
              <a:cxn ang="0">
                <a:pos x="36" y="0"/>
              </a:cxn>
              <a:cxn ang="0">
                <a:pos x="36" y="0"/>
              </a:cxn>
              <a:cxn ang="0">
                <a:pos x="0" y="0"/>
              </a:cxn>
              <a:cxn ang="0">
                <a:pos x="2" y="8"/>
              </a:cxn>
            </a:cxnLst>
            <a:rect l="0" t="0" r="r" b="b"/>
            <a:pathLst>
              <a:path w="36" h="8">
                <a:moveTo>
                  <a:pt x="2" y="8"/>
                </a:moveTo>
                <a:lnTo>
                  <a:pt x="2" y="8"/>
                </a:lnTo>
                <a:lnTo>
                  <a:pt x="36" y="7"/>
                </a:lnTo>
                <a:lnTo>
                  <a:pt x="36" y="0"/>
                </a:lnTo>
                <a:lnTo>
                  <a:pt x="36" y="0"/>
                </a:lnTo>
                <a:lnTo>
                  <a:pt x="0" y="0"/>
                </a:lnTo>
                <a:lnTo>
                  <a:pt x="2" y="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8" name="íşľïdê">
            <a:extLst>
              <a:ext uri="{FF2B5EF4-FFF2-40B4-BE49-F238E27FC236}">
                <a16:creationId xmlns:a16="http://schemas.microsoft.com/office/drawing/2014/main" id="{A468A037-82E6-4554-9148-47FF2F3A4EFB}"/>
              </a:ext>
            </a:extLst>
          </p:cNvPr>
          <p:cNvSpPr/>
          <p:nvPr/>
        </p:nvSpPr>
        <p:spPr bwMode="auto">
          <a:xfrm rot="20994702" flipV="1">
            <a:off x="5947856" y="4538340"/>
            <a:ext cx="67723" cy="25158"/>
          </a:xfrm>
          <a:custGeom>
            <a:avLst/>
            <a:gdLst/>
            <a:ahLst/>
            <a:cxnLst>
              <a:cxn ang="0">
                <a:pos x="35" y="5"/>
              </a:cxn>
              <a:cxn ang="0">
                <a:pos x="35" y="5"/>
              </a:cxn>
              <a:cxn ang="0">
                <a:pos x="26" y="4"/>
              </a:cxn>
              <a:cxn ang="0">
                <a:pos x="1" y="0"/>
              </a:cxn>
              <a:cxn ang="0">
                <a:pos x="0" y="7"/>
              </a:cxn>
              <a:cxn ang="0">
                <a:pos x="0" y="7"/>
              </a:cxn>
              <a:cxn ang="0">
                <a:pos x="25" y="10"/>
              </a:cxn>
              <a:cxn ang="0">
                <a:pos x="34" y="13"/>
              </a:cxn>
              <a:cxn ang="0">
                <a:pos x="35" y="5"/>
              </a:cxn>
            </a:cxnLst>
            <a:rect l="0" t="0" r="r" b="b"/>
            <a:pathLst>
              <a:path w="35" h="13">
                <a:moveTo>
                  <a:pt x="35" y="5"/>
                </a:moveTo>
                <a:lnTo>
                  <a:pt x="35" y="5"/>
                </a:lnTo>
                <a:lnTo>
                  <a:pt x="26" y="4"/>
                </a:lnTo>
                <a:lnTo>
                  <a:pt x="1" y="0"/>
                </a:lnTo>
                <a:lnTo>
                  <a:pt x="0" y="7"/>
                </a:lnTo>
                <a:lnTo>
                  <a:pt x="0" y="7"/>
                </a:lnTo>
                <a:lnTo>
                  <a:pt x="25" y="10"/>
                </a:lnTo>
                <a:lnTo>
                  <a:pt x="34" y="13"/>
                </a:lnTo>
                <a:lnTo>
                  <a:pt x="35" y="5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49" name="iSļíḓê">
            <a:extLst>
              <a:ext uri="{FF2B5EF4-FFF2-40B4-BE49-F238E27FC236}">
                <a16:creationId xmlns:a16="http://schemas.microsoft.com/office/drawing/2014/main" id="{7967B26B-8F23-4A3A-8E80-8CBC4C8AA581}"/>
              </a:ext>
            </a:extLst>
          </p:cNvPr>
          <p:cNvSpPr/>
          <p:nvPr/>
        </p:nvSpPr>
        <p:spPr bwMode="auto">
          <a:xfrm rot="20994702" flipV="1">
            <a:off x="5417078" y="4626863"/>
            <a:ext cx="67723" cy="23222"/>
          </a:xfrm>
          <a:custGeom>
            <a:avLst/>
            <a:gdLst/>
            <a:ahLst/>
            <a:cxnLst>
              <a:cxn ang="0">
                <a:pos x="1" y="12"/>
              </a:cxn>
              <a:cxn ang="0">
                <a:pos x="1" y="12"/>
              </a:cxn>
              <a:cxn ang="0">
                <a:pos x="35" y="7"/>
              </a:cxn>
              <a:cxn ang="0">
                <a:pos x="34" y="0"/>
              </a:cxn>
              <a:cxn ang="0">
                <a:pos x="34" y="0"/>
              </a:cxn>
              <a:cxn ang="0">
                <a:pos x="0" y="5"/>
              </a:cxn>
              <a:cxn ang="0">
                <a:pos x="1" y="12"/>
              </a:cxn>
            </a:cxnLst>
            <a:rect l="0" t="0" r="r" b="b"/>
            <a:pathLst>
              <a:path w="35" h="12">
                <a:moveTo>
                  <a:pt x="1" y="12"/>
                </a:moveTo>
                <a:lnTo>
                  <a:pt x="1" y="12"/>
                </a:lnTo>
                <a:lnTo>
                  <a:pt x="35" y="7"/>
                </a:lnTo>
                <a:lnTo>
                  <a:pt x="34" y="0"/>
                </a:lnTo>
                <a:lnTo>
                  <a:pt x="34" y="0"/>
                </a:lnTo>
                <a:lnTo>
                  <a:pt x="0" y="5"/>
                </a:lnTo>
                <a:lnTo>
                  <a:pt x="1" y="12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0" name="îślíḑe">
            <a:extLst>
              <a:ext uri="{FF2B5EF4-FFF2-40B4-BE49-F238E27FC236}">
                <a16:creationId xmlns:a16="http://schemas.microsoft.com/office/drawing/2014/main" id="{BA473C57-48A2-44CF-B3D8-C93ACBCA68AC}"/>
              </a:ext>
            </a:extLst>
          </p:cNvPr>
          <p:cNvSpPr/>
          <p:nvPr/>
        </p:nvSpPr>
        <p:spPr bwMode="auto">
          <a:xfrm rot="20994702" flipV="1">
            <a:off x="5283131" y="4623206"/>
            <a:ext cx="67723" cy="27093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" y="14"/>
              </a:cxn>
              <a:cxn ang="0">
                <a:pos x="1" y="14"/>
              </a:cxn>
              <a:cxn ang="0">
                <a:pos x="35" y="6"/>
              </a:cxn>
              <a:cxn ang="0">
                <a:pos x="34" y="0"/>
              </a:cxn>
              <a:cxn ang="0">
                <a:pos x="34" y="0"/>
              </a:cxn>
              <a:cxn ang="0">
                <a:pos x="0" y="7"/>
              </a:cxn>
              <a:cxn ang="0">
                <a:pos x="0" y="7"/>
              </a:cxn>
            </a:cxnLst>
            <a:rect l="0" t="0" r="r" b="b"/>
            <a:pathLst>
              <a:path w="35" h="14">
                <a:moveTo>
                  <a:pt x="0" y="7"/>
                </a:moveTo>
                <a:lnTo>
                  <a:pt x="1" y="14"/>
                </a:lnTo>
                <a:lnTo>
                  <a:pt x="1" y="14"/>
                </a:lnTo>
                <a:lnTo>
                  <a:pt x="35" y="6"/>
                </a:lnTo>
                <a:lnTo>
                  <a:pt x="34" y="0"/>
                </a:lnTo>
                <a:lnTo>
                  <a:pt x="34" y="0"/>
                </a:lnTo>
                <a:lnTo>
                  <a:pt x="0" y="7"/>
                </a:lnTo>
                <a:lnTo>
                  <a:pt x="0" y="7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51" name="isľíḋe">
            <a:extLst>
              <a:ext uri="{FF2B5EF4-FFF2-40B4-BE49-F238E27FC236}">
                <a16:creationId xmlns:a16="http://schemas.microsoft.com/office/drawing/2014/main" id="{E98AD9CA-34CC-4AE5-A51F-2C0B4BA5382F}"/>
              </a:ext>
            </a:extLst>
          </p:cNvPr>
          <p:cNvSpPr/>
          <p:nvPr/>
        </p:nvSpPr>
        <p:spPr bwMode="auto">
          <a:xfrm rot="20994702" flipV="1">
            <a:off x="5147644" y="4609839"/>
            <a:ext cx="69657" cy="32899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2" y="17"/>
              </a:cxn>
              <a:cxn ang="0">
                <a:pos x="2" y="17"/>
              </a:cxn>
              <a:cxn ang="0">
                <a:pos x="36" y="7"/>
              </a:cxn>
              <a:cxn ang="0">
                <a:pos x="34" y="0"/>
              </a:cxn>
              <a:cxn ang="0">
                <a:pos x="34" y="0"/>
              </a:cxn>
              <a:cxn ang="0">
                <a:pos x="0" y="10"/>
              </a:cxn>
              <a:cxn ang="0">
                <a:pos x="0" y="10"/>
              </a:cxn>
            </a:cxnLst>
            <a:rect l="0" t="0" r="r" b="b"/>
            <a:pathLst>
              <a:path w="36" h="17">
                <a:moveTo>
                  <a:pt x="0" y="10"/>
                </a:moveTo>
                <a:lnTo>
                  <a:pt x="2" y="17"/>
                </a:lnTo>
                <a:lnTo>
                  <a:pt x="2" y="17"/>
                </a:lnTo>
                <a:lnTo>
                  <a:pt x="36" y="7"/>
                </a:lnTo>
                <a:lnTo>
                  <a:pt x="34" y="0"/>
                </a:lnTo>
                <a:lnTo>
                  <a:pt x="34" y="0"/>
                </a:lnTo>
                <a:lnTo>
                  <a:pt x="0" y="10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9" name="ïṥḷîḓé">
            <a:extLst>
              <a:ext uri="{FF2B5EF4-FFF2-40B4-BE49-F238E27FC236}">
                <a16:creationId xmlns:a16="http://schemas.microsoft.com/office/drawing/2014/main" id="{A48463B6-7DD7-4C2C-9198-995669B37380}"/>
              </a:ext>
            </a:extLst>
          </p:cNvPr>
          <p:cNvSpPr/>
          <p:nvPr/>
        </p:nvSpPr>
        <p:spPr bwMode="auto">
          <a:xfrm>
            <a:off x="6253433" y="3323642"/>
            <a:ext cx="1983167" cy="952937"/>
          </a:xfrm>
          <a:custGeom>
            <a:avLst/>
            <a:gdLst/>
            <a:ahLst/>
            <a:cxnLst>
              <a:cxn ang="0">
                <a:pos x="179" y="60"/>
              </a:cxn>
              <a:cxn ang="0">
                <a:pos x="175" y="50"/>
              </a:cxn>
              <a:cxn ang="0">
                <a:pos x="170" y="42"/>
              </a:cxn>
              <a:cxn ang="0">
                <a:pos x="160" y="37"/>
              </a:cxn>
              <a:cxn ang="0">
                <a:pos x="148" y="33"/>
              </a:cxn>
              <a:cxn ang="0">
                <a:pos x="147" y="28"/>
              </a:cxn>
              <a:cxn ang="0">
                <a:pos x="141" y="19"/>
              </a:cxn>
              <a:cxn ang="0">
                <a:pos x="133" y="12"/>
              </a:cxn>
              <a:cxn ang="0">
                <a:pos x="121" y="9"/>
              </a:cxn>
              <a:cxn ang="0">
                <a:pos x="115" y="8"/>
              </a:cxn>
              <a:cxn ang="0">
                <a:pos x="103" y="10"/>
              </a:cxn>
              <a:cxn ang="0">
                <a:pos x="93" y="15"/>
              </a:cxn>
              <a:cxn ang="0">
                <a:pos x="88" y="9"/>
              </a:cxn>
              <a:cxn ang="0">
                <a:pos x="72" y="1"/>
              </a:cxn>
              <a:cxn ang="0">
                <a:pos x="64" y="0"/>
              </a:cxn>
              <a:cxn ang="0">
                <a:pos x="50" y="3"/>
              </a:cxn>
              <a:cxn ang="0">
                <a:pos x="39" y="8"/>
              </a:cxn>
              <a:cxn ang="0">
                <a:pos x="32" y="17"/>
              </a:cxn>
              <a:cxn ang="0">
                <a:pos x="30" y="27"/>
              </a:cxn>
              <a:cxn ang="0">
                <a:pos x="31" y="33"/>
              </a:cxn>
              <a:cxn ang="0">
                <a:pos x="24" y="34"/>
              </a:cxn>
              <a:cxn ang="0">
                <a:pos x="13" y="39"/>
              </a:cxn>
              <a:cxn ang="0">
                <a:pos x="5" y="45"/>
              </a:cxn>
              <a:cxn ang="0">
                <a:pos x="0" y="54"/>
              </a:cxn>
              <a:cxn ang="0">
                <a:pos x="0" y="60"/>
              </a:cxn>
              <a:cxn ang="0">
                <a:pos x="2" y="69"/>
              </a:cxn>
              <a:cxn ang="0">
                <a:pos x="9" y="77"/>
              </a:cxn>
              <a:cxn ang="0">
                <a:pos x="17" y="83"/>
              </a:cxn>
              <a:cxn ang="0">
                <a:pos x="30" y="86"/>
              </a:cxn>
              <a:cxn ang="0">
                <a:pos x="32" y="86"/>
              </a:cxn>
              <a:cxn ang="0">
                <a:pos x="34" y="86"/>
              </a:cxn>
              <a:cxn ang="0">
                <a:pos x="35" y="86"/>
              </a:cxn>
              <a:cxn ang="0">
                <a:pos x="147" y="86"/>
              </a:cxn>
              <a:cxn ang="0">
                <a:pos x="154" y="85"/>
              </a:cxn>
              <a:cxn ang="0">
                <a:pos x="165" y="80"/>
              </a:cxn>
              <a:cxn ang="0">
                <a:pos x="173" y="74"/>
              </a:cxn>
              <a:cxn ang="0">
                <a:pos x="178" y="64"/>
              </a:cxn>
              <a:cxn ang="0">
                <a:pos x="179" y="60"/>
              </a:cxn>
            </a:cxnLst>
            <a:rect l="0" t="0" r="r" b="b"/>
            <a:pathLst>
              <a:path w="179" h="86">
                <a:moveTo>
                  <a:pt x="179" y="60"/>
                </a:moveTo>
                <a:lnTo>
                  <a:pt x="179" y="60"/>
                </a:lnTo>
                <a:lnTo>
                  <a:pt x="178" y="54"/>
                </a:lnTo>
                <a:lnTo>
                  <a:pt x="175" y="50"/>
                </a:lnTo>
                <a:lnTo>
                  <a:pt x="173" y="45"/>
                </a:lnTo>
                <a:lnTo>
                  <a:pt x="170" y="42"/>
                </a:lnTo>
                <a:lnTo>
                  <a:pt x="166" y="39"/>
                </a:lnTo>
                <a:lnTo>
                  <a:pt x="160" y="37"/>
                </a:lnTo>
                <a:lnTo>
                  <a:pt x="155" y="34"/>
                </a:lnTo>
                <a:lnTo>
                  <a:pt x="148" y="33"/>
                </a:lnTo>
                <a:lnTo>
                  <a:pt x="148" y="33"/>
                </a:lnTo>
                <a:lnTo>
                  <a:pt x="147" y="28"/>
                </a:lnTo>
                <a:lnTo>
                  <a:pt x="145" y="23"/>
                </a:lnTo>
                <a:lnTo>
                  <a:pt x="141" y="19"/>
                </a:lnTo>
                <a:lnTo>
                  <a:pt x="138" y="16"/>
                </a:lnTo>
                <a:lnTo>
                  <a:pt x="133" y="12"/>
                </a:lnTo>
                <a:lnTo>
                  <a:pt x="127" y="10"/>
                </a:lnTo>
                <a:lnTo>
                  <a:pt x="121" y="9"/>
                </a:lnTo>
                <a:lnTo>
                  <a:pt x="115" y="8"/>
                </a:lnTo>
                <a:lnTo>
                  <a:pt x="115" y="8"/>
                </a:lnTo>
                <a:lnTo>
                  <a:pt x="109" y="9"/>
                </a:lnTo>
                <a:lnTo>
                  <a:pt x="103" y="10"/>
                </a:lnTo>
                <a:lnTo>
                  <a:pt x="98" y="12"/>
                </a:lnTo>
                <a:lnTo>
                  <a:pt x="93" y="15"/>
                </a:lnTo>
                <a:lnTo>
                  <a:pt x="93" y="15"/>
                </a:lnTo>
                <a:lnTo>
                  <a:pt x="88" y="9"/>
                </a:lnTo>
                <a:lnTo>
                  <a:pt x="81" y="5"/>
                </a:lnTo>
                <a:lnTo>
                  <a:pt x="72" y="1"/>
                </a:lnTo>
                <a:lnTo>
                  <a:pt x="64" y="0"/>
                </a:lnTo>
                <a:lnTo>
                  <a:pt x="64" y="0"/>
                </a:lnTo>
                <a:lnTo>
                  <a:pt x="56" y="1"/>
                </a:lnTo>
                <a:lnTo>
                  <a:pt x="50" y="3"/>
                </a:lnTo>
                <a:lnTo>
                  <a:pt x="44" y="5"/>
                </a:lnTo>
                <a:lnTo>
                  <a:pt x="39" y="8"/>
                </a:lnTo>
                <a:lnTo>
                  <a:pt x="35" y="12"/>
                </a:lnTo>
                <a:lnTo>
                  <a:pt x="32" y="17"/>
                </a:lnTo>
                <a:lnTo>
                  <a:pt x="31" y="21"/>
                </a:lnTo>
                <a:lnTo>
                  <a:pt x="30" y="27"/>
                </a:lnTo>
                <a:lnTo>
                  <a:pt x="30" y="27"/>
                </a:lnTo>
                <a:lnTo>
                  <a:pt x="31" y="33"/>
                </a:lnTo>
                <a:lnTo>
                  <a:pt x="31" y="33"/>
                </a:lnTo>
                <a:lnTo>
                  <a:pt x="24" y="34"/>
                </a:lnTo>
                <a:lnTo>
                  <a:pt x="19" y="35"/>
                </a:lnTo>
                <a:lnTo>
                  <a:pt x="13" y="39"/>
                </a:lnTo>
                <a:lnTo>
                  <a:pt x="9" y="42"/>
                </a:lnTo>
                <a:lnTo>
                  <a:pt x="5" y="45"/>
                </a:lnTo>
                <a:lnTo>
                  <a:pt x="2" y="50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0" y="64"/>
                </a:lnTo>
                <a:lnTo>
                  <a:pt x="2" y="69"/>
                </a:lnTo>
                <a:lnTo>
                  <a:pt x="4" y="73"/>
                </a:lnTo>
                <a:lnTo>
                  <a:pt x="9" y="77"/>
                </a:lnTo>
                <a:lnTo>
                  <a:pt x="13" y="80"/>
                </a:lnTo>
                <a:lnTo>
                  <a:pt x="17" y="83"/>
                </a:lnTo>
                <a:lnTo>
                  <a:pt x="23" y="85"/>
                </a:lnTo>
                <a:lnTo>
                  <a:pt x="30" y="86"/>
                </a:lnTo>
                <a:lnTo>
                  <a:pt x="30" y="86"/>
                </a:lnTo>
                <a:lnTo>
                  <a:pt x="32" y="86"/>
                </a:lnTo>
                <a:lnTo>
                  <a:pt x="32" y="86"/>
                </a:lnTo>
                <a:lnTo>
                  <a:pt x="34" y="86"/>
                </a:lnTo>
                <a:lnTo>
                  <a:pt x="34" y="86"/>
                </a:lnTo>
                <a:lnTo>
                  <a:pt x="35" y="86"/>
                </a:lnTo>
                <a:lnTo>
                  <a:pt x="147" y="86"/>
                </a:lnTo>
                <a:lnTo>
                  <a:pt x="147" y="86"/>
                </a:lnTo>
                <a:lnTo>
                  <a:pt x="147" y="86"/>
                </a:lnTo>
                <a:lnTo>
                  <a:pt x="154" y="85"/>
                </a:lnTo>
                <a:lnTo>
                  <a:pt x="159" y="83"/>
                </a:lnTo>
                <a:lnTo>
                  <a:pt x="165" y="80"/>
                </a:lnTo>
                <a:lnTo>
                  <a:pt x="169" y="77"/>
                </a:lnTo>
                <a:lnTo>
                  <a:pt x="173" y="74"/>
                </a:lnTo>
                <a:lnTo>
                  <a:pt x="175" y="69"/>
                </a:lnTo>
                <a:lnTo>
                  <a:pt x="178" y="64"/>
                </a:lnTo>
                <a:lnTo>
                  <a:pt x="179" y="60"/>
                </a:lnTo>
                <a:lnTo>
                  <a:pt x="179" y="6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6" name="ïsľîḍè">
            <a:extLst>
              <a:ext uri="{FF2B5EF4-FFF2-40B4-BE49-F238E27FC236}">
                <a16:creationId xmlns:a16="http://schemas.microsoft.com/office/drawing/2014/main" id="{7BEC00F8-DC59-499D-8593-9983C6D8AC13}"/>
              </a:ext>
            </a:extLst>
          </p:cNvPr>
          <p:cNvSpPr/>
          <p:nvPr/>
        </p:nvSpPr>
        <p:spPr bwMode="auto">
          <a:xfrm>
            <a:off x="8847082" y="3125584"/>
            <a:ext cx="365701" cy="325111"/>
          </a:xfrm>
          <a:custGeom>
            <a:avLst/>
            <a:gdLst/>
            <a:ahLst/>
            <a:cxnLst>
              <a:cxn ang="0">
                <a:pos x="186" y="97"/>
              </a:cxn>
              <a:cxn ang="0">
                <a:pos x="186" y="97"/>
              </a:cxn>
              <a:cxn ang="0">
                <a:pos x="183" y="94"/>
              </a:cxn>
              <a:cxn ang="0">
                <a:pos x="178" y="92"/>
              </a:cxn>
              <a:cxn ang="0">
                <a:pos x="161" y="88"/>
              </a:cxn>
              <a:cxn ang="0">
                <a:pos x="130" y="81"/>
              </a:cxn>
              <a:cxn ang="0">
                <a:pos x="90" y="4"/>
              </a:cxn>
              <a:cxn ang="0">
                <a:pos x="75" y="0"/>
              </a:cxn>
              <a:cxn ang="0">
                <a:pos x="83" y="72"/>
              </a:cxn>
              <a:cxn ang="0">
                <a:pos x="43" y="64"/>
              </a:cxn>
              <a:cxn ang="0">
                <a:pos x="26" y="32"/>
              </a:cxn>
              <a:cxn ang="0">
                <a:pos x="18" y="31"/>
              </a:cxn>
              <a:cxn ang="0">
                <a:pos x="18" y="34"/>
              </a:cxn>
              <a:cxn ang="0">
                <a:pos x="16" y="33"/>
              </a:cxn>
              <a:cxn ang="0">
                <a:pos x="19" y="69"/>
              </a:cxn>
              <a:cxn ang="0">
                <a:pos x="19" y="75"/>
              </a:cxn>
              <a:cxn ang="0">
                <a:pos x="17" y="80"/>
              </a:cxn>
              <a:cxn ang="0">
                <a:pos x="0" y="111"/>
              </a:cxn>
              <a:cxn ang="0">
                <a:pos x="2" y="112"/>
              </a:cxn>
              <a:cxn ang="0">
                <a:pos x="0" y="114"/>
              </a:cxn>
              <a:cxn ang="0">
                <a:pos x="9" y="117"/>
              </a:cxn>
              <a:cxn ang="0">
                <a:pos x="38" y="95"/>
              </a:cxn>
              <a:cxn ang="0">
                <a:pos x="77" y="102"/>
              </a:cxn>
              <a:cxn ang="0">
                <a:pos x="41" y="165"/>
              </a:cxn>
              <a:cxn ang="0">
                <a:pos x="57" y="168"/>
              </a:cxn>
              <a:cxn ang="0">
                <a:pos x="124" y="111"/>
              </a:cxn>
              <a:cxn ang="0">
                <a:pos x="155" y="118"/>
              </a:cxn>
              <a:cxn ang="0">
                <a:pos x="173" y="121"/>
              </a:cxn>
              <a:cxn ang="0">
                <a:pos x="173" y="121"/>
              </a:cxn>
              <a:cxn ang="0">
                <a:pos x="177" y="121"/>
              </a:cxn>
              <a:cxn ang="0">
                <a:pos x="181" y="119"/>
              </a:cxn>
              <a:cxn ang="0">
                <a:pos x="181" y="119"/>
              </a:cxn>
              <a:cxn ang="0">
                <a:pos x="186" y="115"/>
              </a:cxn>
              <a:cxn ang="0">
                <a:pos x="188" y="112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9"/>
              </a:cxn>
              <a:cxn ang="0">
                <a:pos x="189" y="106"/>
              </a:cxn>
              <a:cxn ang="0">
                <a:pos x="189" y="102"/>
              </a:cxn>
              <a:cxn ang="0">
                <a:pos x="186" y="97"/>
              </a:cxn>
              <a:cxn ang="0">
                <a:pos x="186" y="97"/>
              </a:cxn>
            </a:cxnLst>
            <a:rect l="0" t="0" r="r" b="b"/>
            <a:pathLst>
              <a:path w="189" h="168">
                <a:moveTo>
                  <a:pt x="186" y="97"/>
                </a:moveTo>
                <a:lnTo>
                  <a:pt x="186" y="97"/>
                </a:lnTo>
                <a:lnTo>
                  <a:pt x="183" y="94"/>
                </a:lnTo>
                <a:lnTo>
                  <a:pt x="178" y="92"/>
                </a:lnTo>
                <a:lnTo>
                  <a:pt x="161" y="88"/>
                </a:lnTo>
                <a:lnTo>
                  <a:pt x="130" y="81"/>
                </a:lnTo>
                <a:lnTo>
                  <a:pt x="90" y="4"/>
                </a:lnTo>
                <a:lnTo>
                  <a:pt x="75" y="0"/>
                </a:lnTo>
                <a:lnTo>
                  <a:pt x="83" y="72"/>
                </a:lnTo>
                <a:lnTo>
                  <a:pt x="43" y="64"/>
                </a:lnTo>
                <a:lnTo>
                  <a:pt x="26" y="32"/>
                </a:lnTo>
                <a:lnTo>
                  <a:pt x="18" y="31"/>
                </a:lnTo>
                <a:lnTo>
                  <a:pt x="18" y="34"/>
                </a:lnTo>
                <a:lnTo>
                  <a:pt x="16" y="33"/>
                </a:lnTo>
                <a:lnTo>
                  <a:pt x="19" y="69"/>
                </a:lnTo>
                <a:lnTo>
                  <a:pt x="19" y="75"/>
                </a:lnTo>
                <a:lnTo>
                  <a:pt x="17" y="80"/>
                </a:lnTo>
                <a:lnTo>
                  <a:pt x="0" y="111"/>
                </a:lnTo>
                <a:lnTo>
                  <a:pt x="2" y="112"/>
                </a:lnTo>
                <a:lnTo>
                  <a:pt x="0" y="114"/>
                </a:lnTo>
                <a:lnTo>
                  <a:pt x="9" y="117"/>
                </a:lnTo>
                <a:lnTo>
                  <a:pt x="38" y="95"/>
                </a:lnTo>
                <a:lnTo>
                  <a:pt x="77" y="102"/>
                </a:lnTo>
                <a:lnTo>
                  <a:pt x="41" y="165"/>
                </a:lnTo>
                <a:lnTo>
                  <a:pt x="57" y="168"/>
                </a:lnTo>
                <a:lnTo>
                  <a:pt x="124" y="111"/>
                </a:lnTo>
                <a:lnTo>
                  <a:pt x="155" y="118"/>
                </a:lnTo>
                <a:lnTo>
                  <a:pt x="173" y="121"/>
                </a:lnTo>
                <a:lnTo>
                  <a:pt x="173" y="121"/>
                </a:lnTo>
                <a:lnTo>
                  <a:pt x="177" y="121"/>
                </a:lnTo>
                <a:lnTo>
                  <a:pt x="181" y="119"/>
                </a:lnTo>
                <a:lnTo>
                  <a:pt x="181" y="119"/>
                </a:lnTo>
                <a:lnTo>
                  <a:pt x="186" y="115"/>
                </a:lnTo>
                <a:lnTo>
                  <a:pt x="188" y="112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9"/>
                </a:lnTo>
                <a:lnTo>
                  <a:pt x="189" y="106"/>
                </a:lnTo>
                <a:lnTo>
                  <a:pt x="189" y="102"/>
                </a:lnTo>
                <a:lnTo>
                  <a:pt x="186" y="97"/>
                </a:lnTo>
                <a:lnTo>
                  <a:pt x="186" y="97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7" name="ïṥľïḍè">
            <a:extLst>
              <a:ext uri="{FF2B5EF4-FFF2-40B4-BE49-F238E27FC236}">
                <a16:creationId xmlns:a16="http://schemas.microsoft.com/office/drawing/2014/main" id="{2C393DC1-205E-47A5-A3C7-33BD0724DC01}"/>
              </a:ext>
            </a:extLst>
          </p:cNvPr>
          <p:cNvSpPr/>
          <p:nvPr/>
        </p:nvSpPr>
        <p:spPr bwMode="auto">
          <a:xfrm>
            <a:off x="7842858" y="3342325"/>
            <a:ext cx="65787" cy="36769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3" y="19"/>
              </a:cxn>
              <a:cxn ang="0">
                <a:pos x="3" y="19"/>
              </a:cxn>
              <a:cxn ang="0">
                <a:pos x="34" y="7"/>
              </a:cxn>
              <a:cxn ang="0">
                <a:pos x="32" y="0"/>
              </a:cxn>
              <a:cxn ang="0">
                <a:pos x="32" y="0"/>
              </a:cxn>
              <a:cxn ang="0">
                <a:pos x="0" y="12"/>
              </a:cxn>
              <a:cxn ang="0">
                <a:pos x="0" y="12"/>
              </a:cxn>
            </a:cxnLst>
            <a:rect l="0" t="0" r="r" b="b"/>
            <a:pathLst>
              <a:path w="34" h="19">
                <a:moveTo>
                  <a:pt x="0" y="12"/>
                </a:moveTo>
                <a:lnTo>
                  <a:pt x="3" y="19"/>
                </a:lnTo>
                <a:lnTo>
                  <a:pt x="3" y="19"/>
                </a:lnTo>
                <a:lnTo>
                  <a:pt x="34" y="7"/>
                </a:lnTo>
                <a:lnTo>
                  <a:pt x="32" y="0"/>
                </a:lnTo>
                <a:lnTo>
                  <a:pt x="32" y="0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8" name="iṩḷïḓe">
            <a:extLst>
              <a:ext uri="{FF2B5EF4-FFF2-40B4-BE49-F238E27FC236}">
                <a16:creationId xmlns:a16="http://schemas.microsoft.com/office/drawing/2014/main" id="{0B13CA04-4051-4BD9-B3BA-763560564815}"/>
              </a:ext>
            </a:extLst>
          </p:cNvPr>
          <p:cNvSpPr/>
          <p:nvPr/>
        </p:nvSpPr>
        <p:spPr bwMode="auto">
          <a:xfrm>
            <a:off x="7720957" y="3394574"/>
            <a:ext cx="65787" cy="38704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3" y="20"/>
              </a:cxn>
              <a:cxn ang="0">
                <a:pos x="3" y="20"/>
              </a:cxn>
              <a:cxn ang="0">
                <a:pos x="34" y="6"/>
              </a:cxn>
              <a:cxn ang="0">
                <a:pos x="30" y="0"/>
              </a:cxn>
              <a:cxn ang="0">
                <a:pos x="30" y="0"/>
              </a:cxn>
              <a:cxn ang="0">
                <a:pos x="0" y="15"/>
              </a:cxn>
              <a:cxn ang="0">
                <a:pos x="0" y="15"/>
              </a:cxn>
            </a:cxnLst>
            <a:rect l="0" t="0" r="r" b="b"/>
            <a:pathLst>
              <a:path w="34" h="20">
                <a:moveTo>
                  <a:pt x="0" y="15"/>
                </a:moveTo>
                <a:lnTo>
                  <a:pt x="3" y="20"/>
                </a:lnTo>
                <a:lnTo>
                  <a:pt x="3" y="20"/>
                </a:lnTo>
                <a:lnTo>
                  <a:pt x="34" y="6"/>
                </a:lnTo>
                <a:lnTo>
                  <a:pt x="30" y="0"/>
                </a:lnTo>
                <a:lnTo>
                  <a:pt x="30" y="0"/>
                </a:lnTo>
                <a:lnTo>
                  <a:pt x="0" y="15"/>
                </a:lnTo>
                <a:lnTo>
                  <a:pt x="0" y="15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29" name="íṩḻíḑé">
            <a:extLst>
              <a:ext uri="{FF2B5EF4-FFF2-40B4-BE49-F238E27FC236}">
                <a16:creationId xmlns:a16="http://schemas.microsoft.com/office/drawing/2014/main" id="{79C17300-D849-4150-A5A3-6687AF38B58D}"/>
              </a:ext>
            </a:extLst>
          </p:cNvPr>
          <p:cNvSpPr/>
          <p:nvPr/>
        </p:nvSpPr>
        <p:spPr bwMode="auto">
          <a:xfrm>
            <a:off x="7600992" y="3454566"/>
            <a:ext cx="65787" cy="46444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5" y="24"/>
              </a:cxn>
              <a:cxn ang="0">
                <a:pos x="5" y="24"/>
              </a:cxn>
              <a:cxn ang="0">
                <a:pos x="34" y="6"/>
              </a:cxn>
              <a:cxn ang="0">
                <a:pos x="31" y="0"/>
              </a:cxn>
              <a:cxn ang="0">
                <a:pos x="31" y="0"/>
              </a:cxn>
              <a:cxn ang="0">
                <a:pos x="0" y="18"/>
              </a:cxn>
              <a:cxn ang="0">
                <a:pos x="0" y="18"/>
              </a:cxn>
            </a:cxnLst>
            <a:rect l="0" t="0" r="r" b="b"/>
            <a:pathLst>
              <a:path w="34" h="24">
                <a:moveTo>
                  <a:pt x="0" y="18"/>
                </a:moveTo>
                <a:lnTo>
                  <a:pt x="5" y="24"/>
                </a:lnTo>
                <a:lnTo>
                  <a:pt x="5" y="24"/>
                </a:lnTo>
                <a:lnTo>
                  <a:pt x="34" y="6"/>
                </a:lnTo>
                <a:lnTo>
                  <a:pt x="31" y="0"/>
                </a:lnTo>
                <a:lnTo>
                  <a:pt x="31" y="0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0" name="îšḷiďé">
            <a:extLst>
              <a:ext uri="{FF2B5EF4-FFF2-40B4-BE49-F238E27FC236}">
                <a16:creationId xmlns:a16="http://schemas.microsoft.com/office/drawing/2014/main" id="{5F562B3C-1B64-425C-A7A5-5799FA60735C}"/>
              </a:ext>
            </a:extLst>
          </p:cNvPr>
          <p:cNvSpPr/>
          <p:nvPr/>
        </p:nvSpPr>
        <p:spPr bwMode="auto">
          <a:xfrm>
            <a:off x="7384281" y="3605510"/>
            <a:ext cx="59983" cy="56121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5" y="29"/>
              </a:cxn>
              <a:cxn ang="0">
                <a:pos x="5" y="29"/>
              </a:cxn>
              <a:cxn ang="0">
                <a:pos x="31" y="6"/>
              </a:cxn>
              <a:cxn ang="0">
                <a:pos x="27" y="0"/>
              </a:cxn>
              <a:cxn ang="0">
                <a:pos x="27" y="0"/>
              </a:cxn>
              <a:cxn ang="0">
                <a:pos x="0" y="23"/>
              </a:cxn>
              <a:cxn ang="0">
                <a:pos x="0" y="23"/>
              </a:cxn>
            </a:cxnLst>
            <a:rect l="0" t="0" r="r" b="b"/>
            <a:pathLst>
              <a:path w="31" h="29">
                <a:moveTo>
                  <a:pt x="0" y="23"/>
                </a:moveTo>
                <a:lnTo>
                  <a:pt x="5" y="29"/>
                </a:lnTo>
                <a:lnTo>
                  <a:pt x="5" y="29"/>
                </a:lnTo>
                <a:lnTo>
                  <a:pt x="31" y="6"/>
                </a:lnTo>
                <a:lnTo>
                  <a:pt x="27" y="0"/>
                </a:lnTo>
                <a:lnTo>
                  <a:pt x="27" y="0"/>
                </a:lnTo>
                <a:lnTo>
                  <a:pt x="0" y="23"/>
                </a:lnTo>
                <a:lnTo>
                  <a:pt x="0" y="2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1" name="iṩlïḓé">
            <a:extLst>
              <a:ext uri="{FF2B5EF4-FFF2-40B4-BE49-F238E27FC236}">
                <a16:creationId xmlns:a16="http://schemas.microsoft.com/office/drawing/2014/main" id="{9B0E3C5A-5E11-4678-A673-8518012C06E9}"/>
              </a:ext>
            </a:extLst>
          </p:cNvPr>
          <p:cNvSpPr/>
          <p:nvPr/>
        </p:nvSpPr>
        <p:spPr bwMode="auto">
          <a:xfrm>
            <a:off x="7488767" y="3526167"/>
            <a:ext cx="61918" cy="48380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4" y="25"/>
              </a:cxn>
              <a:cxn ang="0">
                <a:pos x="4" y="25"/>
              </a:cxn>
              <a:cxn ang="0">
                <a:pos x="32" y="5"/>
              </a:cxn>
              <a:cxn ang="0">
                <a:pos x="29" y="0"/>
              </a:cxn>
              <a:cxn ang="0">
                <a:pos x="29" y="0"/>
              </a:cxn>
              <a:cxn ang="0">
                <a:pos x="0" y="19"/>
              </a:cxn>
              <a:cxn ang="0">
                <a:pos x="0" y="19"/>
              </a:cxn>
            </a:cxnLst>
            <a:rect l="0" t="0" r="r" b="b"/>
            <a:pathLst>
              <a:path w="32" h="25">
                <a:moveTo>
                  <a:pt x="0" y="19"/>
                </a:moveTo>
                <a:lnTo>
                  <a:pt x="4" y="25"/>
                </a:lnTo>
                <a:lnTo>
                  <a:pt x="4" y="25"/>
                </a:lnTo>
                <a:lnTo>
                  <a:pt x="32" y="5"/>
                </a:lnTo>
                <a:lnTo>
                  <a:pt x="29" y="0"/>
                </a:lnTo>
                <a:lnTo>
                  <a:pt x="29" y="0"/>
                </a:lnTo>
                <a:lnTo>
                  <a:pt x="0" y="19"/>
                </a:lnTo>
                <a:lnTo>
                  <a:pt x="0" y="19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2" name="îSḻïḓe">
            <a:extLst>
              <a:ext uri="{FF2B5EF4-FFF2-40B4-BE49-F238E27FC236}">
                <a16:creationId xmlns:a16="http://schemas.microsoft.com/office/drawing/2014/main" id="{9F6A8F87-90DE-446A-B962-256585CCDCB5}"/>
              </a:ext>
            </a:extLst>
          </p:cNvPr>
          <p:cNvSpPr/>
          <p:nvPr/>
        </p:nvSpPr>
        <p:spPr bwMode="auto">
          <a:xfrm>
            <a:off x="8365287" y="3232019"/>
            <a:ext cx="67723" cy="19352"/>
          </a:xfrm>
          <a:custGeom>
            <a:avLst/>
            <a:gdLst/>
            <a:ahLst/>
            <a:cxnLst>
              <a:cxn ang="0">
                <a:pos x="1" y="10"/>
              </a:cxn>
              <a:cxn ang="0">
                <a:pos x="1" y="10"/>
              </a:cxn>
              <a:cxn ang="0">
                <a:pos x="35" y="7"/>
              </a:cxn>
              <a:cxn ang="0">
                <a:pos x="35" y="0"/>
              </a:cxn>
              <a:cxn ang="0">
                <a:pos x="35" y="0"/>
              </a:cxn>
              <a:cxn ang="0">
                <a:pos x="0" y="3"/>
              </a:cxn>
              <a:cxn ang="0">
                <a:pos x="1" y="10"/>
              </a:cxn>
            </a:cxnLst>
            <a:rect l="0" t="0" r="r" b="b"/>
            <a:pathLst>
              <a:path w="35" h="10">
                <a:moveTo>
                  <a:pt x="1" y="10"/>
                </a:moveTo>
                <a:lnTo>
                  <a:pt x="1" y="10"/>
                </a:lnTo>
                <a:lnTo>
                  <a:pt x="35" y="7"/>
                </a:lnTo>
                <a:lnTo>
                  <a:pt x="35" y="0"/>
                </a:lnTo>
                <a:lnTo>
                  <a:pt x="35" y="0"/>
                </a:lnTo>
                <a:lnTo>
                  <a:pt x="0" y="3"/>
                </a:lnTo>
                <a:lnTo>
                  <a:pt x="1" y="1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3" name="îṩļiḍê">
            <a:extLst>
              <a:ext uri="{FF2B5EF4-FFF2-40B4-BE49-F238E27FC236}">
                <a16:creationId xmlns:a16="http://schemas.microsoft.com/office/drawing/2014/main" id="{9B1DD9DC-C39A-4204-8EEE-82A8EF2715A9}"/>
              </a:ext>
            </a:extLst>
          </p:cNvPr>
          <p:cNvSpPr/>
          <p:nvPr/>
        </p:nvSpPr>
        <p:spPr bwMode="auto">
          <a:xfrm>
            <a:off x="8636176" y="3228148"/>
            <a:ext cx="67723" cy="1741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8"/>
              </a:cxn>
              <a:cxn ang="0">
                <a:pos x="35" y="9"/>
              </a:cxn>
              <a:cxn ang="0">
                <a:pos x="35" y="2"/>
              </a:cxn>
              <a:cxn ang="0">
                <a:pos x="35" y="2"/>
              </a:cxn>
              <a:cxn ang="0">
                <a:pos x="0" y="0"/>
              </a:cxn>
              <a:cxn ang="0">
                <a:pos x="0" y="8"/>
              </a:cxn>
            </a:cxnLst>
            <a:rect l="0" t="0" r="r" b="b"/>
            <a:pathLst>
              <a:path w="35" h="9">
                <a:moveTo>
                  <a:pt x="0" y="8"/>
                </a:moveTo>
                <a:lnTo>
                  <a:pt x="0" y="8"/>
                </a:lnTo>
                <a:lnTo>
                  <a:pt x="35" y="9"/>
                </a:lnTo>
                <a:lnTo>
                  <a:pt x="35" y="2"/>
                </a:lnTo>
                <a:lnTo>
                  <a:pt x="35" y="2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4" name="îsḷîḍè">
            <a:extLst>
              <a:ext uri="{FF2B5EF4-FFF2-40B4-BE49-F238E27FC236}">
                <a16:creationId xmlns:a16="http://schemas.microsoft.com/office/drawing/2014/main" id="{D94B56EF-2634-410F-B759-73907C081691}"/>
              </a:ext>
            </a:extLst>
          </p:cNvPr>
          <p:cNvSpPr/>
          <p:nvPr/>
        </p:nvSpPr>
        <p:spPr bwMode="auto">
          <a:xfrm>
            <a:off x="8498796" y="3228148"/>
            <a:ext cx="69657" cy="15481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2" y="8"/>
              </a:cxn>
              <a:cxn ang="0">
                <a:pos x="36" y="7"/>
              </a:cxn>
              <a:cxn ang="0">
                <a:pos x="36" y="0"/>
              </a:cxn>
              <a:cxn ang="0">
                <a:pos x="36" y="0"/>
              </a:cxn>
              <a:cxn ang="0">
                <a:pos x="0" y="0"/>
              </a:cxn>
              <a:cxn ang="0">
                <a:pos x="2" y="8"/>
              </a:cxn>
            </a:cxnLst>
            <a:rect l="0" t="0" r="r" b="b"/>
            <a:pathLst>
              <a:path w="36" h="8">
                <a:moveTo>
                  <a:pt x="2" y="8"/>
                </a:moveTo>
                <a:lnTo>
                  <a:pt x="2" y="8"/>
                </a:lnTo>
                <a:lnTo>
                  <a:pt x="36" y="7"/>
                </a:lnTo>
                <a:lnTo>
                  <a:pt x="36" y="0"/>
                </a:lnTo>
                <a:lnTo>
                  <a:pt x="36" y="0"/>
                </a:lnTo>
                <a:lnTo>
                  <a:pt x="0" y="0"/>
                </a:lnTo>
                <a:lnTo>
                  <a:pt x="2" y="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5" name="ïśļïdè">
            <a:extLst>
              <a:ext uri="{FF2B5EF4-FFF2-40B4-BE49-F238E27FC236}">
                <a16:creationId xmlns:a16="http://schemas.microsoft.com/office/drawing/2014/main" id="{350E6609-3262-4C1D-B12D-126B4CDB9A0F}"/>
              </a:ext>
            </a:extLst>
          </p:cNvPr>
          <p:cNvSpPr/>
          <p:nvPr/>
        </p:nvSpPr>
        <p:spPr bwMode="auto">
          <a:xfrm>
            <a:off x="8769685" y="3237825"/>
            <a:ext cx="67723" cy="25158"/>
          </a:xfrm>
          <a:custGeom>
            <a:avLst/>
            <a:gdLst/>
            <a:ahLst/>
            <a:cxnLst>
              <a:cxn ang="0">
                <a:pos x="35" y="5"/>
              </a:cxn>
              <a:cxn ang="0">
                <a:pos x="35" y="5"/>
              </a:cxn>
              <a:cxn ang="0">
                <a:pos x="26" y="4"/>
              </a:cxn>
              <a:cxn ang="0">
                <a:pos x="1" y="0"/>
              </a:cxn>
              <a:cxn ang="0">
                <a:pos x="0" y="7"/>
              </a:cxn>
              <a:cxn ang="0">
                <a:pos x="0" y="7"/>
              </a:cxn>
              <a:cxn ang="0">
                <a:pos x="25" y="10"/>
              </a:cxn>
              <a:cxn ang="0">
                <a:pos x="34" y="13"/>
              </a:cxn>
              <a:cxn ang="0">
                <a:pos x="35" y="5"/>
              </a:cxn>
            </a:cxnLst>
            <a:rect l="0" t="0" r="r" b="b"/>
            <a:pathLst>
              <a:path w="35" h="13">
                <a:moveTo>
                  <a:pt x="35" y="5"/>
                </a:moveTo>
                <a:lnTo>
                  <a:pt x="35" y="5"/>
                </a:lnTo>
                <a:lnTo>
                  <a:pt x="26" y="4"/>
                </a:lnTo>
                <a:lnTo>
                  <a:pt x="1" y="0"/>
                </a:lnTo>
                <a:lnTo>
                  <a:pt x="0" y="7"/>
                </a:lnTo>
                <a:lnTo>
                  <a:pt x="0" y="7"/>
                </a:lnTo>
                <a:lnTo>
                  <a:pt x="25" y="10"/>
                </a:lnTo>
                <a:lnTo>
                  <a:pt x="34" y="13"/>
                </a:lnTo>
                <a:lnTo>
                  <a:pt x="35" y="5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6" name="îṣḷïḓê">
            <a:extLst>
              <a:ext uri="{FF2B5EF4-FFF2-40B4-BE49-F238E27FC236}">
                <a16:creationId xmlns:a16="http://schemas.microsoft.com/office/drawing/2014/main" id="{867763AE-BFB3-43DA-8626-C881101657BB}"/>
              </a:ext>
            </a:extLst>
          </p:cNvPr>
          <p:cNvSpPr/>
          <p:nvPr/>
        </p:nvSpPr>
        <p:spPr bwMode="auto">
          <a:xfrm>
            <a:off x="8231777" y="3245566"/>
            <a:ext cx="67723" cy="23222"/>
          </a:xfrm>
          <a:custGeom>
            <a:avLst/>
            <a:gdLst/>
            <a:ahLst/>
            <a:cxnLst>
              <a:cxn ang="0">
                <a:pos x="1" y="12"/>
              </a:cxn>
              <a:cxn ang="0">
                <a:pos x="1" y="12"/>
              </a:cxn>
              <a:cxn ang="0">
                <a:pos x="35" y="7"/>
              </a:cxn>
              <a:cxn ang="0">
                <a:pos x="34" y="0"/>
              </a:cxn>
              <a:cxn ang="0">
                <a:pos x="34" y="0"/>
              </a:cxn>
              <a:cxn ang="0">
                <a:pos x="0" y="5"/>
              </a:cxn>
              <a:cxn ang="0">
                <a:pos x="1" y="12"/>
              </a:cxn>
            </a:cxnLst>
            <a:rect l="0" t="0" r="r" b="b"/>
            <a:pathLst>
              <a:path w="35" h="12">
                <a:moveTo>
                  <a:pt x="1" y="12"/>
                </a:moveTo>
                <a:lnTo>
                  <a:pt x="1" y="12"/>
                </a:lnTo>
                <a:lnTo>
                  <a:pt x="35" y="7"/>
                </a:lnTo>
                <a:lnTo>
                  <a:pt x="34" y="0"/>
                </a:lnTo>
                <a:lnTo>
                  <a:pt x="34" y="0"/>
                </a:lnTo>
                <a:lnTo>
                  <a:pt x="0" y="5"/>
                </a:lnTo>
                <a:lnTo>
                  <a:pt x="1" y="1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7" name="isḷiḋé">
            <a:extLst>
              <a:ext uri="{FF2B5EF4-FFF2-40B4-BE49-F238E27FC236}">
                <a16:creationId xmlns:a16="http://schemas.microsoft.com/office/drawing/2014/main" id="{AF956E6B-C8D0-41E9-8BB6-F2835557B14F}"/>
              </a:ext>
            </a:extLst>
          </p:cNvPr>
          <p:cNvSpPr/>
          <p:nvPr/>
        </p:nvSpPr>
        <p:spPr bwMode="auto">
          <a:xfrm>
            <a:off x="8100202" y="3268788"/>
            <a:ext cx="67723" cy="27093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" y="14"/>
              </a:cxn>
              <a:cxn ang="0">
                <a:pos x="1" y="14"/>
              </a:cxn>
              <a:cxn ang="0">
                <a:pos x="35" y="6"/>
              </a:cxn>
              <a:cxn ang="0">
                <a:pos x="34" y="0"/>
              </a:cxn>
              <a:cxn ang="0">
                <a:pos x="34" y="0"/>
              </a:cxn>
              <a:cxn ang="0">
                <a:pos x="0" y="7"/>
              </a:cxn>
              <a:cxn ang="0">
                <a:pos x="0" y="7"/>
              </a:cxn>
            </a:cxnLst>
            <a:rect l="0" t="0" r="r" b="b"/>
            <a:pathLst>
              <a:path w="35" h="14">
                <a:moveTo>
                  <a:pt x="0" y="7"/>
                </a:moveTo>
                <a:lnTo>
                  <a:pt x="1" y="14"/>
                </a:lnTo>
                <a:lnTo>
                  <a:pt x="1" y="14"/>
                </a:lnTo>
                <a:lnTo>
                  <a:pt x="35" y="6"/>
                </a:lnTo>
                <a:lnTo>
                  <a:pt x="34" y="0"/>
                </a:lnTo>
                <a:lnTo>
                  <a:pt x="34" y="0"/>
                </a:lnTo>
                <a:lnTo>
                  <a:pt x="0" y="7"/>
                </a:lnTo>
                <a:lnTo>
                  <a:pt x="0" y="7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38" name="iśḷïḓe">
            <a:extLst>
              <a:ext uri="{FF2B5EF4-FFF2-40B4-BE49-F238E27FC236}">
                <a16:creationId xmlns:a16="http://schemas.microsoft.com/office/drawing/2014/main" id="{02456B67-241D-46C4-8D54-51DF039CCB38}"/>
              </a:ext>
            </a:extLst>
          </p:cNvPr>
          <p:cNvSpPr/>
          <p:nvPr/>
        </p:nvSpPr>
        <p:spPr bwMode="auto">
          <a:xfrm>
            <a:off x="7968627" y="3299751"/>
            <a:ext cx="69657" cy="32899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2" y="17"/>
              </a:cxn>
              <a:cxn ang="0">
                <a:pos x="2" y="17"/>
              </a:cxn>
              <a:cxn ang="0">
                <a:pos x="36" y="7"/>
              </a:cxn>
              <a:cxn ang="0">
                <a:pos x="34" y="0"/>
              </a:cxn>
              <a:cxn ang="0">
                <a:pos x="34" y="0"/>
              </a:cxn>
              <a:cxn ang="0">
                <a:pos x="0" y="10"/>
              </a:cxn>
              <a:cxn ang="0">
                <a:pos x="0" y="10"/>
              </a:cxn>
            </a:cxnLst>
            <a:rect l="0" t="0" r="r" b="b"/>
            <a:pathLst>
              <a:path w="36" h="17">
                <a:moveTo>
                  <a:pt x="0" y="10"/>
                </a:moveTo>
                <a:lnTo>
                  <a:pt x="2" y="17"/>
                </a:lnTo>
                <a:lnTo>
                  <a:pt x="2" y="17"/>
                </a:lnTo>
                <a:lnTo>
                  <a:pt x="36" y="7"/>
                </a:lnTo>
                <a:lnTo>
                  <a:pt x="34" y="0"/>
                </a:lnTo>
                <a:lnTo>
                  <a:pt x="34" y="0"/>
                </a:lnTo>
                <a:lnTo>
                  <a:pt x="0" y="10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1" name="ïṣľïḑê">
            <a:extLst>
              <a:ext uri="{FF2B5EF4-FFF2-40B4-BE49-F238E27FC236}">
                <a16:creationId xmlns:a16="http://schemas.microsoft.com/office/drawing/2014/main" id="{27410833-C6C2-4779-AC63-33FA9CABD491}"/>
              </a:ext>
            </a:extLst>
          </p:cNvPr>
          <p:cNvSpPr/>
          <p:nvPr/>
        </p:nvSpPr>
        <p:spPr bwMode="auto">
          <a:xfrm>
            <a:off x="9038655" y="3429000"/>
            <a:ext cx="1983167" cy="952937"/>
          </a:xfrm>
          <a:custGeom>
            <a:avLst/>
            <a:gdLst/>
            <a:ahLst/>
            <a:cxnLst>
              <a:cxn ang="0">
                <a:pos x="179" y="60"/>
              </a:cxn>
              <a:cxn ang="0">
                <a:pos x="175" y="50"/>
              </a:cxn>
              <a:cxn ang="0">
                <a:pos x="170" y="42"/>
              </a:cxn>
              <a:cxn ang="0">
                <a:pos x="160" y="37"/>
              </a:cxn>
              <a:cxn ang="0">
                <a:pos x="148" y="33"/>
              </a:cxn>
              <a:cxn ang="0">
                <a:pos x="147" y="28"/>
              </a:cxn>
              <a:cxn ang="0">
                <a:pos x="141" y="19"/>
              </a:cxn>
              <a:cxn ang="0">
                <a:pos x="133" y="12"/>
              </a:cxn>
              <a:cxn ang="0">
                <a:pos x="121" y="9"/>
              </a:cxn>
              <a:cxn ang="0">
                <a:pos x="115" y="8"/>
              </a:cxn>
              <a:cxn ang="0">
                <a:pos x="103" y="10"/>
              </a:cxn>
              <a:cxn ang="0">
                <a:pos x="93" y="15"/>
              </a:cxn>
              <a:cxn ang="0">
                <a:pos x="88" y="9"/>
              </a:cxn>
              <a:cxn ang="0">
                <a:pos x="72" y="1"/>
              </a:cxn>
              <a:cxn ang="0">
                <a:pos x="64" y="0"/>
              </a:cxn>
              <a:cxn ang="0">
                <a:pos x="50" y="3"/>
              </a:cxn>
              <a:cxn ang="0">
                <a:pos x="39" y="8"/>
              </a:cxn>
              <a:cxn ang="0">
                <a:pos x="32" y="17"/>
              </a:cxn>
              <a:cxn ang="0">
                <a:pos x="30" y="27"/>
              </a:cxn>
              <a:cxn ang="0">
                <a:pos x="31" y="33"/>
              </a:cxn>
              <a:cxn ang="0">
                <a:pos x="24" y="34"/>
              </a:cxn>
              <a:cxn ang="0">
                <a:pos x="13" y="39"/>
              </a:cxn>
              <a:cxn ang="0">
                <a:pos x="5" y="45"/>
              </a:cxn>
              <a:cxn ang="0">
                <a:pos x="0" y="54"/>
              </a:cxn>
              <a:cxn ang="0">
                <a:pos x="0" y="60"/>
              </a:cxn>
              <a:cxn ang="0">
                <a:pos x="2" y="69"/>
              </a:cxn>
              <a:cxn ang="0">
                <a:pos x="9" y="77"/>
              </a:cxn>
              <a:cxn ang="0">
                <a:pos x="17" y="83"/>
              </a:cxn>
              <a:cxn ang="0">
                <a:pos x="30" y="86"/>
              </a:cxn>
              <a:cxn ang="0">
                <a:pos x="32" y="86"/>
              </a:cxn>
              <a:cxn ang="0">
                <a:pos x="34" y="86"/>
              </a:cxn>
              <a:cxn ang="0">
                <a:pos x="35" y="86"/>
              </a:cxn>
              <a:cxn ang="0">
                <a:pos x="147" y="86"/>
              </a:cxn>
              <a:cxn ang="0">
                <a:pos x="154" y="85"/>
              </a:cxn>
              <a:cxn ang="0">
                <a:pos x="165" y="80"/>
              </a:cxn>
              <a:cxn ang="0">
                <a:pos x="173" y="74"/>
              </a:cxn>
              <a:cxn ang="0">
                <a:pos x="178" y="64"/>
              </a:cxn>
              <a:cxn ang="0">
                <a:pos x="179" y="60"/>
              </a:cxn>
            </a:cxnLst>
            <a:rect l="0" t="0" r="r" b="b"/>
            <a:pathLst>
              <a:path w="179" h="86">
                <a:moveTo>
                  <a:pt x="179" y="60"/>
                </a:moveTo>
                <a:lnTo>
                  <a:pt x="179" y="60"/>
                </a:lnTo>
                <a:lnTo>
                  <a:pt x="178" y="54"/>
                </a:lnTo>
                <a:lnTo>
                  <a:pt x="175" y="50"/>
                </a:lnTo>
                <a:lnTo>
                  <a:pt x="173" y="45"/>
                </a:lnTo>
                <a:lnTo>
                  <a:pt x="170" y="42"/>
                </a:lnTo>
                <a:lnTo>
                  <a:pt x="166" y="39"/>
                </a:lnTo>
                <a:lnTo>
                  <a:pt x="160" y="37"/>
                </a:lnTo>
                <a:lnTo>
                  <a:pt x="155" y="34"/>
                </a:lnTo>
                <a:lnTo>
                  <a:pt x="148" y="33"/>
                </a:lnTo>
                <a:lnTo>
                  <a:pt x="148" y="33"/>
                </a:lnTo>
                <a:lnTo>
                  <a:pt x="147" y="28"/>
                </a:lnTo>
                <a:lnTo>
                  <a:pt x="145" y="23"/>
                </a:lnTo>
                <a:lnTo>
                  <a:pt x="141" y="19"/>
                </a:lnTo>
                <a:lnTo>
                  <a:pt x="138" y="16"/>
                </a:lnTo>
                <a:lnTo>
                  <a:pt x="133" y="12"/>
                </a:lnTo>
                <a:lnTo>
                  <a:pt x="127" y="10"/>
                </a:lnTo>
                <a:lnTo>
                  <a:pt x="121" y="9"/>
                </a:lnTo>
                <a:lnTo>
                  <a:pt x="115" y="8"/>
                </a:lnTo>
                <a:lnTo>
                  <a:pt x="115" y="8"/>
                </a:lnTo>
                <a:lnTo>
                  <a:pt x="109" y="9"/>
                </a:lnTo>
                <a:lnTo>
                  <a:pt x="103" y="10"/>
                </a:lnTo>
                <a:lnTo>
                  <a:pt x="98" y="12"/>
                </a:lnTo>
                <a:lnTo>
                  <a:pt x="93" y="15"/>
                </a:lnTo>
                <a:lnTo>
                  <a:pt x="93" y="15"/>
                </a:lnTo>
                <a:lnTo>
                  <a:pt x="88" y="9"/>
                </a:lnTo>
                <a:lnTo>
                  <a:pt x="81" y="5"/>
                </a:lnTo>
                <a:lnTo>
                  <a:pt x="72" y="1"/>
                </a:lnTo>
                <a:lnTo>
                  <a:pt x="64" y="0"/>
                </a:lnTo>
                <a:lnTo>
                  <a:pt x="64" y="0"/>
                </a:lnTo>
                <a:lnTo>
                  <a:pt x="56" y="1"/>
                </a:lnTo>
                <a:lnTo>
                  <a:pt x="50" y="3"/>
                </a:lnTo>
                <a:lnTo>
                  <a:pt x="44" y="5"/>
                </a:lnTo>
                <a:lnTo>
                  <a:pt x="39" y="8"/>
                </a:lnTo>
                <a:lnTo>
                  <a:pt x="35" y="12"/>
                </a:lnTo>
                <a:lnTo>
                  <a:pt x="32" y="17"/>
                </a:lnTo>
                <a:lnTo>
                  <a:pt x="31" y="21"/>
                </a:lnTo>
                <a:lnTo>
                  <a:pt x="30" y="27"/>
                </a:lnTo>
                <a:lnTo>
                  <a:pt x="30" y="27"/>
                </a:lnTo>
                <a:lnTo>
                  <a:pt x="31" y="33"/>
                </a:lnTo>
                <a:lnTo>
                  <a:pt x="31" y="33"/>
                </a:lnTo>
                <a:lnTo>
                  <a:pt x="24" y="34"/>
                </a:lnTo>
                <a:lnTo>
                  <a:pt x="19" y="35"/>
                </a:lnTo>
                <a:lnTo>
                  <a:pt x="13" y="39"/>
                </a:lnTo>
                <a:lnTo>
                  <a:pt x="9" y="42"/>
                </a:lnTo>
                <a:lnTo>
                  <a:pt x="5" y="45"/>
                </a:lnTo>
                <a:lnTo>
                  <a:pt x="2" y="50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0" y="64"/>
                </a:lnTo>
                <a:lnTo>
                  <a:pt x="2" y="69"/>
                </a:lnTo>
                <a:lnTo>
                  <a:pt x="4" y="73"/>
                </a:lnTo>
                <a:lnTo>
                  <a:pt x="9" y="77"/>
                </a:lnTo>
                <a:lnTo>
                  <a:pt x="13" y="80"/>
                </a:lnTo>
                <a:lnTo>
                  <a:pt x="17" y="83"/>
                </a:lnTo>
                <a:lnTo>
                  <a:pt x="23" y="85"/>
                </a:lnTo>
                <a:lnTo>
                  <a:pt x="30" y="86"/>
                </a:lnTo>
                <a:lnTo>
                  <a:pt x="30" y="86"/>
                </a:lnTo>
                <a:lnTo>
                  <a:pt x="32" y="86"/>
                </a:lnTo>
                <a:lnTo>
                  <a:pt x="32" y="86"/>
                </a:lnTo>
                <a:lnTo>
                  <a:pt x="34" y="86"/>
                </a:lnTo>
                <a:lnTo>
                  <a:pt x="34" y="86"/>
                </a:lnTo>
                <a:lnTo>
                  <a:pt x="35" y="86"/>
                </a:lnTo>
                <a:lnTo>
                  <a:pt x="147" y="86"/>
                </a:lnTo>
                <a:lnTo>
                  <a:pt x="147" y="86"/>
                </a:lnTo>
                <a:lnTo>
                  <a:pt x="147" y="86"/>
                </a:lnTo>
                <a:lnTo>
                  <a:pt x="154" y="85"/>
                </a:lnTo>
                <a:lnTo>
                  <a:pt x="159" y="83"/>
                </a:lnTo>
                <a:lnTo>
                  <a:pt x="165" y="80"/>
                </a:lnTo>
                <a:lnTo>
                  <a:pt x="169" y="77"/>
                </a:lnTo>
                <a:lnTo>
                  <a:pt x="173" y="74"/>
                </a:lnTo>
                <a:lnTo>
                  <a:pt x="175" y="69"/>
                </a:lnTo>
                <a:lnTo>
                  <a:pt x="178" y="64"/>
                </a:lnTo>
                <a:lnTo>
                  <a:pt x="179" y="60"/>
                </a:lnTo>
                <a:lnTo>
                  <a:pt x="179" y="6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6" tIns="45698" rIns="91396" bIns="4569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2" name="ïṡ1ïdè">
            <a:extLst>
              <a:ext uri="{FF2B5EF4-FFF2-40B4-BE49-F238E27FC236}">
                <a16:creationId xmlns:a16="http://schemas.microsoft.com/office/drawing/2014/main" id="{A21A1833-8085-4C9F-8493-72E7E34D530E}"/>
              </a:ext>
            </a:extLst>
          </p:cNvPr>
          <p:cNvSpPr txBox="1"/>
          <p:nvPr/>
        </p:nvSpPr>
        <p:spPr>
          <a:xfrm>
            <a:off x="3902670" y="3644608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keyword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iŝḻíḋe">
            <a:extLst>
              <a:ext uri="{FF2B5EF4-FFF2-40B4-BE49-F238E27FC236}">
                <a16:creationId xmlns:a16="http://schemas.microsoft.com/office/drawing/2014/main" id="{AB1A657A-0033-4DA2-8B64-885E6FB57D37}"/>
              </a:ext>
            </a:extLst>
          </p:cNvPr>
          <p:cNvSpPr txBox="1"/>
          <p:nvPr/>
        </p:nvSpPr>
        <p:spPr>
          <a:xfrm>
            <a:off x="6787816" y="3644608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keyword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íšḷîdè">
            <a:extLst>
              <a:ext uri="{FF2B5EF4-FFF2-40B4-BE49-F238E27FC236}">
                <a16:creationId xmlns:a16="http://schemas.microsoft.com/office/drawing/2014/main" id="{5094EA7A-D6ED-4079-A187-55CCF20C9AE0}"/>
              </a:ext>
            </a:extLst>
          </p:cNvPr>
          <p:cNvSpPr txBox="1"/>
          <p:nvPr/>
        </p:nvSpPr>
        <p:spPr>
          <a:xfrm>
            <a:off x="9573038" y="3644608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keyword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1D7360D1-3CB8-4EA5-9547-7D886FD868AE}"/>
              </a:ext>
            </a:extLst>
          </p:cNvPr>
          <p:cNvCxnSpPr>
            <a:cxnSpLocks/>
          </p:cNvCxnSpPr>
          <p:nvPr/>
        </p:nvCxnSpPr>
        <p:spPr>
          <a:xfrm>
            <a:off x="788591" y="2529000"/>
            <a:ext cx="5499946" cy="0"/>
          </a:xfrm>
          <a:prstGeom prst="line">
            <a:avLst/>
          </a:prstGeom>
          <a:ln w="952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ṥḷiḑe">
            <a:extLst>
              <a:ext uri="{FF2B5EF4-FFF2-40B4-BE49-F238E27FC236}">
                <a16:creationId xmlns:a16="http://schemas.microsoft.com/office/drawing/2014/main" id="{D2EABB55-3386-45E7-895E-00FAE4B31624}"/>
              </a:ext>
            </a:extLst>
          </p:cNvPr>
          <p:cNvSpPr/>
          <p:nvPr/>
        </p:nvSpPr>
        <p:spPr>
          <a:xfrm>
            <a:off x="748283" y="3881455"/>
            <a:ext cx="2529629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>
              <a:spcBef>
                <a:spcPts val="375"/>
              </a:spcBef>
              <a:defRPr/>
            </a:pPr>
            <a:r>
              <a:rPr lang="en-US" altLang="zh-CN" sz="1600" b="1" kern="100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25" name="îSľídè">
            <a:extLst>
              <a:ext uri="{FF2B5EF4-FFF2-40B4-BE49-F238E27FC236}">
                <a16:creationId xmlns:a16="http://schemas.microsoft.com/office/drawing/2014/main" id="{4C0FF4AA-CBC9-41AE-B3DE-C07C882BB0D4}"/>
              </a:ext>
            </a:extLst>
          </p:cNvPr>
          <p:cNvSpPr/>
          <p:nvPr/>
        </p:nvSpPr>
        <p:spPr bwMode="auto">
          <a:xfrm>
            <a:off x="748284" y="4311695"/>
            <a:ext cx="2529629" cy="87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n you copy &amp; paste, choose "keep text only" option.</a:t>
            </a:r>
          </a:p>
        </p:txBody>
      </p:sp>
      <p:sp>
        <p:nvSpPr>
          <p:cNvPr id="22" name="iŝ1ïdè">
            <a:extLst>
              <a:ext uri="{FF2B5EF4-FFF2-40B4-BE49-F238E27FC236}">
                <a16:creationId xmlns:a16="http://schemas.microsoft.com/office/drawing/2014/main" id="{64D338C5-AAFF-4B6D-8DA9-B78D2BAD8D59}"/>
              </a:ext>
            </a:extLst>
          </p:cNvPr>
          <p:cNvSpPr/>
          <p:nvPr/>
        </p:nvSpPr>
        <p:spPr>
          <a:xfrm>
            <a:off x="6288537" y="4587277"/>
            <a:ext cx="2529629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>
              <a:spcBef>
                <a:spcPts val="375"/>
              </a:spcBef>
              <a:defRPr/>
            </a:pPr>
            <a:r>
              <a:rPr lang="en-US" altLang="zh-CN" sz="1600" b="1" kern="100" dirty="0">
                <a:solidFill>
                  <a:schemeClr val="accent3"/>
                </a:solidFill>
              </a:rPr>
              <a:t>Text here</a:t>
            </a:r>
          </a:p>
        </p:txBody>
      </p:sp>
      <p:sp>
        <p:nvSpPr>
          <p:cNvPr id="23" name="ïs1íďé">
            <a:extLst>
              <a:ext uri="{FF2B5EF4-FFF2-40B4-BE49-F238E27FC236}">
                <a16:creationId xmlns:a16="http://schemas.microsoft.com/office/drawing/2014/main" id="{719A891A-EB3D-4D7F-8C2A-632047326B2C}"/>
              </a:ext>
            </a:extLst>
          </p:cNvPr>
          <p:cNvSpPr/>
          <p:nvPr/>
        </p:nvSpPr>
        <p:spPr bwMode="auto">
          <a:xfrm>
            <a:off x="6288538" y="5017516"/>
            <a:ext cx="2529629" cy="800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n you copy &amp; paste, choose "keep text only" option.</a:t>
            </a:r>
          </a:p>
        </p:txBody>
      </p:sp>
      <p:sp>
        <p:nvSpPr>
          <p:cNvPr id="20" name="îṣ1îḍê">
            <a:extLst>
              <a:ext uri="{FF2B5EF4-FFF2-40B4-BE49-F238E27FC236}">
                <a16:creationId xmlns:a16="http://schemas.microsoft.com/office/drawing/2014/main" id="{E7772ABB-8AAB-4BF5-80C3-295B5B35E169}"/>
              </a:ext>
            </a:extLst>
          </p:cNvPr>
          <p:cNvSpPr/>
          <p:nvPr/>
        </p:nvSpPr>
        <p:spPr>
          <a:xfrm>
            <a:off x="9029936" y="1904094"/>
            <a:ext cx="2529629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>
              <a:spcBef>
                <a:spcPts val="375"/>
              </a:spcBef>
              <a:defRPr/>
            </a:pPr>
            <a:r>
              <a:rPr lang="en-US" altLang="zh-CN" sz="1600" b="1" kern="100" dirty="0">
                <a:solidFill>
                  <a:schemeClr val="accent2"/>
                </a:solidFill>
              </a:rPr>
              <a:t>Text here</a:t>
            </a:r>
          </a:p>
        </p:txBody>
      </p:sp>
      <p:sp>
        <p:nvSpPr>
          <p:cNvPr id="21" name="ísļiďe">
            <a:extLst>
              <a:ext uri="{FF2B5EF4-FFF2-40B4-BE49-F238E27FC236}">
                <a16:creationId xmlns:a16="http://schemas.microsoft.com/office/drawing/2014/main" id="{D86E6176-5A00-402E-B30E-A6C7F16F61FD}"/>
              </a:ext>
            </a:extLst>
          </p:cNvPr>
          <p:cNvSpPr/>
          <p:nvPr/>
        </p:nvSpPr>
        <p:spPr bwMode="auto">
          <a:xfrm>
            <a:off x="9029937" y="2334334"/>
            <a:ext cx="2529629" cy="7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n you copy &amp; paste, choose "keep text only" option.</a:t>
            </a:r>
          </a:p>
        </p:txBody>
      </p:sp>
      <p:sp>
        <p:nvSpPr>
          <p:cNvPr id="19" name="ïŝḷiḋê">
            <a:extLst>
              <a:ext uri="{FF2B5EF4-FFF2-40B4-BE49-F238E27FC236}">
                <a16:creationId xmlns:a16="http://schemas.microsoft.com/office/drawing/2014/main" id="{D523B789-0109-45F0-B527-5B98EDA25950}"/>
              </a:ext>
            </a:extLst>
          </p:cNvPr>
          <p:cNvSpPr txBox="1"/>
          <p:nvPr/>
        </p:nvSpPr>
        <p:spPr>
          <a:xfrm>
            <a:off x="741000" y="1269000"/>
            <a:ext cx="5653457" cy="12241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200" dirty="0"/>
              <a:t>Unified fonts make reading more fluent.</a:t>
            </a:r>
          </a:p>
          <a:p>
            <a:pPr algn="just">
              <a:lnSpc>
                <a:spcPct val="150000"/>
              </a:lnSpc>
            </a:pPr>
            <a:r>
              <a:rPr lang="en-US" altLang="zh-CN" sz="1600" b="1" dirty="0"/>
              <a:t>Theme color makes PPT more convenient to change.</a:t>
            </a:r>
          </a:p>
          <a:p>
            <a:pPr algn="just">
              <a:lnSpc>
                <a:spcPct val="150000"/>
              </a:lnSpc>
            </a:pPr>
            <a:r>
              <a:rPr lang="en-US" altLang="zh-CN" sz="1200" dirty="0"/>
              <a:t>Adjust the spacing to adapt to Chinese typesetting, use the reference line in PPT.</a:t>
            </a:r>
            <a:endParaRPr lang="en-US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11487116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8FAC8EE-52CA-4625-B308-34A07D0B0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4DC9C74-65C7-4961-B85A-0026B3163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14607CB-398C-4820-8DEC-B427F2260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3" name="ïs1íḓê">
            <a:extLst>
              <a:ext uri="{FF2B5EF4-FFF2-40B4-BE49-F238E27FC236}">
                <a16:creationId xmlns:a16="http://schemas.microsoft.com/office/drawing/2014/main" id="{B6647EB6-0CAB-44A0-A0BD-089863AEDA2F}"/>
              </a:ext>
            </a:extLst>
          </p:cNvPr>
          <p:cNvSpPr>
            <a:spLocks/>
          </p:cNvSpPr>
          <p:nvPr/>
        </p:nvSpPr>
        <p:spPr bwMode="auto">
          <a:xfrm>
            <a:off x="1970641" y="5707399"/>
            <a:ext cx="1779597" cy="25857"/>
          </a:xfrm>
          <a:custGeom>
            <a:avLst/>
            <a:gdLst>
              <a:gd name="T0" fmla="*/ 6776 w 6981"/>
              <a:gd name="T1" fmla="*/ 0 h 103"/>
              <a:gd name="T2" fmla="*/ 6776 w 6981"/>
              <a:gd name="T3" fmla="*/ 0 h 103"/>
              <a:gd name="T4" fmla="*/ 203 w 6981"/>
              <a:gd name="T5" fmla="*/ 0 h 103"/>
              <a:gd name="T6" fmla="*/ 0 w 6981"/>
              <a:gd name="T7" fmla="*/ 46 h 103"/>
              <a:gd name="T8" fmla="*/ 0 w 6981"/>
              <a:gd name="T9" fmla="*/ 55 h 103"/>
              <a:gd name="T10" fmla="*/ 203 w 6981"/>
              <a:gd name="T11" fmla="*/ 102 h 103"/>
              <a:gd name="T12" fmla="*/ 6776 w 6981"/>
              <a:gd name="T13" fmla="*/ 102 h 103"/>
              <a:gd name="T14" fmla="*/ 6980 w 6981"/>
              <a:gd name="T15" fmla="*/ 55 h 103"/>
              <a:gd name="T16" fmla="*/ 6980 w 6981"/>
              <a:gd name="T17" fmla="*/ 46 h 103"/>
              <a:gd name="T18" fmla="*/ 6776 w 6981"/>
              <a:gd name="T19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81" h="103">
                <a:moveTo>
                  <a:pt x="6776" y="0"/>
                </a:moveTo>
                <a:lnTo>
                  <a:pt x="6776" y="0"/>
                </a:lnTo>
                <a:cubicBezTo>
                  <a:pt x="203" y="0"/>
                  <a:pt x="203" y="0"/>
                  <a:pt x="203" y="0"/>
                </a:cubicBezTo>
                <a:cubicBezTo>
                  <a:pt x="92" y="0"/>
                  <a:pt x="0" y="18"/>
                  <a:pt x="0" y="4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83"/>
                  <a:pt x="92" y="102"/>
                  <a:pt x="203" y="102"/>
                </a:cubicBezTo>
                <a:cubicBezTo>
                  <a:pt x="6776" y="102"/>
                  <a:pt x="6776" y="102"/>
                  <a:pt x="6776" y="102"/>
                </a:cubicBezTo>
                <a:cubicBezTo>
                  <a:pt x="6887" y="102"/>
                  <a:pt x="6980" y="83"/>
                  <a:pt x="6980" y="55"/>
                </a:cubicBezTo>
                <a:cubicBezTo>
                  <a:pt x="6980" y="46"/>
                  <a:pt x="6980" y="46"/>
                  <a:pt x="6980" y="46"/>
                </a:cubicBezTo>
                <a:cubicBezTo>
                  <a:pt x="6980" y="18"/>
                  <a:pt x="6887" y="0"/>
                  <a:pt x="6776" y="0"/>
                </a:cubicBezTo>
              </a:path>
            </a:pathLst>
          </a:custGeom>
          <a:solidFill>
            <a:srgbClr val="BCBDC0"/>
          </a:solidFill>
          <a:ln>
            <a:noFill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4" name="iSlîḓe">
            <a:extLst>
              <a:ext uri="{FF2B5EF4-FFF2-40B4-BE49-F238E27FC236}">
                <a16:creationId xmlns:a16="http://schemas.microsoft.com/office/drawing/2014/main" id="{55AE9169-6C77-4463-BC6C-65FB23DC72A7}"/>
              </a:ext>
            </a:extLst>
          </p:cNvPr>
          <p:cNvSpPr>
            <a:spLocks/>
          </p:cNvSpPr>
          <p:nvPr/>
        </p:nvSpPr>
        <p:spPr bwMode="auto">
          <a:xfrm>
            <a:off x="426000" y="1664803"/>
            <a:ext cx="4844146" cy="2931894"/>
          </a:xfrm>
          <a:custGeom>
            <a:avLst/>
            <a:gdLst>
              <a:gd name="T0" fmla="*/ 18999 w 19000"/>
              <a:gd name="T1" fmla="*/ 11499 h 11500"/>
              <a:gd name="T2" fmla="*/ 18999 w 19000"/>
              <a:gd name="T3" fmla="*/ 11499 h 11500"/>
              <a:gd name="T4" fmla="*/ 18999 w 19000"/>
              <a:gd name="T5" fmla="*/ 630 h 11500"/>
              <a:gd name="T6" fmla="*/ 18369 w 19000"/>
              <a:gd name="T7" fmla="*/ 0 h 11500"/>
              <a:gd name="T8" fmla="*/ 630 w 19000"/>
              <a:gd name="T9" fmla="*/ 0 h 11500"/>
              <a:gd name="T10" fmla="*/ 0 w 19000"/>
              <a:gd name="T11" fmla="*/ 630 h 11500"/>
              <a:gd name="T12" fmla="*/ 0 w 19000"/>
              <a:gd name="T13" fmla="*/ 11499 h 11500"/>
              <a:gd name="T14" fmla="*/ 18999 w 19000"/>
              <a:gd name="T15" fmla="*/ 11499 h 1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000" h="11500">
                <a:moveTo>
                  <a:pt x="18999" y="11499"/>
                </a:moveTo>
                <a:lnTo>
                  <a:pt x="18999" y="11499"/>
                </a:lnTo>
                <a:cubicBezTo>
                  <a:pt x="18999" y="630"/>
                  <a:pt x="18999" y="630"/>
                  <a:pt x="18999" y="630"/>
                </a:cubicBezTo>
                <a:cubicBezTo>
                  <a:pt x="18999" y="287"/>
                  <a:pt x="18712" y="0"/>
                  <a:pt x="18369" y="0"/>
                </a:cubicBezTo>
                <a:cubicBezTo>
                  <a:pt x="630" y="0"/>
                  <a:pt x="630" y="0"/>
                  <a:pt x="630" y="0"/>
                </a:cubicBezTo>
                <a:cubicBezTo>
                  <a:pt x="278" y="0"/>
                  <a:pt x="0" y="287"/>
                  <a:pt x="0" y="630"/>
                </a:cubicBezTo>
                <a:cubicBezTo>
                  <a:pt x="0" y="11499"/>
                  <a:pt x="0" y="11499"/>
                  <a:pt x="0" y="11499"/>
                </a:cubicBezTo>
                <a:lnTo>
                  <a:pt x="18999" y="11499"/>
                </a:lnTo>
              </a:path>
            </a:pathLst>
          </a:cu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5" name="íṧlïdè">
            <a:extLst>
              <a:ext uri="{FF2B5EF4-FFF2-40B4-BE49-F238E27FC236}">
                <a16:creationId xmlns:a16="http://schemas.microsoft.com/office/drawing/2014/main" id="{BB19C8DC-E4D1-4D36-A3F9-B3E7C8C34DDE}"/>
              </a:ext>
            </a:extLst>
          </p:cNvPr>
          <p:cNvSpPr>
            <a:spLocks/>
          </p:cNvSpPr>
          <p:nvPr/>
        </p:nvSpPr>
        <p:spPr bwMode="auto">
          <a:xfrm>
            <a:off x="1970641" y="5131812"/>
            <a:ext cx="1779597" cy="590202"/>
          </a:xfrm>
          <a:custGeom>
            <a:avLst/>
            <a:gdLst>
              <a:gd name="T0" fmla="*/ 6924 w 6981"/>
              <a:gd name="T1" fmla="*/ 2138 h 2315"/>
              <a:gd name="T2" fmla="*/ 6924 w 6981"/>
              <a:gd name="T3" fmla="*/ 2138 h 2315"/>
              <a:gd name="T4" fmla="*/ 6249 w 6981"/>
              <a:gd name="T5" fmla="*/ 2000 h 2315"/>
              <a:gd name="T6" fmla="*/ 6036 w 6981"/>
              <a:gd name="T7" fmla="*/ 1712 h 2315"/>
              <a:gd name="T8" fmla="*/ 5897 w 6981"/>
              <a:gd name="T9" fmla="*/ 0 h 2315"/>
              <a:gd name="T10" fmla="*/ 1074 w 6981"/>
              <a:gd name="T11" fmla="*/ 0 h 2315"/>
              <a:gd name="T12" fmla="*/ 944 w 6981"/>
              <a:gd name="T13" fmla="*/ 1712 h 2315"/>
              <a:gd name="T14" fmla="*/ 731 w 6981"/>
              <a:gd name="T15" fmla="*/ 2000 h 2315"/>
              <a:gd name="T16" fmla="*/ 37 w 6981"/>
              <a:gd name="T17" fmla="*/ 2148 h 2315"/>
              <a:gd name="T18" fmla="*/ 0 w 6981"/>
              <a:gd name="T19" fmla="*/ 2185 h 2315"/>
              <a:gd name="T20" fmla="*/ 0 w 6981"/>
              <a:gd name="T21" fmla="*/ 2314 h 2315"/>
              <a:gd name="T22" fmla="*/ 18 w 6981"/>
              <a:gd name="T23" fmla="*/ 2314 h 2315"/>
              <a:gd name="T24" fmla="*/ 6961 w 6981"/>
              <a:gd name="T25" fmla="*/ 2314 h 2315"/>
              <a:gd name="T26" fmla="*/ 6980 w 6981"/>
              <a:gd name="T27" fmla="*/ 2314 h 2315"/>
              <a:gd name="T28" fmla="*/ 6980 w 6981"/>
              <a:gd name="T29" fmla="*/ 2185 h 2315"/>
              <a:gd name="T30" fmla="*/ 6924 w 6981"/>
              <a:gd name="T31" fmla="*/ 2138 h 2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981" h="2315">
                <a:moveTo>
                  <a:pt x="6924" y="2138"/>
                </a:moveTo>
                <a:lnTo>
                  <a:pt x="6924" y="2138"/>
                </a:lnTo>
                <a:cubicBezTo>
                  <a:pt x="6795" y="2111"/>
                  <a:pt x="6443" y="2037"/>
                  <a:pt x="6249" y="2000"/>
                </a:cubicBezTo>
                <a:cubicBezTo>
                  <a:pt x="6008" y="1944"/>
                  <a:pt x="6036" y="1712"/>
                  <a:pt x="6036" y="1712"/>
                </a:cubicBezTo>
                <a:cubicBezTo>
                  <a:pt x="5897" y="0"/>
                  <a:pt x="5897" y="0"/>
                  <a:pt x="5897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944" y="1712"/>
                  <a:pt x="944" y="1712"/>
                  <a:pt x="944" y="1712"/>
                </a:cubicBezTo>
                <a:cubicBezTo>
                  <a:pt x="944" y="1712"/>
                  <a:pt x="972" y="1944"/>
                  <a:pt x="731" y="2000"/>
                </a:cubicBezTo>
                <a:cubicBezTo>
                  <a:pt x="527" y="2046"/>
                  <a:pt x="148" y="2120"/>
                  <a:pt x="37" y="2148"/>
                </a:cubicBezTo>
                <a:cubicBezTo>
                  <a:pt x="0" y="2157"/>
                  <a:pt x="0" y="2185"/>
                  <a:pt x="0" y="2185"/>
                </a:cubicBezTo>
                <a:cubicBezTo>
                  <a:pt x="0" y="2314"/>
                  <a:pt x="0" y="2314"/>
                  <a:pt x="0" y="2314"/>
                </a:cubicBezTo>
                <a:cubicBezTo>
                  <a:pt x="18" y="2314"/>
                  <a:pt x="18" y="2314"/>
                  <a:pt x="18" y="2314"/>
                </a:cubicBezTo>
                <a:cubicBezTo>
                  <a:pt x="6961" y="2314"/>
                  <a:pt x="6961" y="2314"/>
                  <a:pt x="6961" y="2314"/>
                </a:cubicBezTo>
                <a:cubicBezTo>
                  <a:pt x="6980" y="2314"/>
                  <a:pt x="6980" y="2314"/>
                  <a:pt x="6980" y="2314"/>
                </a:cubicBezTo>
                <a:cubicBezTo>
                  <a:pt x="6980" y="2185"/>
                  <a:pt x="6980" y="2185"/>
                  <a:pt x="6980" y="2185"/>
                </a:cubicBezTo>
                <a:cubicBezTo>
                  <a:pt x="6980" y="2185"/>
                  <a:pt x="6980" y="2157"/>
                  <a:pt x="6924" y="2138"/>
                </a:cubicBezTo>
              </a:path>
            </a:pathLst>
          </a:cu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6" name="íśḻïḓé">
            <a:extLst>
              <a:ext uri="{FF2B5EF4-FFF2-40B4-BE49-F238E27FC236}">
                <a16:creationId xmlns:a16="http://schemas.microsoft.com/office/drawing/2014/main" id="{3054A615-539A-41CB-81B9-D826E4B3FF67}"/>
              </a:ext>
            </a:extLst>
          </p:cNvPr>
          <p:cNvSpPr>
            <a:spLocks/>
          </p:cNvSpPr>
          <p:nvPr/>
        </p:nvSpPr>
        <p:spPr bwMode="auto">
          <a:xfrm>
            <a:off x="426000" y="4596697"/>
            <a:ext cx="4844146" cy="536240"/>
          </a:xfrm>
          <a:custGeom>
            <a:avLst/>
            <a:gdLst>
              <a:gd name="T0" fmla="*/ 0 w 19000"/>
              <a:gd name="T1" fmla="*/ 0 h 2103"/>
              <a:gd name="T2" fmla="*/ 0 w 19000"/>
              <a:gd name="T3" fmla="*/ 0 h 2103"/>
              <a:gd name="T4" fmla="*/ 0 w 19000"/>
              <a:gd name="T5" fmla="*/ 1472 h 2103"/>
              <a:gd name="T6" fmla="*/ 630 w 19000"/>
              <a:gd name="T7" fmla="*/ 2102 h 2103"/>
              <a:gd name="T8" fmla="*/ 18369 w 19000"/>
              <a:gd name="T9" fmla="*/ 2102 h 2103"/>
              <a:gd name="T10" fmla="*/ 18999 w 19000"/>
              <a:gd name="T11" fmla="*/ 1472 h 2103"/>
              <a:gd name="T12" fmla="*/ 18999 w 19000"/>
              <a:gd name="T13" fmla="*/ 0 h 2103"/>
              <a:gd name="T14" fmla="*/ 0 w 19000"/>
              <a:gd name="T15" fmla="*/ 0 h 2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000" h="2103">
                <a:moveTo>
                  <a:pt x="0" y="0"/>
                </a:moveTo>
                <a:lnTo>
                  <a:pt x="0" y="0"/>
                </a:lnTo>
                <a:cubicBezTo>
                  <a:pt x="0" y="1472"/>
                  <a:pt x="0" y="1472"/>
                  <a:pt x="0" y="1472"/>
                </a:cubicBezTo>
                <a:cubicBezTo>
                  <a:pt x="0" y="1824"/>
                  <a:pt x="278" y="2102"/>
                  <a:pt x="630" y="2102"/>
                </a:cubicBezTo>
                <a:cubicBezTo>
                  <a:pt x="18369" y="2102"/>
                  <a:pt x="18369" y="2102"/>
                  <a:pt x="18369" y="2102"/>
                </a:cubicBezTo>
                <a:cubicBezTo>
                  <a:pt x="18712" y="2102"/>
                  <a:pt x="18999" y="1824"/>
                  <a:pt x="18999" y="1472"/>
                </a:cubicBezTo>
                <a:cubicBezTo>
                  <a:pt x="18999" y="0"/>
                  <a:pt x="18999" y="0"/>
                  <a:pt x="18999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" name="îşļíḓe">
            <a:extLst>
              <a:ext uri="{FF2B5EF4-FFF2-40B4-BE49-F238E27FC236}">
                <a16:creationId xmlns:a16="http://schemas.microsoft.com/office/drawing/2014/main" id="{9871CED6-FA73-4FEA-AD15-293B930E25B0}"/>
              </a:ext>
            </a:extLst>
          </p:cNvPr>
          <p:cNvSpPr>
            <a:spLocks/>
          </p:cNvSpPr>
          <p:nvPr/>
        </p:nvSpPr>
        <p:spPr bwMode="auto">
          <a:xfrm>
            <a:off x="1970641" y="5679295"/>
            <a:ext cx="1779597" cy="42719"/>
          </a:xfrm>
          <a:custGeom>
            <a:avLst/>
            <a:gdLst>
              <a:gd name="T0" fmla="*/ 6943 w 6981"/>
              <a:gd name="T1" fmla="*/ 0 h 167"/>
              <a:gd name="T2" fmla="*/ 6943 w 6981"/>
              <a:gd name="T3" fmla="*/ 0 h 167"/>
              <a:gd name="T4" fmla="*/ 27 w 6981"/>
              <a:gd name="T5" fmla="*/ 0 h 167"/>
              <a:gd name="T6" fmla="*/ 0 w 6981"/>
              <a:gd name="T7" fmla="*/ 37 h 167"/>
              <a:gd name="T8" fmla="*/ 0 w 6981"/>
              <a:gd name="T9" fmla="*/ 166 h 167"/>
              <a:gd name="T10" fmla="*/ 18 w 6981"/>
              <a:gd name="T11" fmla="*/ 166 h 167"/>
              <a:gd name="T12" fmla="*/ 6961 w 6981"/>
              <a:gd name="T13" fmla="*/ 166 h 167"/>
              <a:gd name="T14" fmla="*/ 6980 w 6981"/>
              <a:gd name="T15" fmla="*/ 166 h 167"/>
              <a:gd name="T16" fmla="*/ 6980 w 6981"/>
              <a:gd name="T17" fmla="*/ 37 h 167"/>
              <a:gd name="T18" fmla="*/ 6943 w 6981"/>
              <a:gd name="T19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81" h="167">
                <a:moveTo>
                  <a:pt x="6943" y="0"/>
                </a:moveTo>
                <a:lnTo>
                  <a:pt x="6943" y="0"/>
                </a:lnTo>
                <a:cubicBezTo>
                  <a:pt x="27" y="0"/>
                  <a:pt x="27" y="0"/>
                  <a:pt x="27" y="0"/>
                </a:cubicBezTo>
                <a:cubicBezTo>
                  <a:pt x="0" y="9"/>
                  <a:pt x="0" y="37"/>
                  <a:pt x="0" y="37"/>
                </a:cubicBezTo>
                <a:cubicBezTo>
                  <a:pt x="0" y="166"/>
                  <a:pt x="0" y="166"/>
                  <a:pt x="0" y="166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6961" y="166"/>
                  <a:pt x="6961" y="166"/>
                  <a:pt x="6961" y="166"/>
                </a:cubicBezTo>
                <a:cubicBezTo>
                  <a:pt x="6980" y="166"/>
                  <a:pt x="6980" y="166"/>
                  <a:pt x="6980" y="166"/>
                </a:cubicBezTo>
                <a:cubicBezTo>
                  <a:pt x="6980" y="37"/>
                  <a:pt x="6980" y="37"/>
                  <a:pt x="6980" y="37"/>
                </a:cubicBezTo>
                <a:cubicBezTo>
                  <a:pt x="6980" y="37"/>
                  <a:pt x="6980" y="18"/>
                  <a:pt x="6943" y="0"/>
                </a:cubicBezTo>
              </a:path>
            </a:pathLst>
          </a:custGeom>
          <a:solidFill>
            <a:srgbClr val="D1D2D1"/>
          </a:solidFill>
          <a:ln>
            <a:noFill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8" name="i$lîḋe">
            <a:extLst>
              <a:ext uri="{FF2B5EF4-FFF2-40B4-BE49-F238E27FC236}">
                <a16:creationId xmlns:a16="http://schemas.microsoft.com/office/drawing/2014/main" id="{25D70224-2540-47A6-BE10-97F336019519}"/>
              </a:ext>
            </a:extLst>
          </p:cNvPr>
          <p:cNvSpPr>
            <a:spLocks/>
          </p:cNvSpPr>
          <p:nvPr/>
        </p:nvSpPr>
        <p:spPr bwMode="auto">
          <a:xfrm>
            <a:off x="653086" y="1877276"/>
            <a:ext cx="4387724" cy="2485589"/>
          </a:xfrm>
          <a:custGeom>
            <a:avLst/>
            <a:gdLst>
              <a:gd name="T0" fmla="*/ 17212 w 17213"/>
              <a:gd name="T1" fmla="*/ 9749 h 9750"/>
              <a:gd name="T2" fmla="*/ 0 w 17213"/>
              <a:gd name="T3" fmla="*/ 9749 h 9750"/>
              <a:gd name="T4" fmla="*/ 0 w 17213"/>
              <a:gd name="T5" fmla="*/ 0 h 9750"/>
              <a:gd name="T6" fmla="*/ 17212 w 17213"/>
              <a:gd name="T7" fmla="*/ 0 h 9750"/>
              <a:gd name="T8" fmla="*/ 17212 w 17213"/>
              <a:gd name="T9" fmla="*/ 9749 h 9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13" h="9750">
                <a:moveTo>
                  <a:pt x="17212" y="9749"/>
                </a:moveTo>
                <a:lnTo>
                  <a:pt x="0" y="9749"/>
                </a:lnTo>
                <a:lnTo>
                  <a:pt x="0" y="0"/>
                </a:lnTo>
                <a:lnTo>
                  <a:pt x="17212" y="0"/>
                </a:lnTo>
                <a:lnTo>
                  <a:pt x="17212" y="9749"/>
                </a:lnTo>
              </a:path>
            </a:pathLst>
          </a:cu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miter lim="800000"/>
          </a:ln>
          <a:effectLst/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8" name="ïṣlïḍê">
            <a:extLst>
              <a:ext uri="{FF2B5EF4-FFF2-40B4-BE49-F238E27FC236}">
                <a16:creationId xmlns:a16="http://schemas.microsoft.com/office/drawing/2014/main" id="{45FB0559-9CA7-46D0-8F94-B2FAC963AA64}"/>
              </a:ext>
            </a:extLst>
          </p:cNvPr>
          <p:cNvSpPr>
            <a:spLocks/>
          </p:cNvSpPr>
          <p:nvPr/>
        </p:nvSpPr>
        <p:spPr bwMode="auto">
          <a:xfrm>
            <a:off x="1926963" y="4033926"/>
            <a:ext cx="309190" cy="15459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îs1îḓe">
            <a:extLst>
              <a:ext uri="{FF2B5EF4-FFF2-40B4-BE49-F238E27FC236}">
                <a16:creationId xmlns:a16="http://schemas.microsoft.com/office/drawing/2014/main" id="{3669D922-253B-4191-9AD6-59C4A1D2950C}"/>
              </a:ext>
            </a:extLst>
          </p:cNvPr>
          <p:cNvSpPr>
            <a:spLocks/>
          </p:cNvSpPr>
          <p:nvPr/>
        </p:nvSpPr>
        <p:spPr bwMode="auto">
          <a:xfrm>
            <a:off x="1898855" y="4005818"/>
            <a:ext cx="368218" cy="210812"/>
          </a:xfrm>
          <a:custGeom>
            <a:avLst/>
            <a:gdLst>
              <a:gd name="T0" fmla="*/ 131 w 131"/>
              <a:gd name="T1" fmla="*/ 75 h 75"/>
              <a:gd name="T2" fmla="*/ 0 w 131"/>
              <a:gd name="T3" fmla="*/ 75 h 75"/>
              <a:gd name="T4" fmla="*/ 0 w 131"/>
              <a:gd name="T5" fmla="*/ 0 h 75"/>
              <a:gd name="T6" fmla="*/ 131 w 131"/>
              <a:gd name="T7" fmla="*/ 0 h 75"/>
              <a:gd name="T8" fmla="*/ 131 w 131"/>
              <a:gd name="T9" fmla="*/ 75 h 75"/>
              <a:gd name="T10" fmla="*/ 20 w 131"/>
              <a:gd name="T11" fmla="*/ 55 h 75"/>
              <a:gd name="T12" fmla="*/ 110 w 131"/>
              <a:gd name="T13" fmla="*/ 55 h 75"/>
              <a:gd name="T14" fmla="*/ 110 w 131"/>
              <a:gd name="T15" fmla="*/ 20 h 75"/>
              <a:gd name="T16" fmla="*/ 20 w 131"/>
              <a:gd name="T17" fmla="*/ 20 h 75"/>
              <a:gd name="T18" fmla="*/ 20 w 131"/>
              <a:gd name="T19" fmla="*/ 5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75">
                <a:moveTo>
                  <a:pt x="131" y="75"/>
                </a:moveTo>
                <a:lnTo>
                  <a:pt x="0" y="75"/>
                </a:lnTo>
                <a:lnTo>
                  <a:pt x="0" y="0"/>
                </a:lnTo>
                <a:lnTo>
                  <a:pt x="131" y="0"/>
                </a:lnTo>
                <a:lnTo>
                  <a:pt x="131" y="75"/>
                </a:lnTo>
                <a:close/>
                <a:moveTo>
                  <a:pt x="20" y="55"/>
                </a:moveTo>
                <a:lnTo>
                  <a:pt x="110" y="55"/>
                </a:lnTo>
                <a:lnTo>
                  <a:pt x="110" y="20"/>
                </a:lnTo>
                <a:lnTo>
                  <a:pt x="20" y="20"/>
                </a:lnTo>
                <a:lnTo>
                  <a:pt x="20" y="55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0" name="iṧḷíďe">
            <a:extLst>
              <a:ext uri="{FF2B5EF4-FFF2-40B4-BE49-F238E27FC236}">
                <a16:creationId xmlns:a16="http://schemas.microsoft.com/office/drawing/2014/main" id="{A242A6C3-3825-4E70-8BA7-C70CD35BBFD7}"/>
              </a:ext>
            </a:extLst>
          </p:cNvPr>
          <p:cNvSpPr>
            <a:spLocks/>
          </p:cNvSpPr>
          <p:nvPr/>
        </p:nvSpPr>
        <p:spPr bwMode="auto">
          <a:xfrm>
            <a:off x="2390747" y="3724737"/>
            <a:ext cx="312002" cy="46378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1" name="iSľîḓé">
            <a:extLst>
              <a:ext uri="{FF2B5EF4-FFF2-40B4-BE49-F238E27FC236}">
                <a16:creationId xmlns:a16="http://schemas.microsoft.com/office/drawing/2014/main" id="{D814236F-9F06-431F-B8A4-7D8A8562B6F7}"/>
              </a:ext>
            </a:extLst>
          </p:cNvPr>
          <p:cNvSpPr>
            <a:spLocks/>
          </p:cNvSpPr>
          <p:nvPr/>
        </p:nvSpPr>
        <p:spPr bwMode="auto">
          <a:xfrm>
            <a:off x="2362639" y="3693817"/>
            <a:ext cx="368218" cy="522811"/>
          </a:xfrm>
          <a:custGeom>
            <a:avLst/>
            <a:gdLst>
              <a:gd name="T0" fmla="*/ 131 w 131"/>
              <a:gd name="T1" fmla="*/ 186 h 186"/>
              <a:gd name="T2" fmla="*/ 0 w 131"/>
              <a:gd name="T3" fmla="*/ 186 h 186"/>
              <a:gd name="T4" fmla="*/ 0 w 131"/>
              <a:gd name="T5" fmla="*/ 0 h 186"/>
              <a:gd name="T6" fmla="*/ 131 w 131"/>
              <a:gd name="T7" fmla="*/ 0 h 186"/>
              <a:gd name="T8" fmla="*/ 131 w 131"/>
              <a:gd name="T9" fmla="*/ 186 h 186"/>
              <a:gd name="T10" fmla="*/ 21 w 131"/>
              <a:gd name="T11" fmla="*/ 166 h 186"/>
              <a:gd name="T12" fmla="*/ 110 w 131"/>
              <a:gd name="T13" fmla="*/ 166 h 186"/>
              <a:gd name="T14" fmla="*/ 110 w 131"/>
              <a:gd name="T15" fmla="*/ 21 h 186"/>
              <a:gd name="T16" fmla="*/ 21 w 131"/>
              <a:gd name="T17" fmla="*/ 21 h 186"/>
              <a:gd name="T18" fmla="*/ 21 w 131"/>
              <a:gd name="T19" fmla="*/ 166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186">
                <a:moveTo>
                  <a:pt x="131" y="186"/>
                </a:moveTo>
                <a:lnTo>
                  <a:pt x="0" y="186"/>
                </a:lnTo>
                <a:lnTo>
                  <a:pt x="0" y="0"/>
                </a:lnTo>
                <a:lnTo>
                  <a:pt x="131" y="0"/>
                </a:lnTo>
                <a:lnTo>
                  <a:pt x="131" y="186"/>
                </a:lnTo>
                <a:close/>
                <a:moveTo>
                  <a:pt x="21" y="166"/>
                </a:moveTo>
                <a:lnTo>
                  <a:pt x="110" y="166"/>
                </a:lnTo>
                <a:lnTo>
                  <a:pt x="110" y="21"/>
                </a:lnTo>
                <a:lnTo>
                  <a:pt x="21" y="21"/>
                </a:lnTo>
                <a:lnTo>
                  <a:pt x="21" y="166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2" name="íṣlíḓé">
            <a:extLst>
              <a:ext uri="{FF2B5EF4-FFF2-40B4-BE49-F238E27FC236}">
                <a16:creationId xmlns:a16="http://schemas.microsoft.com/office/drawing/2014/main" id="{90ABFF90-6389-406E-A0C3-1CADF14634BF}"/>
              </a:ext>
            </a:extLst>
          </p:cNvPr>
          <p:cNvSpPr>
            <a:spLocks/>
          </p:cNvSpPr>
          <p:nvPr/>
        </p:nvSpPr>
        <p:spPr bwMode="auto">
          <a:xfrm>
            <a:off x="2857343" y="3412736"/>
            <a:ext cx="309190" cy="77578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ïṣľiďè">
            <a:extLst>
              <a:ext uri="{FF2B5EF4-FFF2-40B4-BE49-F238E27FC236}">
                <a16:creationId xmlns:a16="http://schemas.microsoft.com/office/drawing/2014/main" id="{B7F015FE-E6FF-4D13-B348-EE16CFA82496}"/>
              </a:ext>
            </a:extLst>
          </p:cNvPr>
          <p:cNvSpPr>
            <a:spLocks/>
          </p:cNvSpPr>
          <p:nvPr/>
        </p:nvSpPr>
        <p:spPr bwMode="auto">
          <a:xfrm>
            <a:off x="2829235" y="3384628"/>
            <a:ext cx="368218" cy="832000"/>
          </a:xfrm>
          <a:custGeom>
            <a:avLst/>
            <a:gdLst>
              <a:gd name="T0" fmla="*/ 131 w 131"/>
              <a:gd name="T1" fmla="*/ 296 h 296"/>
              <a:gd name="T2" fmla="*/ 0 w 131"/>
              <a:gd name="T3" fmla="*/ 296 h 296"/>
              <a:gd name="T4" fmla="*/ 0 w 131"/>
              <a:gd name="T5" fmla="*/ 0 h 296"/>
              <a:gd name="T6" fmla="*/ 131 w 131"/>
              <a:gd name="T7" fmla="*/ 0 h 296"/>
              <a:gd name="T8" fmla="*/ 131 w 131"/>
              <a:gd name="T9" fmla="*/ 296 h 296"/>
              <a:gd name="T10" fmla="*/ 20 w 131"/>
              <a:gd name="T11" fmla="*/ 276 h 296"/>
              <a:gd name="T12" fmla="*/ 110 w 131"/>
              <a:gd name="T13" fmla="*/ 276 h 296"/>
              <a:gd name="T14" fmla="*/ 110 w 131"/>
              <a:gd name="T15" fmla="*/ 21 h 296"/>
              <a:gd name="T16" fmla="*/ 20 w 131"/>
              <a:gd name="T17" fmla="*/ 21 h 296"/>
              <a:gd name="T18" fmla="*/ 20 w 131"/>
              <a:gd name="T19" fmla="*/ 27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296">
                <a:moveTo>
                  <a:pt x="131" y="296"/>
                </a:moveTo>
                <a:lnTo>
                  <a:pt x="0" y="296"/>
                </a:lnTo>
                <a:lnTo>
                  <a:pt x="0" y="0"/>
                </a:lnTo>
                <a:lnTo>
                  <a:pt x="131" y="0"/>
                </a:lnTo>
                <a:lnTo>
                  <a:pt x="131" y="296"/>
                </a:lnTo>
                <a:close/>
                <a:moveTo>
                  <a:pt x="20" y="276"/>
                </a:moveTo>
                <a:lnTo>
                  <a:pt x="110" y="276"/>
                </a:lnTo>
                <a:lnTo>
                  <a:pt x="110" y="21"/>
                </a:lnTo>
                <a:lnTo>
                  <a:pt x="20" y="21"/>
                </a:lnTo>
                <a:lnTo>
                  <a:pt x="20" y="276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4" name="iṩḻiḍé">
            <a:extLst>
              <a:ext uri="{FF2B5EF4-FFF2-40B4-BE49-F238E27FC236}">
                <a16:creationId xmlns:a16="http://schemas.microsoft.com/office/drawing/2014/main" id="{3B22FAC0-E866-4E4B-B85A-2CB4D3BCCD31}"/>
              </a:ext>
            </a:extLst>
          </p:cNvPr>
          <p:cNvSpPr>
            <a:spLocks/>
          </p:cNvSpPr>
          <p:nvPr/>
        </p:nvSpPr>
        <p:spPr bwMode="auto">
          <a:xfrm>
            <a:off x="2857343" y="3412736"/>
            <a:ext cx="309190" cy="309189"/>
          </a:xfrm>
          <a:prstGeom prst="rect">
            <a:avLst/>
          </a:prstGeom>
          <a:solidFill>
            <a:srgbClr val="08C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íşlíḍê">
            <a:extLst>
              <a:ext uri="{FF2B5EF4-FFF2-40B4-BE49-F238E27FC236}">
                <a16:creationId xmlns:a16="http://schemas.microsoft.com/office/drawing/2014/main" id="{C832C92C-0B14-47EA-9D44-BB9471490389}"/>
              </a:ext>
            </a:extLst>
          </p:cNvPr>
          <p:cNvSpPr>
            <a:spLocks/>
          </p:cNvSpPr>
          <p:nvPr/>
        </p:nvSpPr>
        <p:spPr bwMode="auto">
          <a:xfrm>
            <a:off x="2829235" y="3384628"/>
            <a:ext cx="368218" cy="365406"/>
          </a:xfrm>
          <a:custGeom>
            <a:avLst/>
            <a:gdLst>
              <a:gd name="T0" fmla="*/ 131 w 131"/>
              <a:gd name="T1" fmla="*/ 130 h 130"/>
              <a:gd name="T2" fmla="*/ 0 w 131"/>
              <a:gd name="T3" fmla="*/ 130 h 130"/>
              <a:gd name="T4" fmla="*/ 0 w 131"/>
              <a:gd name="T5" fmla="*/ 0 h 130"/>
              <a:gd name="T6" fmla="*/ 131 w 131"/>
              <a:gd name="T7" fmla="*/ 0 h 130"/>
              <a:gd name="T8" fmla="*/ 131 w 131"/>
              <a:gd name="T9" fmla="*/ 130 h 130"/>
              <a:gd name="T10" fmla="*/ 20 w 131"/>
              <a:gd name="T11" fmla="*/ 109 h 130"/>
              <a:gd name="T12" fmla="*/ 110 w 131"/>
              <a:gd name="T13" fmla="*/ 109 h 130"/>
              <a:gd name="T14" fmla="*/ 110 w 131"/>
              <a:gd name="T15" fmla="*/ 21 h 130"/>
              <a:gd name="T16" fmla="*/ 20 w 131"/>
              <a:gd name="T17" fmla="*/ 21 h 130"/>
              <a:gd name="T18" fmla="*/ 20 w 131"/>
              <a:gd name="T19" fmla="*/ 109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130">
                <a:moveTo>
                  <a:pt x="131" y="130"/>
                </a:moveTo>
                <a:lnTo>
                  <a:pt x="0" y="130"/>
                </a:lnTo>
                <a:lnTo>
                  <a:pt x="0" y="0"/>
                </a:lnTo>
                <a:lnTo>
                  <a:pt x="131" y="0"/>
                </a:lnTo>
                <a:lnTo>
                  <a:pt x="131" y="130"/>
                </a:lnTo>
                <a:close/>
                <a:moveTo>
                  <a:pt x="20" y="109"/>
                </a:moveTo>
                <a:lnTo>
                  <a:pt x="110" y="109"/>
                </a:lnTo>
                <a:lnTo>
                  <a:pt x="110" y="21"/>
                </a:lnTo>
                <a:lnTo>
                  <a:pt x="20" y="21"/>
                </a:lnTo>
                <a:lnTo>
                  <a:pt x="20" y="109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6" name="iṥliḑè">
            <a:extLst>
              <a:ext uri="{FF2B5EF4-FFF2-40B4-BE49-F238E27FC236}">
                <a16:creationId xmlns:a16="http://schemas.microsoft.com/office/drawing/2014/main" id="{022A519D-E0DA-42AB-AE90-F6E3FC582432}"/>
              </a:ext>
            </a:extLst>
          </p:cNvPr>
          <p:cNvSpPr>
            <a:spLocks/>
          </p:cNvSpPr>
          <p:nvPr/>
        </p:nvSpPr>
        <p:spPr bwMode="auto">
          <a:xfrm>
            <a:off x="3323939" y="3109168"/>
            <a:ext cx="309190" cy="107935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7" name="îśḷíḑê">
            <a:extLst>
              <a:ext uri="{FF2B5EF4-FFF2-40B4-BE49-F238E27FC236}">
                <a16:creationId xmlns:a16="http://schemas.microsoft.com/office/drawing/2014/main" id="{DDA05F44-F493-431F-866C-D94841F0BE33}"/>
              </a:ext>
            </a:extLst>
          </p:cNvPr>
          <p:cNvSpPr>
            <a:spLocks/>
          </p:cNvSpPr>
          <p:nvPr/>
        </p:nvSpPr>
        <p:spPr bwMode="auto">
          <a:xfrm>
            <a:off x="3293021" y="3081060"/>
            <a:ext cx="368218" cy="1135568"/>
          </a:xfrm>
          <a:custGeom>
            <a:avLst/>
            <a:gdLst>
              <a:gd name="T0" fmla="*/ 131 w 131"/>
              <a:gd name="T1" fmla="*/ 404 h 404"/>
              <a:gd name="T2" fmla="*/ 0 w 131"/>
              <a:gd name="T3" fmla="*/ 404 h 404"/>
              <a:gd name="T4" fmla="*/ 0 w 131"/>
              <a:gd name="T5" fmla="*/ 0 h 404"/>
              <a:gd name="T6" fmla="*/ 131 w 131"/>
              <a:gd name="T7" fmla="*/ 0 h 404"/>
              <a:gd name="T8" fmla="*/ 131 w 131"/>
              <a:gd name="T9" fmla="*/ 404 h 404"/>
              <a:gd name="T10" fmla="*/ 21 w 131"/>
              <a:gd name="T11" fmla="*/ 384 h 404"/>
              <a:gd name="T12" fmla="*/ 111 w 131"/>
              <a:gd name="T13" fmla="*/ 384 h 404"/>
              <a:gd name="T14" fmla="*/ 111 w 131"/>
              <a:gd name="T15" fmla="*/ 20 h 404"/>
              <a:gd name="T16" fmla="*/ 21 w 131"/>
              <a:gd name="T17" fmla="*/ 20 h 404"/>
              <a:gd name="T18" fmla="*/ 21 w 131"/>
              <a:gd name="T19" fmla="*/ 38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404">
                <a:moveTo>
                  <a:pt x="131" y="404"/>
                </a:moveTo>
                <a:lnTo>
                  <a:pt x="0" y="404"/>
                </a:lnTo>
                <a:lnTo>
                  <a:pt x="0" y="0"/>
                </a:lnTo>
                <a:lnTo>
                  <a:pt x="131" y="0"/>
                </a:lnTo>
                <a:lnTo>
                  <a:pt x="131" y="404"/>
                </a:lnTo>
                <a:close/>
                <a:moveTo>
                  <a:pt x="21" y="384"/>
                </a:moveTo>
                <a:lnTo>
                  <a:pt x="111" y="384"/>
                </a:lnTo>
                <a:lnTo>
                  <a:pt x="111" y="20"/>
                </a:lnTo>
                <a:lnTo>
                  <a:pt x="21" y="20"/>
                </a:lnTo>
                <a:lnTo>
                  <a:pt x="21" y="384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8" name="î$ľîḓe">
            <a:extLst>
              <a:ext uri="{FF2B5EF4-FFF2-40B4-BE49-F238E27FC236}">
                <a16:creationId xmlns:a16="http://schemas.microsoft.com/office/drawing/2014/main" id="{FAFFF1D5-4989-4B2F-A50A-9F3D786C2092}"/>
              </a:ext>
            </a:extLst>
          </p:cNvPr>
          <p:cNvSpPr>
            <a:spLocks/>
          </p:cNvSpPr>
          <p:nvPr/>
        </p:nvSpPr>
        <p:spPr bwMode="auto">
          <a:xfrm>
            <a:off x="3787725" y="2639763"/>
            <a:ext cx="312002" cy="154875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" name="îşḻíḋè">
            <a:extLst>
              <a:ext uri="{FF2B5EF4-FFF2-40B4-BE49-F238E27FC236}">
                <a16:creationId xmlns:a16="http://schemas.microsoft.com/office/drawing/2014/main" id="{44ABA036-71A6-4F2A-962C-7B1272DF8AF4}"/>
              </a:ext>
            </a:extLst>
          </p:cNvPr>
          <p:cNvSpPr>
            <a:spLocks/>
          </p:cNvSpPr>
          <p:nvPr/>
        </p:nvSpPr>
        <p:spPr bwMode="auto">
          <a:xfrm>
            <a:off x="3759617" y="2608844"/>
            <a:ext cx="368218" cy="1607785"/>
          </a:xfrm>
          <a:custGeom>
            <a:avLst/>
            <a:gdLst>
              <a:gd name="T0" fmla="*/ 131 w 131"/>
              <a:gd name="T1" fmla="*/ 572 h 572"/>
              <a:gd name="T2" fmla="*/ 0 w 131"/>
              <a:gd name="T3" fmla="*/ 572 h 572"/>
              <a:gd name="T4" fmla="*/ 0 w 131"/>
              <a:gd name="T5" fmla="*/ 0 h 572"/>
              <a:gd name="T6" fmla="*/ 131 w 131"/>
              <a:gd name="T7" fmla="*/ 0 h 572"/>
              <a:gd name="T8" fmla="*/ 131 w 131"/>
              <a:gd name="T9" fmla="*/ 572 h 572"/>
              <a:gd name="T10" fmla="*/ 20 w 131"/>
              <a:gd name="T11" fmla="*/ 552 h 572"/>
              <a:gd name="T12" fmla="*/ 110 w 131"/>
              <a:gd name="T13" fmla="*/ 552 h 572"/>
              <a:gd name="T14" fmla="*/ 110 w 131"/>
              <a:gd name="T15" fmla="*/ 21 h 572"/>
              <a:gd name="T16" fmla="*/ 20 w 131"/>
              <a:gd name="T17" fmla="*/ 21 h 572"/>
              <a:gd name="T18" fmla="*/ 20 w 131"/>
              <a:gd name="T19" fmla="*/ 552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572">
                <a:moveTo>
                  <a:pt x="131" y="572"/>
                </a:moveTo>
                <a:lnTo>
                  <a:pt x="0" y="572"/>
                </a:lnTo>
                <a:lnTo>
                  <a:pt x="0" y="0"/>
                </a:lnTo>
                <a:lnTo>
                  <a:pt x="131" y="0"/>
                </a:lnTo>
                <a:lnTo>
                  <a:pt x="131" y="572"/>
                </a:lnTo>
                <a:close/>
                <a:moveTo>
                  <a:pt x="20" y="552"/>
                </a:moveTo>
                <a:lnTo>
                  <a:pt x="110" y="552"/>
                </a:lnTo>
                <a:lnTo>
                  <a:pt x="110" y="21"/>
                </a:lnTo>
                <a:lnTo>
                  <a:pt x="20" y="21"/>
                </a:lnTo>
                <a:lnTo>
                  <a:pt x="20" y="552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" name="íSḷïḋê">
            <a:extLst>
              <a:ext uri="{FF2B5EF4-FFF2-40B4-BE49-F238E27FC236}">
                <a16:creationId xmlns:a16="http://schemas.microsoft.com/office/drawing/2014/main" id="{35B76FB5-1918-4702-A1BE-E4A413E0A8D2}"/>
              </a:ext>
            </a:extLst>
          </p:cNvPr>
          <p:cNvSpPr>
            <a:spLocks/>
          </p:cNvSpPr>
          <p:nvPr/>
        </p:nvSpPr>
        <p:spPr bwMode="auto">
          <a:xfrm>
            <a:off x="4254321" y="2173169"/>
            <a:ext cx="309190" cy="201535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îšlíde">
            <a:extLst>
              <a:ext uri="{FF2B5EF4-FFF2-40B4-BE49-F238E27FC236}">
                <a16:creationId xmlns:a16="http://schemas.microsoft.com/office/drawing/2014/main" id="{1D0611AA-13D1-420C-9915-9B0CA68D6978}"/>
              </a:ext>
            </a:extLst>
          </p:cNvPr>
          <p:cNvSpPr>
            <a:spLocks/>
          </p:cNvSpPr>
          <p:nvPr/>
        </p:nvSpPr>
        <p:spPr bwMode="auto">
          <a:xfrm>
            <a:off x="4223401" y="2145061"/>
            <a:ext cx="368218" cy="2071569"/>
          </a:xfrm>
          <a:custGeom>
            <a:avLst/>
            <a:gdLst>
              <a:gd name="T0" fmla="*/ 131 w 131"/>
              <a:gd name="T1" fmla="*/ 737 h 737"/>
              <a:gd name="T2" fmla="*/ 0 w 131"/>
              <a:gd name="T3" fmla="*/ 737 h 737"/>
              <a:gd name="T4" fmla="*/ 0 w 131"/>
              <a:gd name="T5" fmla="*/ 0 h 737"/>
              <a:gd name="T6" fmla="*/ 131 w 131"/>
              <a:gd name="T7" fmla="*/ 0 h 737"/>
              <a:gd name="T8" fmla="*/ 131 w 131"/>
              <a:gd name="T9" fmla="*/ 737 h 737"/>
              <a:gd name="T10" fmla="*/ 21 w 131"/>
              <a:gd name="T11" fmla="*/ 717 h 737"/>
              <a:gd name="T12" fmla="*/ 111 w 131"/>
              <a:gd name="T13" fmla="*/ 717 h 737"/>
              <a:gd name="T14" fmla="*/ 111 w 131"/>
              <a:gd name="T15" fmla="*/ 21 h 737"/>
              <a:gd name="T16" fmla="*/ 21 w 131"/>
              <a:gd name="T17" fmla="*/ 21 h 737"/>
              <a:gd name="T18" fmla="*/ 21 w 131"/>
              <a:gd name="T19" fmla="*/ 717 h 7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737">
                <a:moveTo>
                  <a:pt x="131" y="737"/>
                </a:moveTo>
                <a:lnTo>
                  <a:pt x="0" y="737"/>
                </a:lnTo>
                <a:lnTo>
                  <a:pt x="0" y="0"/>
                </a:lnTo>
                <a:lnTo>
                  <a:pt x="131" y="0"/>
                </a:lnTo>
                <a:lnTo>
                  <a:pt x="131" y="737"/>
                </a:lnTo>
                <a:close/>
                <a:moveTo>
                  <a:pt x="21" y="717"/>
                </a:moveTo>
                <a:lnTo>
                  <a:pt x="111" y="717"/>
                </a:lnTo>
                <a:lnTo>
                  <a:pt x="111" y="21"/>
                </a:lnTo>
                <a:lnTo>
                  <a:pt x="21" y="21"/>
                </a:lnTo>
                <a:lnTo>
                  <a:pt x="21" y="717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" name="íš1iḍé">
            <a:extLst>
              <a:ext uri="{FF2B5EF4-FFF2-40B4-BE49-F238E27FC236}">
                <a16:creationId xmlns:a16="http://schemas.microsoft.com/office/drawing/2014/main" id="{15F0945A-8718-4F89-B21F-A9CB8279D5CF}"/>
              </a:ext>
            </a:extLst>
          </p:cNvPr>
          <p:cNvSpPr>
            <a:spLocks/>
          </p:cNvSpPr>
          <p:nvPr/>
        </p:nvSpPr>
        <p:spPr bwMode="auto">
          <a:xfrm>
            <a:off x="3323939" y="3109168"/>
            <a:ext cx="309190" cy="612757"/>
          </a:xfrm>
          <a:prstGeom prst="rect">
            <a:avLst/>
          </a:prstGeom>
          <a:solidFill>
            <a:srgbClr val="08C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" name="îŝḻiḑe">
            <a:extLst>
              <a:ext uri="{FF2B5EF4-FFF2-40B4-BE49-F238E27FC236}">
                <a16:creationId xmlns:a16="http://schemas.microsoft.com/office/drawing/2014/main" id="{0CAAC2F6-CD37-497E-AF58-ED18299BCC37}"/>
              </a:ext>
            </a:extLst>
          </p:cNvPr>
          <p:cNvSpPr>
            <a:spLocks/>
          </p:cNvSpPr>
          <p:nvPr/>
        </p:nvSpPr>
        <p:spPr bwMode="auto">
          <a:xfrm>
            <a:off x="3293021" y="3081060"/>
            <a:ext cx="368218" cy="668973"/>
          </a:xfrm>
          <a:custGeom>
            <a:avLst/>
            <a:gdLst>
              <a:gd name="T0" fmla="*/ 131 w 131"/>
              <a:gd name="T1" fmla="*/ 238 h 238"/>
              <a:gd name="T2" fmla="*/ 0 w 131"/>
              <a:gd name="T3" fmla="*/ 238 h 238"/>
              <a:gd name="T4" fmla="*/ 0 w 131"/>
              <a:gd name="T5" fmla="*/ 0 h 238"/>
              <a:gd name="T6" fmla="*/ 131 w 131"/>
              <a:gd name="T7" fmla="*/ 0 h 238"/>
              <a:gd name="T8" fmla="*/ 131 w 131"/>
              <a:gd name="T9" fmla="*/ 238 h 238"/>
              <a:gd name="T10" fmla="*/ 21 w 131"/>
              <a:gd name="T11" fmla="*/ 217 h 238"/>
              <a:gd name="T12" fmla="*/ 111 w 131"/>
              <a:gd name="T13" fmla="*/ 217 h 238"/>
              <a:gd name="T14" fmla="*/ 111 w 131"/>
              <a:gd name="T15" fmla="*/ 20 h 238"/>
              <a:gd name="T16" fmla="*/ 21 w 131"/>
              <a:gd name="T17" fmla="*/ 20 h 238"/>
              <a:gd name="T18" fmla="*/ 21 w 131"/>
              <a:gd name="T19" fmla="*/ 217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238">
                <a:moveTo>
                  <a:pt x="131" y="238"/>
                </a:moveTo>
                <a:lnTo>
                  <a:pt x="0" y="238"/>
                </a:lnTo>
                <a:lnTo>
                  <a:pt x="0" y="0"/>
                </a:lnTo>
                <a:lnTo>
                  <a:pt x="131" y="0"/>
                </a:lnTo>
                <a:lnTo>
                  <a:pt x="131" y="238"/>
                </a:lnTo>
                <a:close/>
                <a:moveTo>
                  <a:pt x="21" y="217"/>
                </a:moveTo>
                <a:lnTo>
                  <a:pt x="111" y="217"/>
                </a:lnTo>
                <a:lnTo>
                  <a:pt x="111" y="20"/>
                </a:lnTo>
                <a:lnTo>
                  <a:pt x="21" y="20"/>
                </a:lnTo>
                <a:lnTo>
                  <a:pt x="21" y="217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" name="išliḓè">
            <a:extLst>
              <a:ext uri="{FF2B5EF4-FFF2-40B4-BE49-F238E27FC236}">
                <a16:creationId xmlns:a16="http://schemas.microsoft.com/office/drawing/2014/main" id="{0E735E28-1552-42B6-A269-895FF75A4B9B}"/>
              </a:ext>
            </a:extLst>
          </p:cNvPr>
          <p:cNvSpPr>
            <a:spLocks/>
          </p:cNvSpPr>
          <p:nvPr/>
        </p:nvSpPr>
        <p:spPr bwMode="auto">
          <a:xfrm>
            <a:off x="3787725" y="2639763"/>
            <a:ext cx="312002" cy="1082164"/>
          </a:xfrm>
          <a:prstGeom prst="rect">
            <a:avLst/>
          </a:prstGeom>
          <a:solidFill>
            <a:srgbClr val="08C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" name="išlïḓé">
            <a:extLst>
              <a:ext uri="{FF2B5EF4-FFF2-40B4-BE49-F238E27FC236}">
                <a16:creationId xmlns:a16="http://schemas.microsoft.com/office/drawing/2014/main" id="{5A3DF5B5-15A5-4B81-A080-AAE684E5295D}"/>
              </a:ext>
            </a:extLst>
          </p:cNvPr>
          <p:cNvSpPr>
            <a:spLocks/>
          </p:cNvSpPr>
          <p:nvPr/>
        </p:nvSpPr>
        <p:spPr bwMode="auto">
          <a:xfrm>
            <a:off x="3759617" y="2608844"/>
            <a:ext cx="368218" cy="1141190"/>
          </a:xfrm>
          <a:custGeom>
            <a:avLst/>
            <a:gdLst>
              <a:gd name="T0" fmla="*/ 131 w 131"/>
              <a:gd name="T1" fmla="*/ 406 h 406"/>
              <a:gd name="T2" fmla="*/ 0 w 131"/>
              <a:gd name="T3" fmla="*/ 406 h 406"/>
              <a:gd name="T4" fmla="*/ 0 w 131"/>
              <a:gd name="T5" fmla="*/ 0 h 406"/>
              <a:gd name="T6" fmla="*/ 131 w 131"/>
              <a:gd name="T7" fmla="*/ 0 h 406"/>
              <a:gd name="T8" fmla="*/ 131 w 131"/>
              <a:gd name="T9" fmla="*/ 406 h 406"/>
              <a:gd name="T10" fmla="*/ 20 w 131"/>
              <a:gd name="T11" fmla="*/ 385 h 406"/>
              <a:gd name="T12" fmla="*/ 110 w 131"/>
              <a:gd name="T13" fmla="*/ 385 h 406"/>
              <a:gd name="T14" fmla="*/ 110 w 131"/>
              <a:gd name="T15" fmla="*/ 21 h 406"/>
              <a:gd name="T16" fmla="*/ 20 w 131"/>
              <a:gd name="T17" fmla="*/ 21 h 406"/>
              <a:gd name="T18" fmla="*/ 20 w 131"/>
              <a:gd name="T19" fmla="*/ 385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406">
                <a:moveTo>
                  <a:pt x="131" y="406"/>
                </a:moveTo>
                <a:lnTo>
                  <a:pt x="0" y="406"/>
                </a:lnTo>
                <a:lnTo>
                  <a:pt x="0" y="0"/>
                </a:lnTo>
                <a:lnTo>
                  <a:pt x="131" y="0"/>
                </a:lnTo>
                <a:lnTo>
                  <a:pt x="131" y="406"/>
                </a:lnTo>
                <a:close/>
                <a:moveTo>
                  <a:pt x="20" y="385"/>
                </a:moveTo>
                <a:lnTo>
                  <a:pt x="110" y="385"/>
                </a:lnTo>
                <a:lnTo>
                  <a:pt x="110" y="21"/>
                </a:lnTo>
                <a:lnTo>
                  <a:pt x="20" y="21"/>
                </a:lnTo>
                <a:lnTo>
                  <a:pt x="20" y="385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6" name="îṧ1iďé">
            <a:extLst>
              <a:ext uri="{FF2B5EF4-FFF2-40B4-BE49-F238E27FC236}">
                <a16:creationId xmlns:a16="http://schemas.microsoft.com/office/drawing/2014/main" id="{9ED035DF-CC4C-436D-81E2-11C9C6DA08F7}"/>
              </a:ext>
            </a:extLst>
          </p:cNvPr>
          <p:cNvSpPr>
            <a:spLocks/>
          </p:cNvSpPr>
          <p:nvPr/>
        </p:nvSpPr>
        <p:spPr bwMode="auto">
          <a:xfrm>
            <a:off x="4254321" y="2639763"/>
            <a:ext cx="309190" cy="1082164"/>
          </a:xfrm>
          <a:prstGeom prst="rect">
            <a:avLst/>
          </a:prstGeom>
          <a:solidFill>
            <a:srgbClr val="08C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" name="îślíḋê">
            <a:extLst>
              <a:ext uri="{FF2B5EF4-FFF2-40B4-BE49-F238E27FC236}">
                <a16:creationId xmlns:a16="http://schemas.microsoft.com/office/drawing/2014/main" id="{EEA0EF41-E23E-45FB-BBAB-DEDC314C9492}"/>
              </a:ext>
            </a:extLst>
          </p:cNvPr>
          <p:cNvSpPr>
            <a:spLocks/>
          </p:cNvSpPr>
          <p:nvPr/>
        </p:nvSpPr>
        <p:spPr bwMode="auto">
          <a:xfrm>
            <a:off x="4223401" y="2608844"/>
            <a:ext cx="368218" cy="1141190"/>
          </a:xfrm>
          <a:custGeom>
            <a:avLst/>
            <a:gdLst>
              <a:gd name="T0" fmla="*/ 131 w 131"/>
              <a:gd name="T1" fmla="*/ 406 h 406"/>
              <a:gd name="T2" fmla="*/ 0 w 131"/>
              <a:gd name="T3" fmla="*/ 406 h 406"/>
              <a:gd name="T4" fmla="*/ 0 w 131"/>
              <a:gd name="T5" fmla="*/ 0 h 406"/>
              <a:gd name="T6" fmla="*/ 131 w 131"/>
              <a:gd name="T7" fmla="*/ 0 h 406"/>
              <a:gd name="T8" fmla="*/ 131 w 131"/>
              <a:gd name="T9" fmla="*/ 406 h 406"/>
              <a:gd name="T10" fmla="*/ 21 w 131"/>
              <a:gd name="T11" fmla="*/ 385 h 406"/>
              <a:gd name="T12" fmla="*/ 111 w 131"/>
              <a:gd name="T13" fmla="*/ 385 h 406"/>
              <a:gd name="T14" fmla="*/ 111 w 131"/>
              <a:gd name="T15" fmla="*/ 21 h 406"/>
              <a:gd name="T16" fmla="*/ 21 w 131"/>
              <a:gd name="T17" fmla="*/ 21 h 406"/>
              <a:gd name="T18" fmla="*/ 21 w 131"/>
              <a:gd name="T19" fmla="*/ 385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406">
                <a:moveTo>
                  <a:pt x="131" y="406"/>
                </a:moveTo>
                <a:lnTo>
                  <a:pt x="0" y="406"/>
                </a:lnTo>
                <a:lnTo>
                  <a:pt x="0" y="0"/>
                </a:lnTo>
                <a:lnTo>
                  <a:pt x="131" y="0"/>
                </a:lnTo>
                <a:lnTo>
                  <a:pt x="131" y="406"/>
                </a:lnTo>
                <a:close/>
                <a:moveTo>
                  <a:pt x="21" y="385"/>
                </a:moveTo>
                <a:lnTo>
                  <a:pt x="111" y="385"/>
                </a:lnTo>
                <a:lnTo>
                  <a:pt x="111" y="21"/>
                </a:lnTo>
                <a:lnTo>
                  <a:pt x="21" y="21"/>
                </a:lnTo>
                <a:lnTo>
                  <a:pt x="21" y="385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" name="ïṩļíḓé">
            <a:extLst>
              <a:ext uri="{FF2B5EF4-FFF2-40B4-BE49-F238E27FC236}">
                <a16:creationId xmlns:a16="http://schemas.microsoft.com/office/drawing/2014/main" id="{09B572CF-7F29-41EC-ADB7-EB6AD4F8AE3D}"/>
              </a:ext>
            </a:extLst>
          </p:cNvPr>
          <p:cNvSpPr>
            <a:spLocks/>
          </p:cNvSpPr>
          <p:nvPr/>
        </p:nvSpPr>
        <p:spPr bwMode="auto">
          <a:xfrm>
            <a:off x="4254321" y="2173169"/>
            <a:ext cx="309190" cy="466595"/>
          </a:xfrm>
          <a:prstGeom prst="rect">
            <a:avLst/>
          </a:prstGeom>
          <a:solidFill>
            <a:srgbClr val="EF5E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" name="îśļîḓè">
            <a:extLst>
              <a:ext uri="{FF2B5EF4-FFF2-40B4-BE49-F238E27FC236}">
                <a16:creationId xmlns:a16="http://schemas.microsoft.com/office/drawing/2014/main" id="{C7CF0696-8E65-4184-9B44-A9614517B3A6}"/>
              </a:ext>
            </a:extLst>
          </p:cNvPr>
          <p:cNvSpPr>
            <a:spLocks/>
          </p:cNvSpPr>
          <p:nvPr/>
        </p:nvSpPr>
        <p:spPr bwMode="auto">
          <a:xfrm>
            <a:off x="4223401" y="2145061"/>
            <a:ext cx="368218" cy="522811"/>
          </a:xfrm>
          <a:custGeom>
            <a:avLst/>
            <a:gdLst>
              <a:gd name="T0" fmla="*/ 131 w 131"/>
              <a:gd name="T1" fmla="*/ 186 h 186"/>
              <a:gd name="T2" fmla="*/ 0 w 131"/>
              <a:gd name="T3" fmla="*/ 186 h 186"/>
              <a:gd name="T4" fmla="*/ 0 w 131"/>
              <a:gd name="T5" fmla="*/ 0 h 186"/>
              <a:gd name="T6" fmla="*/ 131 w 131"/>
              <a:gd name="T7" fmla="*/ 0 h 186"/>
              <a:gd name="T8" fmla="*/ 131 w 131"/>
              <a:gd name="T9" fmla="*/ 186 h 186"/>
              <a:gd name="T10" fmla="*/ 21 w 131"/>
              <a:gd name="T11" fmla="*/ 165 h 186"/>
              <a:gd name="T12" fmla="*/ 111 w 131"/>
              <a:gd name="T13" fmla="*/ 165 h 186"/>
              <a:gd name="T14" fmla="*/ 111 w 131"/>
              <a:gd name="T15" fmla="*/ 21 h 186"/>
              <a:gd name="T16" fmla="*/ 21 w 131"/>
              <a:gd name="T17" fmla="*/ 21 h 186"/>
              <a:gd name="T18" fmla="*/ 21 w 131"/>
              <a:gd name="T19" fmla="*/ 165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186">
                <a:moveTo>
                  <a:pt x="131" y="186"/>
                </a:moveTo>
                <a:lnTo>
                  <a:pt x="0" y="186"/>
                </a:lnTo>
                <a:lnTo>
                  <a:pt x="0" y="0"/>
                </a:lnTo>
                <a:lnTo>
                  <a:pt x="131" y="0"/>
                </a:lnTo>
                <a:lnTo>
                  <a:pt x="131" y="186"/>
                </a:lnTo>
                <a:close/>
                <a:moveTo>
                  <a:pt x="21" y="165"/>
                </a:moveTo>
                <a:lnTo>
                  <a:pt x="111" y="165"/>
                </a:lnTo>
                <a:lnTo>
                  <a:pt x="111" y="21"/>
                </a:lnTo>
                <a:lnTo>
                  <a:pt x="21" y="21"/>
                </a:lnTo>
                <a:lnTo>
                  <a:pt x="21" y="165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" name="îṡ1ïḋe">
            <a:extLst>
              <a:ext uri="{FF2B5EF4-FFF2-40B4-BE49-F238E27FC236}">
                <a16:creationId xmlns:a16="http://schemas.microsoft.com/office/drawing/2014/main" id="{8F9A8755-E62D-4A3B-BF65-9D1AB7A01E09}"/>
              </a:ext>
            </a:extLst>
          </p:cNvPr>
          <p:cNvSpPr>
            <a:spLocks/>
          </p:cNvSpPr>
          <p:nvPr/>
        </p:nvSpPr>
        <p:spPr bwMode="auto">
          <a:xfrm>
            <a:off x="3866428" y="2018573"/>
            <a:ext cx="0" cy="0"/>
          </a:xfrm>
          <a:prstGeom prst="line">
            <a:avLst/>
          </a:prstGeom>
          <a:noFill/>
          <a:ln w="33338" cap="flat">
            <a:solidFill>
              <a:srgbClr val="54545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1" name="ïṡ1îḑé">
            <a:extLst>
              <a:ext uri="{FF2B5EF4-FFF2-40B4-BE49-F238E27FC236}">
                <a16:creationId xmlns:a16="http://schemas.microsoft.com/office/drawing/2014/main" id="{032F19B9-D93E-43BA-8576-77E4442E7039}"/>
              </a:ext>
            </a:extLst>
          </p:cNvPr>
          <p:cNvSpPr>
            <a:spLocks/>
          </p:cNvSpPr>
          <p:nvPr/>
        </p:nvSpPr>
        <p:spPr bwMode="auto">
          <a:xfrm>
            <a:off x="1837017" y="1998898"/>
            <a:ext cx="2203682" cy="1596541"/>
          </a:xfrm>
          <a:custGeom>
            <a:avLst/>
            <a:gdLst>
              <a:gd name="T0" fmla="*/ 9 w 784"/>
              <a:gd name="T1" fmla="*/ 568 h 568"/>
              <a:gd name="T2" fmla="*/ 0 w 784"/>
              <a:gd name="T3" fmla="*/ 549 h 568"/>
              <a:gd name="T4" fmla="*/ 112 w 784"/>
              <a:gd name="T5" fmla="*/ 493 h 568"/>
              <a:gd name="T6" fmla="*/ 166 w 784"/>
              <a:gd name="T7" fmla="*/ 493 h 568"/>
              <a:gd name="T8" fmla="*/ 276 w 784"/>
              <a:gd name="T9" fmla="*/ 383 h 568"/>
              <a:gd name="T10" fmla="*/ 386 w 784"/>
              <a:gd name="T11" fmla="*/ 383 h 568"/>
              <a:gd name="T12" fmla="*/ 498 w 784"/>
              <a:gd name="T13" fmla="*/ 273 h 568"/>
              <a:gd name="T14" fmla="*/ 550 w 784"/>
              <a:gd name="T15" fmla="*/ 273 h 568"/>
              <a:gd name="T16" fmla="*/ 603 w 784"/>
              <a:gd name="T17" fmla="*/ 167 h 568"/>
              <a:gd name="T18" fmla="*/ 770 w 784"/>
              <a:gd name="T19" fmla="*/ 0 h 568"/>
              <a:gd name="T20" fmla="*/ 784 w 784"/>
              <a:gd name="T21" fmla="*/ 14 h 568"/>
              <a:gd name="T22" fmla="*/ 620 w 784"/>
              <a:gd name="T23" fmla="*/ 179 h 568"/>
              <a:gd name="T24" fmla="*/ 562 w 784"/>
              <a:gd name="T25" fmla="*/ 293 h 568"/>
              <a:gd name="T26" fmla="*/ 507 w 784"/>
              <a:gd name="T27" fmla="*/ 293 h 568"/>
              <a:gd name="T28" fmla="*/ 395 w 784"/>
              <a:gd name="T29" fmla="*/ 403 h 568"/>
              <a:gd name="T30" fmla="*/ 285 w 784"/>
              <a:gd name="T31" fmla="*/ 403 h 568"/>
              <a:gd name="T32" fmla="*/ 174 w 784"/>
              <a:gd name="T33" fmla="*/ 514 h 568"/>
              <a:gd name="T34" fmla="*/ 117 w 784"/>
              <a:gd name="T35" fmla="*/ 514 h 568"/>
              <a:gd name="T36" fmla="*/ 9 w 784"/>
              <a:gd name="T37" fmla="*/ 568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84" h="568">
                <a:moveTo>
                  <a:pt x="9" y="568"/>
                </a:moveTo>
                <a:lnTo>
                  <a:pt x="0" y="549"/>
                </a:lnTo>
                <a:lnTo>
                  <a:pt x="112" y="493"/>
                </a:lnTo>
                <a:lnTo>
                  <a:pt x="166" y="493"/>
                </a:lnTo>
                <a:lnTo>
                  <a:pt x="276" y="383"/>
                </a:lnTo>
                <a:lnTo>
                  <a:pt x="386" y="383"/>
                </a:lnTo>
                <a:lnTo>
                  <a:pt x="498" y="273"/>
                </a:lnTo>
                <a:lnTo>
                  <a:pt x="550" y="273"/>
                </a:lnTo>
                <a:lnTo>
                  <a:pt x="603" y="167"/>
                </a:lnTo>
                <a:lnTo>
                  <a:pt x="770" y="0"/>
                </a:lnTo>
                <a:lnTo>
                  <a:pt x="784" y="14"/>
                </a:lnTo>
                <a:lnTo>
                  <a:pt x="620" y="179"/>
                </a:lnTo>
                <a:lnTo>
                  <a:pt x="562" y="293"/>
                </a:lnTo>
                <a:lnTo>
                  <a:pt x="507" y="293"/>
                </a:lnTo>
                <a:lnTo>
                  <a:pt x="395" y="403"/>
                </a:lnTo>
                <a:lnTo>
                  <a:pt x="285" y="403"/>
                </a:lnTo>
                <a:lnTo>
                  <a:pt x="174" y="514"/>
                </a:lnTo>
                <a:lnTo>
                  <a:pt x="117" y="514"/>
                </a:lnTo>
                <a:lnTo>
                  <a:pt x="9" y="568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îṥḷiḑè">
            <a:extLst>
              <a:ext uri="{FF2B5EF4-FFF2-40B4-BE49-F238E27FC236}">
                <a16:creationId xmlns:a16="http://schemas.microsoft.com/office/drawing/2014/main" id="{3101B2A4-0408-4350-8810-74FCE2022FCD}"/>
              </a:ext>
            </a:extLst>
          </p:cNvPr>
          <p:cNvSpPr>
            <a:spLocks/>
          </p:cNvSpPr>
          <p:nvPr/>
        </p:nvSpPr>
        <p:spPr bwMode="auto">
          <a:xfrm>
            <a:off x="3866428" y="1990465"/>
            <a:ext cx="182704" cy="182704"/>
          </a:xfrm>
          <a:custGeom>
            <a:avLst/>
            <a:gdLst>
              <a:gd name="T0" fmla="*/ 65 w 65"/>
              <a:gd name="T1" fmla="*/ 65 h 65"/>
              <a:gd name="T2" fmla="*/ 45 w 65"/>
              <a:gd name="T3" fmla="*/ 65 h 65"/>
              <a:gd name="T4" fmla="*/ 45 w 65"/>
              <a:gd name="T5" fmla="*/ 21 h 65"/>
              <a:gd name="T6" fmla="*/ 0 w 65"/>
              <a:gd name="T7" fmla="*/ 21 h 65"/>
              <a:gd name="T8" fmla="*/ 0 w 65"/>
              <a:gd name="T9" fmla="*/ 0 h 65"/>
              <a:gd name="T10" fmla="*/ 65 w 65"/>
              <a:gd name="T11" fmla="*/ 0 h 65"/>
              <a:gd name="T12" fmla="*/ 65 w 65"/>
              <a:gd name="T13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5" h="65">
                <a:moveTo>
                  <a:pt x="65" y="65"/>
                </a:moveTo>
                <a:lnTo>
                  <a:pt x="45" y="65"/>
                </a:lnTo>
                <a:lnTo>
                  <a:pt x="45" y="21"/>
                </a:lnTo>
                <a:lnTo>
                  <a:pt x="0" y="21"/>
                </a:lnTo>
                <a:lnTo>
                  <a:pt x="0" y="0"/>
                </a:lnTo>
                <a:lnTo>
                  <a:pt x="65" y="0"/>
                </a:lnTo>
                <a:lnTo>
                  <a:pt x="65" y="65"/>
                </a:lnTo>
                <a:close/>
              </a:path>
            </a:pathLst>
          </a:custGeom>
          <a:solidFill>
            <a:srgbClr val="5454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ïšļíḋè">
            <a:extLst>
              <a:ext uri="{FF2B5EF4-FFF2-40B4-BE49-F238E27FC236}">
                <a16:creationId xmlns:a16="http://schemas.microsoft.com/office/drawing/2014/main" id="{BFE81447-5727-4581-A41D-ECAA5C72D35E}"/>
              </a:ext>
            </a:extLst>
          </p:cNvPr>
          <p:cNvSpPr txBox="1"/>
          <p:nvPr/>
        </p:nvSpPr>
        <p:spPr>
          <a:xfrm>
            <a:off x="757681" y="2510489"/>
            <a:ext cx="1212960" cy="247126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PORT</a:t>
            </a:r>
            <a:endParaRPr kumimoji="0" lang="zh-CN" altLang="en-US" sz="16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6" name="ïṧ1ïḍé">
            <a:extLst>
              <a:ext uri="{FF2B5EF4-FFF2-40B4-BE49-F238E27FC236}">
                <a16:creationId xmlns:a16="http://schemas.microsoft.com/office/drawing/2014/main" id="{D982A84F-59CC-4616-8A73-E35FBB56533A}"/>
              </a:ext>
            </a:extLst>
          </p:cNvPr>
          <p:cNvSpPr txBox="1"/>
          <p:nvPr/>
        </p:nvSpPr>
        <p:spPr>
          <a:xfrm>
            <a:off x="759797" y="2312013"/>
            <a:ext cx="865480" cy="148090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NNUAL</a:t>
            </a:r>
            <a:endParaRPr kumimoji="0" lang="zh-CN" altLang="en-US" sz="9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7" name="işḻîḍé">
            <a:extLst>
              <a:ext uri="{FF2B5EF4-FFF2-40B4-BE49-F238E27FC236}">
                <a16:creationId xmlns:a16="http://schemas.microsoft.com/office/drawing/2014/main" id="{37E9FF77-6B6A-4398-931F-005ACFE2BD30}"/>
              </a:ext>
            </a:extLst>
          </p:cNvPr>
          <p:cNvSpPr txBox="1"/>
          <p:nvPr/>
        </p:nvSpPr>
        <p:spPr>
          <a:xfrm>
            <a:off x="1214954" y="2037194"/>
            <a:ext cx="540605" cy="221918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018</a:t>
            </a:r>
            <a:endParaRPr kumimoji="0" lang="zh-CN" altLang="en-US" sz="9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2" name="îṥḻiḍê">
            <a:extLst>
              <a:ext uri="{FF2B5EF4-FFF2-40B4-BE49-F238E27FC236}">
                <a16:creationId xmlns:a16="http://schemas.microsoft.com/office/drawing/2014/main" id="{186BBD09-0A72-4B8D-B99A-10594EBBFABA}"/>
              </a:ext>
            </a:extLst>
          </p:cNvPr>
          <p:cNvSpPr/>
          <p:nvPr/>
        </p:nvSpPr>
        <p:spPr>
          <a:xfrm>
            <a:off x="757681" y="2037193"/>
            <a:ext cx="401251" cy="206997"/>
          </a:xfrm>
          <a:prstGeom prst="rect">
            <a:avLst/>
          </a:prstGeom>
          <a:solidFill>
            <a:srgbClr val="009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" name="ïṩḷiḓe">
            <a:extLst>
              <a:ext uri="{FF2B5EF4-FFF2-40B4-BE49-F238E27FC236}">
                <a16:creationId xmlns:a16="http://schemas.microsoft.com/office/drawing/2014/main" id="{1BE6D3A1-C320-4108-9C1E-6124E4B15CF3}"/>
              </a:ext>
            </a:extLst>
          </p:cNvPr>
          <p:cNvSpPr/>
          <p:nvPr/>
        </p:nvSpPr>
        <p:spPr>
          <a:xfrm>
            <a:off x="757680" y="2037193"/>
            <a:ext cx="120376" cy="206997"/>
          </a:xfrm>
          <a:prstGeom prst="rect">
            <a:avLst/>
          </a:prstGeom>
          <a:solidFill>
            <a:srgbClr val="0096D6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4" name="ïṡḷíḓê">
            <a:extLst>
              <a:ext uri="{FF2B5EF4-FFF2-40B4-BE49-F238E27FC236}">
                <a16:creationId xmlns:a16="http://schemas.microsoft.com/office/drawing/2014/main" id="{8AE44DD8-880F-4F62-A55F-5EE67F15054B}"/>
              </a:ext>
            </a:extLst>
          </p:cNvPr>
          <p:cNvSpPr/>
          <p:nvPr/>
        </p:nvSpPr>
        <p:spPr>
          <a:xfrm>
            <a:off x="1681299" y="2169259"/>
            <a:ext cx="289342" cy="288905"/>
          </a:xfrm>
          <a:custGeom>
            <a:avLst/>
            <a:gdLst>
              <a:gd name="connsiteX0" fmla="*/ 259984 w 607639"/>
              <a:gd name="connsiteY0" fmla="*/ 430308 h 606722"/>
              <a:gd name="connsiteX1" fmla="*/ 287837 w 607639"/>
              <a:gd name="connsiteY1" fmla="*/ 458126 h 606722"/>
              <a:gd name="connsiteX2" fmla="*/ 139047 w 607639"/>
              <a:gd name="connsiteY2" fmla="*/ 606722 h 606722"/>
              <a:gd name="connsiteX3" fmla="*/ 111282 w 607639"/>
              <a:gd name="connsiteY3" fmla="*/ 578905 h 606722"/>
              <a:gd name="connsiteX4" fmla="*/ 204460 w 607639"/>
              <a:gd name="connsiteY4" fmla="*/ 374844 h 606722"/>
              <a:gd name="connsiteX5" fmla="*/ 232231 w 607639"/>
              <a:gd name="connsiteY5" fmla="*/ 402573 h 606722"/>
              <a:gd name="connsiteX6" fmla="*/ 27771 w 607639"/>
              <a:gd name="connsiteY6" fmla="*/ 606722 h 606722"/>
              <a:gd name="connsiteX7" fmla="*/ 0 w 607639"/>
              <a:gd name="connsiteY7" fmla="*/ 578904 h 606722"/>
              <a:gd name="connsiteX8" fmla="*/ 148791 w 607639"/>
              <a:gd name="connsiteY8" fmla="*/ 319309 h 606722"/>
              <a:gd name="connsiteX9" fmla="*/ 176555 w 607639"/>
              <a:gd name="connsiteY9" fmla="*/ 347040 h 606722"/>
              <a:gd name="connsiteX10" fmla="*/ 27853 w 607639"/>
              <a:gd name="connsiteY10" fmla="*/ 495652 h 606722"/>
              <a:gd name="connsiteX11" fmla="*/ 0 w 607639"/>
              <a:gd name="connsiteY11" fmla="*/ 467921 h 606722"/>
              <a:gd name="connsiteX12" fmla="*/ 482456 w 607639"/>
              <a:gd name="connsiteY12" fmla="*/ 291506 h 606722"/>
              <a:gd name="connsiteX13" fmla="*/ 441354 w 607639"/>
              <a:gd name="connsiteY13" fmla="*/ 444829 h 606722"/>
              <a:gd name="connsiteX14" fmla="*/ 385749 w 607639"/>
              <a:gd name="connsiteY14" fmla="*/ 500380 h 606722"/>
              <a:gd name="connsiteX15" fmla="*/ 329611 w 607639"/>
              <a:gd name="connsiteY15" fmla="*/ 444295 h 606722"/>
              <a:gd name="connsiteX16" fmla="*/ 218312 w 607639"/>
              <a:gd name="connsiteY16" fmla="*/ 277605 h 606722"/>
              <a:gd name="connsiteX17" fmla="*/ 329470 w 607639"/>
              <a:gd name="connsiteY17" fmla="*/ 388739 h 606722"/>
              <a:gd name="connsiteX18" fmla="*/ 301703 w 607639"/>
              <a:gd name="connsiteY18" fmla="*/ 416478 h 606722"/>
              <a:gd name="connsiteX19" fmla="*/ 190456 w 607639"/>
              <a:gd name="connsiteY19" fmla="*/ 305433 h 606722"/>
              <a:gd name="connsiteX20" fmla="*/ 315639 w 607639"/>
              <a:gd name="connsiteY20" fmla="*/ 124971 h 606722"/>
              <a:gd name="connsiteX21" fmla="*/ 162720 w 607639"/>
              <a:gd name="connsiteY21" fmla="*/ 277604 h 606722"/>
              <a:gd name="connsiteX22" fmla="*/ 106554 w 607639"/>
              <a:gd name="connsiteY22" fmla="*/ 221544 h 606722"/>
              <a:gd name="connsiteX23" fmla="*/ 162097 w 607639"/>
              <a:gd name="connsiteY23" fmla="*/ 166016 h 606722"/>
              <a:gd name="connsiteX24" fmla="*/ 459243 w 607639"/>
              <a:gd name="connsiteY24" fmla="*/ 120359 h 606722"/>
              <a:gd name="connsiteX25" fmla="*/ 431471 w 607639"/>
              <a:gd name="connsiteY25" fmla="*/ 148088 h 606722"/>
              <a:gd name="connsiteX26" fmla="*/ 459243 w 607639"/>
              <a:gd name="connsiteY26" fmla="*/ 175905 h 606722"/>
              <a:gd name="connsiteX27" fmla="*/ 487103 w 607639"/>
              <a:gd name="connsiteY27" fmla="*/ 148088 h 606722"/>
              <a:gd name="connsiteX28" fmla="*/ 445357 w 607639"/>
              <a:gd name="connsiteY28" fmla="*/ 50948 h 606722"/>
              <a:gd name="connsiteX29" fmla="*/ 556620 w 607639"/>
              <a:gd name="connsiteY29" fmla="*/ 161952 h 606722"/>
              <a:gd name="connsiteX30" fmla="*/ 357326 w 607639"/>
              <a:gd name="connsiteY30" fmla="*/ 360942 h 606722"/>
              <a:gd name="connsiteX31" fmla="*/ 246062 w 607639"/>
              <a:gd name="connsiteY31" fmla="*/ 249938 h 606722"/>
              <a:gd name="connsiteX32" fmla="*/ 607639 w 607639"/>
              <a:gd name="connsiteY32" fmla="*/ 0 h 606722"/>
              <a:gd name="connsiteX33" fmla="*/ 576136 w 607639"/>
              <a:gd name="connsiteY33" fmla="*/ 125818 h 606722"/>
              <a:gd name="connsiteX34" fmla="*/ 481539 w 607639"/>
              <a:gd name="connsiteY34" fmla="*/ 31454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7639" h="606722">
                <a:moveTo>
                  <a:pt x="259984" y="430308"/>
                </a:moveTo>
                <a:lnTo>
                  <a:pt x="287837" y="458126"/>
                </a:lnTo>
                <a:lnTo>
                  <a:pt x="139047" y="606722"/>
                </a:lnTo>
                <a:lnTo>
                  <a:pt x="111282" y="578905"/>
                </a:lnTo>
                <a:close/>
                <a:moveTo>
                  <a:pt x="204460" y="374844"/>
                </a:moveTo>
                <a:lnTo>
                  <a:pt x="232231" y="402573"/>
                </a:lnTo>
                <a:lnTo>
                  <a:pt x="27771" y="606722"/>
                </a:lnTo>
                <a:lnTo>
                  <a:pt x="0" y="578904"/>
                </a:lnTo>
                <a:close/>
                <a:moveTo>
                  <a:pt x="148791" y="319309"/>
                </a:moveTo>
                <a:lnTo>
                  <a:pt x="176555" y="347040"/>
                </a:lnTo>
                <a:lnTo>
                  <a:pt x="27853" y="495652"/>
                </a:lnTo>
                <a:lnTo>
                  <a:pt x="0" y="467921"/>
                </a:lnTo>
                <a:close/>
                <a:moveTo>
                  <a:pt x="482456" y="291506"/>
                </a:moveTo>
                <a:lnTo>
                  <a:pt x="441354" y="444829"/>
                </a:lnTo>
                <a:lnTo>
                  <a:pt x="385749" y="500380"/>
                </a:lnTo>
                <a:lnTo>
                  <a:pt x="329611" y="444295"/>
                </a:lnTo>
                <a:close/>
                <a:moveTo>
                  <a:pt x="218312" y="277605"/>
                </a:moveTo>
                <a:lnTo>
                  <a:pt x="329470" y="388739"/>
                </a:lnTo>
                <a:lnTo>
                  <a:pt x="301703" y="416478"/>
                </a:lnTo>
                <a:lnTo>
                  <a:pt x="190456" y="305433"/>
                </a:lnTo>
                <a:close/>
                <a:moveTo>
                  <a:pt x="315639" y="124971"/>
                </a:moveTo>
                <a:lnTo>
                  <a:pt x="162720" y="277604"/>
                </a:lnTo>
                <a:lnTo>
                  <a:pt x="106554" y="221544"/>
                </a:lnTo>
                <a:lnTo>
                  <a:pt x="162097" y="166016"/>
                </a:lnTo>
                <a:close/>
                <a:moveTo>
                  <a:pt x="459243" y="120359"/>
                </a:moveTo>
                <a:lnTo>
                  <a:pt x="431471" y="148088"/>
                </a:lnTo>
                <a:lnTo>
                  <a:pt x="459243" y="175905"/>
                </a:lnTo>
                <a:lnTo>
                  <a:pt x="487103" y="148088"/>
                </a:lnTo>
                <a:close/>
                <a:moveTo>
                  <a:pt x="445357" y="50948"/>
                </a:moveTo>
                <a:lnTo>
                  <a:pt x="556620" y="161952"/>
                </a:lnTo>
                <a:lnTo>
                  <a:pt x="357326" y="360942"/>
                </a:lnTo>
                <a:lnTo>
                  <a:pt x="246062" y="249938"/>
                </a:lnTo>
                <a:close/>
                <a:moveTo>
                  <a:pt x="607639" y="0"/>
                </a:moveTo>
                <a:lnTo>
                  <a:pt x="576136" y="125818"/>
                </a:lnTo>
                <a:lnTo>
                  <a:pt x="481539" y="31454"/>
                </a:lnTo>
                <a:close/>
              </a:path>
            </a:pathLst>
          </a:custGeom>
          <a:solidFill>
            <a:srgbClr val="0096D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7" name="î$lïḋè">
            <a:extLst>
              <a:ext uri="{FF2B5EF4-FFF2-40B4-BE49-F238E27FC236}">
                <a16:creationId xmlns:a16="http://schemas.microsoft.com/office/drawing/2014/main" id="{7F7A4289-649E-4DC8-A70D-832F7C1CCF47}"/>
              </a:ext>
            </a:extLst>
          </p:cNvPr>
          <p:cNvSpPr txBox="1"/>
          <p:nvPr/>
        </p:nvSpPr>
        <p:spPr>
          <a:xfrm>
            <a:off x="5760577" y="1166724"/>
            <a:ext cx="5673885" cy="1343761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 lnSpcReduction="10000"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400" dirty="0"/>
              <a:t>Unified fonts make reading more fluent.</a:t>
            </a:r>
          </a:p>
          <a:p>
            <a:pPr algn="just">
              <a:lnSpc>
                <a:spcPct val="150000"/>
              </a:lnSpc>
            </a:pPr>
            <a:r>
              <a:rPr lang="en-US" altLang="zh-CN" sz="1600" b="1" dirty="0"/>
              <a:t>Theme color makes PPT more convenient to change.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/>
              <a:t>Adjust the spacing to adapt to Chinese typesetting, use the reference line in PPT.</a:t>
            </a:r>
            <a:endParaRPr lang="en-US" altLang="zh-CN" sz="1600" b="1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3905104-2568-44FE-81B0-E0D0C6B3769F}"/>
              </a:ext>
            </a:extLst>
          </p:cNvPr>
          <p:cNvCxnSpPr>
            <a:cxnSpLocks/>
          </p:cNvCxnSpPr>
          <p:nvPr/>
        </p:nvCxnSpPr>
        <p:spPr>
          <a:xfrm>
            <a:off x="5871000" y="2657016"/>
            <a:ext cx="5649488" cy="0"/>
          </a:xfrm>
          <a:prstGeom prst="line">
            <a:avLst/>
          </a:prstGeom>
          <a:ln w="952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Sḻîḑé">
            <a:extLst>
              <a:ext uri="{FF2B5EF4-FFF2-40B4-BE49-F238E27FC236}">
                <a16:creationId xmlns:a16="http://schemas.microsoft.com/office/drawing/2014/main" id="{16C923C2-4AFE-4EAA-BE4D-A74443369759}"/>
              </a:ext>
            </a:extLst>
          </p:cNvPr>
          <p:cNvSpPr txBox="1"/>
          <p:nvPr/>
        </p:nvSpPr>
        <p:spPr>
          <a:xfrm>
            <a:off x="5741727" y="3834000"/>
            <a:ext cx="2635470" cy="588331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6" name="îš1iḑê">
            <a:extLst>
              <a:ext uri="{FF2B5EF4-FFF2-40B4-BE49-F238E27FC236}">
                <a16:creationId xmlns:a16="http://schemas.microsoft.com/office/drawing/2014/main" id="{ADFDF1B4-F559-4C5E-A2AD-87C2E486186B}"/>
              </a:ext>
            </a:extLst>
          </p:cNvPr>
          <p:cNvSpPr txBox="1"/>
          <p:nvPr/>
        </p:nvSpPr>
        <p:spPr>
          <a:xfrm>
            <a:off x="5741726" y="4422332"/>
            <a:ext cx="2635469" cy="148687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Unified fonts make reading more fluent.</a:t>
            </a:r>
          </a:p>
          <a:p>
            <a:pPr>
              <a:lnSpc>
                <a:spcPct val="150000"/>
              </a:lnSpc>
            </a:pPr>
            <a:r>
              <a:rPr lang="en-US" altLang="zh-CN" sz="1000" dirty="0"/>
              <a:t>Theme color makes PPT more convenient to change.</a:t>
            </a:r>
          </a:p>
          <a:p>
            <a:pPr>
              <a:lnSpc>
                <a:spcPct val="150000"/>
              </a:lnSpc>
            </a:pPr>
            <a:endParaRPr lang="en-US" altLang="zh-CN" sz="1000" dirty="0"/>
          </a:p>
          <a:p>
            <a:pPr>
              <a:lnSpc>
                <a:spcPct val="150000"/>
              </a:lnSpc>
            </a:pPr>
            <a:r>
              <a:rPr lang="en-US" altLang="zh-CN" sz="1000" dirty="0"/>
              <a:t>Adjust the spacing to adapt to Chinese typesetting, use the reference line in PPT.</a:t>
            </a:r>
          </a:p>
        </p:txBody>
      </p:sp>
      <p:sp>
        <p:nvSpPr>
          <p:cNvPr id="17" name="íšľîḑê">
            <a:extLst>
              <a:ext uri="{FF2B5EF4-FFF2-40B4-BE49-F238E27FC236}">
                <a16:creationId xmlns:a16="http://schemas.microsoft.com/office/drawing/2014/main" id="{E0B4A198-1D72-4E8E-BFE8-10F8C00CDF0A}"/>
              </a:ext>
            </a:extLst>
          </p:cNvPr>
          <p:cNvSpPr>
            <a:spLocks noChangeAspect="1"/>
          </p:cNvSpPr>
          <p:nvPr/>
        </p:nvSpPr>
        <p:spPr bwMode="auto">
          <a:xfrm>
            <a:off x="5855166" y="3154826"/>
            <a:ext cx="609685" cy="493484"/>
          </a:xfrm>
          <a:custGeom>
            <a:avLst/>
            <a:gdLst>
              <a:gd name="connsiteX0" fmla="*/ 355420 w 607568"/>
              <a:gd name="connsiteY0" fmla="*/ 250307 h 491771"/>
              <a:gd name="connsiteX1" fmla="*/ 352312 w 607568"/>
              <a:gd name="connsiteY1" fmla="*/ 251812 h 491771"/>
              <a:gd name="connsiteX2" fmla="*/ 321042 w 607568"/>
              <a:gd name="connsiteY2" fmla="*/ 289814 h 491771"/>
              <a:gd name="connsiteX3" fmla="*/ 321513 w 607568"/>
              <a:gd name="connsiteY3" fmla="*/ 295364 h 491771"/>
              <a:gd name="connsiteX4" fmla="*/ 369736 w 607568"/>
              <a:gd name="connsiteY4" fmla="*/ 338257 h 491771"/>
              <a:gd name="connsiteX5" fmla="*/ 371997 w 607568"/>
              <a:gd name="connsiteY5" fmla="*/ 339104 h 491771"/>
              <a:gd name="connsiteX6" fmla="*/ 373127 w 607568"/>
              <a:gd name="connsiteY6" fmla="*/ 338916 h 491771"/>
              <a:gd name="connsiteX7" fmla="*/ 375293 w 607568"/>
              <a:gd name="connsiteY7" fmla="*/ 336282 h 491771"/>
              <a:gd name="connsiteX8" fmla="*/ 383676 w 607568"/>
              <a:gd name="connsiteY8" fmla="*/ 279467 h 491771"/>
              <a:gd name="connsiteX9" fmla="*/ 376424 w 607568"/>
              <a:gd name="connsiteY9" fmla="*/ 263287 h 491771"/>
              <a:gd name="connsiteX10" fmla="*/ 357681 w 607568"/>
              <a:gd name="connsiteY10" fmla="*/ 250965 h 491771"/>
              <a:gd name="connsiteX11" fmla="*/ 355420 w 607568"/>
              <a:gd name="connsiteY11" fmla="*/ 250307 h 491771"/>
              <a:gd name="connsiteX12" fmla="*/ 258879 w 607568"/>
              <a:gd name="connsiteY12" fmla="*/ 250307 h 491771"/>
              <a:gd name="connsiteX13" fmla="*/ 256712 w 607568"/>
              <a:gd name="connsiteY13" fmla="*/ 250965 h 491771"/>
              <a:gd name="connsiteX14" fmla="*/ 237969 w 607568"/>
              <a:gd name="connsiteY14" fmla="*/ 263287 h 491771"/>
              <a:gd name="connsiteX15" fmla="*/ 230717 w 607568"/>
              <a:gd name="connsiteY15" fmla="*/ 279467 h 491771"/>
              <a:gd name="connsiteX16" fmla="*/ 239100 w 607568"/>
              <a:gd name="connsiteY16" fmla="*/ 336282 h 491771"/>
              <a:gd name="connsiteX17" fmla="*/ 241266 w 607568"/>
              <a:gd name="connsiteY17" fmla="*/ 338916 h 491771"/>
              <a:gd name="connsiteX18" fmla="*/ 242396 w 607568"/>
              <a:gd name="connsiteY18" fmla="*/ 339104 h 491771"/>
              <a:gd name="connsiteX19" fmla="*/ 244657 w 607568"/>
              <a:gd name="connsiteY19" fmla="*/ 338257 h 491771"/>
              <a:gd name="connsiteX20" fmla="*/ 292880 w 607568"/>
              <a:gd name="connsiteY20" fmla="*/ 295364 h 491771"/>
              <a:gd name="connsiteX21" fmla="*/ 293351 w 607568"/>
              <a:gd name="connsiteY21" fmla="*/ 289814 h 491771"/>
              <a:gd name="connsiteX22" fmla="*/ 261987 w 607568"/>
              <a:gd name="connsiteY22" fmla="*/ 251812 h 491771"/>
              <a:gd name="connsiteX23" fmla="*/ 258879 w 607568"/>
              <a:gd name="connsiteY23" fmla="*/ 250307 h 491771"/>
              <a:gd name="connsiteX24" fmla="*/ 500465 w 607568"/>
              <a:gd name="connsiteY24" fmla="*/ 66049 h 491771"/>
              <a:gd name="connsiteX25" fmla="*/ 565743 w 607568"/>
              <a:gd name="connsiteY25" fmla="*/ 130673 h 491771"/>
              <a:gd name="connsiteX26" fmla="*/ 566120 w 607568"/>
              <a:gd name="connsiteY26" fmla="*/ 130673 h 491771"/>
              <a:gd name="connsiteX27" fmla="*/ 580250 w 607568"/>
              <a:gd name="connsiteY27" fmla="*/ 160962 h 491771"/>
              <a:gd name="connsiteX28" fmla="*/ 560939 w 607568"/>
              <a:gd name="connsiteY28" fmla="*/ 182503 h 491771"/>
              <a:gd name="connsiteX29" fmla="*/ 531927 w 607568"/>
              <a:gd name="connsiteY29" fmla="*/ 223799 h 491771"/>
              <a:gd name="connsiteX30" fmla="*/ 528253 w 607568"/>
              <a:gd name="connsiteY30" fmla="*/ 234240 h 491771"/>
              <a:gd name="connsiteX31" fmla="*/ 530797 w 607568"/>
              <a:gd name="connsiteY31" fmla="*/ 246281 h 491771"/>
              <a:gd name="connsiteX32" fmla="*/ 545868 w 607568"/>
              <a:gd name="connsiteY32" fmla="*/ 261143 h 491771"/>
              <a:gd name="connsiteX33" fmla="*/ 558961 w 607568"/>
              <a:gd name="connsiteY33" fmla="*/ 263777 h 491771"/>
              <a:gd name="connsiteX34" fmla="*/ 597299 w 607568"/>
              <a:gd name="connsiteY34" fmla="*/ 301968 h 491771"/>
              <a:gd name="connsiteX35" fmla="*/ 607002 w 607568"/>
              <a:gd name="connsiteY35" fmla="*/ 350788 h 491771"/>
              <a:gd name="connsiteX36" fmla="*/ 601256 w 607568"/>
              <a:gd name="connsiteY36" fmla="*/ 373835 h 491771"/>
              <a:gd name="connsiteX37" fmla="*/ 579685 w 607568"/>
              <a:gd name="connsiteY37" fmla="*/ 384088 h 491771"/>
              <a:gd name="connsiteX38" fmla="*/ 490386 w 607568"/>
              <a:gd name="connsiteY38" fmla="*/ 384088 h 491771"/>
              <a:gd name="connsiteX39" fmla="*/ 467685 w 607568"/>
              <a:gd name="connsiteY39" fmla="*/ 310058 h 491771"/>
              <a:gd name="connsiteX40" fmla="*/ 431702 w 607568"/>
              <a:gd name="connsiteY40" fmla="*/ 267445 h 491771"/>
              <a:gd name="connsiteX41" fmla="*/ 441969 w 607568"/>
              <a:gd name="connsiteY41" fmla="*/ 263777 h 491771"/>
              <a:gd name="connsiteX42" fmla="*/ 455157 w 607568"/>
              <a:gd name="connsiteY42" fmla="*/ 261237 h 491771"/>
              <a:gd name="connsiteX43" fmla="*/ 470228 w 607568"/>
              <a:gd name="connsiteY43" fmla="*/ 246281 h 491771"/>
              <a:gd name="connsiteX44" fmla="*/ 472677 w 607568"/>
              <a:gd name="connsiteY44" fmla="*/ 234240 h 491771"/>
              <a:gd name="connsiteX45" fmla="*/ 469098 w 607568"/>
              <a:gd name="connsiteY45" fmla="*/ 223893 h 491771"/>
              <a:gd name="connsiteX46" fmla="*/ 439991 w 607568"/>
              <a:gd name="connsiteY46" fmla="*/ 182503 h 491771"/>
              <a:gd name="connsiteX47" fmla="*/ 426144 w 607568"/>
              <a:gd name="connsiteY47" fmla="*/ 172720 h 491771"/>
              <a:gd name="connsiteX48" fmla="*/ 441404 w 607568"/>
              <a:gd name="connsiteY48" fmla="*/ 143278 h 491771"/>
              <a:gd name="connsiteX49" fmla="*/ 439708 w 607568"/>
              <a:gd name="connsiteY49" fmla="*/ 107438 h 491771"/>
              <a:gd name="connsiteX50" fmla="*/ 500465 w 607568"/>
              <a:gd name="connsiteY50" fmla="*/ 66049 h 491771"/>
              <a:gd name="connsiteX51" fmla="*/ 107100 w 607568"/>
              <a:gd name="connsiteY51" fmla="*/ 66049 h 491771"/>
              <a:gd name="connsiteX52" fmla="*/ 171341 w 607568"/>
              <a:gd name="connsiteY52" fmla="*/ 123618 h 491771"/>
              <a:gd name="connsiteX53" fmla="*/ 172849 w 607568"/>
              <a:gd name="connsiteY53" fmla="*/ 143278 h 491771"/>
              <a:gd name="connsiteX54" fmla="*/ 184246 w 607568"/>
              <a:gd name="connsiteY54" fmla="*/ 168205 h 491771"/>
              <a:gd name="connsiteX55" fmla="*/ 167574 w 607568"/>
              <a:gd name="connsiteY55" fmla="*/ 182503 h 491771"/>
              <a:gd name="connsiteX56" fmla="*/ 138468 w 607568"/>
              <a:gd name="connsiteY56" fmla="*/ 223799 h 491771"/>
              <a:gd name="connsiteX57" fmla="*/ 134794 w 607568"/>
              <a:gd name="connsiteY57" fmla="*/ 234240 h 491771"/>
              <a:gd name="connsiteX58" fmla="*/ 137337 w 607568"/>
              <a:gd name="connsiteY58" fmla="*/ 246281 h 491771"/>
              <a:gd name="connsiteX59" fmla="*/ 152408 w 607568"/>
              <a:gd name="connsiteY59" fmla="*/ 261143 h 491771"/>
              <a:gd name="connsiteX60" fmla="*/ 165596 w 607568"/>
              <a:gd name="connsiteY60" fmla="*/ 263777 h 491771"/>
              <a:gd name="connsiteX61" fmla="*/ 179442 w 607568"/>
              <a:gd name="connsiteY61" fmla="*/ 268856 h 491771"/>
              <a:gd name="connsiteX62" fmla="*/ 146662 w 607568"/>
              <a:gd name="connsiteY62" fmla="*/ 310058 h 491771"/>
              <a:gd name="connsiteX63" fmla="*/ 123867 w 607568"/>
              <a:gd name="connsiteY63" fmla="*/ 384088 h 491771"/>
              <a:gd name="connsiteX64" fmla="*/ 27883 w 607568"/>
              <a:gd name="connsiteY64" fmla="*/ 384088 h 491771"/>
              <a:gd name="connsiteX65" fmla="*/ 6312 w 607568"/>
              <a:gd name="connsiteY65" fmla="*/ 373835 h 491771"/>
              <a:gd name="connsiteX66" fmla="*/ 566 w 607568"/>
              <a:gd name="connsiteY66" fmla="*/ 350788 h 491771"/>
              <a:gd name="connsiteX67" fmla="*/ 10268 w 607568"/>
              <a:gd name="connsiteY67" fmla="*/ 301968 h 491771"/>
              <a:gd name="connsiteX68" fmla="*/ 48606 w 607568"/>
              <a:gd name="connsiteY68" fmla="*/ 263777 h 491771"/>
              <a:gd name="connsiteX69" fmla="*/ 61699 w 607568"/>
              <a:gd name="connsiteY69" fmla="*/ 261237 h 491771"/>
              <a:gd name="connsiteX70" fmla="*/ 76770 w 607568"/>
              <a:gd name="connsiteY70" fmla="*/ 246281 h 491771"/>
              <a:gd name="connsiteX71" fmla="*/ 79313 w 607568"/>
              <a:gd name="connsiteY71" fmla="*/ 234240 h 491771"/>
              <a:gd name="connsiteX72" fmla="*/ 75639 w 607568"/>
              <a:gd name="connsiteY72" fmla="*/ 223893 h 491771"/>
              <a:gd name="connsiteX73" fmla="*/ 46628 w 607568"/>
              <a:gd name="connsiteY73" fmla="*/ 182503 h 491771"/>
              <a:gd name="connsiteX74" fmla="*/ 27318 w 607568"/>
              <a:gd name="connsiteY74" fmla="*/ 160962 h 491771"/>
              <a:gd name="connsiteX75" fmla="*/ 41447 w 607568"/>
              <a:gd name="connsiteY75" fmla="*/ 130673 h 491771"/>
              <a:gd name="connsiteX76" fmla="*/ 41824 w 607568"/>
              <a:gd name="connsiteY76" fmla="*/ 130673 h 491771"/>
              <a:gd name="connsiteX77" fmla="*/ 107100 w 607568"/>
              <a:gd name="connsiteY77" fmla="*/ 66049 h 491771"/>
              <a:gd name="connsiteX78" fmla="*/ 298626 w 607568"/>
              <a:gd name="connsiteY78" fmla="*/ 0 h 491771"/>
              <a:gd name="connsiteX79" fmla="*/ 315956 w 607568"/>
              <a:gd name="connsiteY79" fmla="*/ 0 h 491771"/>
              <a:gd name="connsiteX80" fmla="*/ 401854 w 607568"/>
              <a:gd name="connsiteY80" fmla="*/ 85787 h 491771"/>
              <a:gd name="connsiteX81" fmla="*/ 401854 w 607568"/>
              <a:gd name="connsiteY81" fmla="*/ 95476 h 491771"/>
              <a:gd name="connsiteX82" fmla="*/ 421633 w 607568"/>
              <a:gd name="connsiteY82" fmla="*/ 138840 h 491771"/>
              <a:gd name="connsiteX83" fmla="*/ 417960 w 607568"/>
              <a:gd name="connsiteY83" fmla="*/ 149281 h 491771"/>
              <a:gd name="connsiteX84" fmla="*/ 417112 w 607568"/>
              <a:gd name="connsiteY84" fmla="*/ 151068 h 491771"/>
              <a:gd name="connsiteX85" fmla="*/ 411273 w 607568"/>
              <a:gd name="connsiteY85" fmla="*/ 159534 h 491771"/>
              <a:gd name="connsiteX86" fmla="*/ 410896 w 607568"/>
              <a:gd name="connsiteY86" fmla="*/ 159910 h 491771"/>
              <a:gd name="connsiteX87" fmla="*/ 394037 w 607568"/>
              <a:gd name="connsiteY87" fmla="*/ 169787 h 491771"/>
              <a:gd name="connsiteX88" fmla="*/ 384900 w 607568"/>
              <a:gd name="connsiteY88" fmla="*/ 189541 h 491771"/>
              <a:gd name="connsiteX89" fmla="*/ 384712 w 607568"/>
              <a:gd name="connsiteY89" fmla="*/ 189823 h 491771"/>
              <a:gd name="connsiteX90" fmla="*/ 373316 w 607568"/>
              <a:gd name="connsiteY90" fmla="*/ 207131 h 491771"/>
              <a:gd name="connsiteX91" fmla="*/ 372750 w 607568"/>
              <a:gd name="connsiteY91" fmla="*/ 207789 h 491771"/>
              <a:gd name="connsiteX92" fmla="*/ 359847 w 607568"/>
              <a:gd name="connsiteY92" fmla="*/ 222275 h 491771"/>
              <a:gd name="connsiteX93" fmla="*/ 359188 w 607568"/>
              <a:gd name="connsiteY93" fmla="*/ 222934 h 491771"/>
              <a:gd name="connsiteX94" fmla="*/ 345154 w 607568"/>
              <a:gd name="connsiteY94" fmla="*/ 234598 h 491771"/>
              <a:gd name="connsiteX95" fmla="*/ 345625 w 607568"/>
              <a:gd name="connsiteY95" fmla="*/ 236855 h 491771"/>
              <a:gd name="connsiteX96" fmla="*/ 348639 w 607568"/>
              <a:gd name="connsiteY96" fmla="*/ 235538 h 491771"/>
              <a:gd name="connsiteX97" fmla="*/ 355514 w 607568"/>
              <a:gd name="connsiteY97" fmla="*/ 234033 h 491771"/>
              <a:gd name="connsiteX98" fmla="*/ 366628 w 607568"/>
              <a:gd name="connsiteY98" fmla="*/ 237326 h 491771"/>
              <a:gd name="connsiteX99" fmla="*/ 385371 w 607568"/>
              <a:gd name="connsiteY99" fmla="*/ 249648 h 491771"/>
              <a:gd name="connsiteX100" fmla="*/ 399876 w 607568"/>
              <a:gd name="connsiteY100" fmla="*/ 279373 h 491771"/>
              <a:gd name="connsiteX101" fmla="*/ 430016 w 607568"/>
              <a:gd name="connsiteY101" fmla="*/ 289814 h 491771"/>
              <a:gd name="connsiteX102" fmla="*/ 448382 w 607568"/>
              <a:gd name="connsiteY102" fmla="*/ 316058 h 491771"/>
              <a:gd name="connsiteX103" fmla="*/ 481630 w 607568"/>
              <a:gd name="connsiteY103" fmla="*/ 424515 h 491771"/>
              <a:gd name="connsiteX104" fmla="*/ 483891 w 607568"/>
              <a:gd name="connsiteY104" fmla="*/ 436461 h 491771"/>
              <a:gd name="connsiteX105" fmla="*/ 473718 w 607568"/>
              <a:gd name="connsiteY105" fmla="*/ 470700 h 491771"/>
              <a:gd name="connsiteX106" fmla="*/ 443956 w 607568"/>
              <a:gd name="connsiteY106" fmla="*/ 490360 h 491771"/>
              <a:gd name="connsiteX107" fmla="*/ 431805 w 607568"/>
              <a:gd name="connsiteY107" fmla="*/ 491771 h 491771"/>
              <a:gd name="connsiteX108" fmla="*/ 325375 w 607568"/>
              <a:gd name="connsiteY108" fmla="*/ 491771 h 491771"/>
              <a:gd name="connsiteX109" fmla="*/ 337430 w 607568"/>
              <a:gd name="connsiteY109" fmla="*/ 415296 h 491771"/>
              <a:gd name="connsiteX110" fmla="*/ 334605 w 607568"/>
              <a:gd name="connsiteY110" fmla="*/ 389052 h 491771"/>
              <a:gd name="connsiteX111" fmla="*/ 323962 w 607568"/>
              <a:gd name="connsiteY111" fmla="*/ 360927 h 491771"/>
              <a:gd name="connsiteX112" fmla="*/ 337430 w 607568"/>
              <a:gd name="connsiteY112" fmla="*/ 347476 h 491771"/>
              <a:gd name="connsiteX113" fmla="*/ 307196 w 607568"/>
              <a:gd name="connsiteY113" fmla="*/ 317281 h 491771"/>
              <a:gd name="connsiteX114" fmla="*/ 276868 w 607568"/>
              <a:gd name="connsiteY114" fmla="*/ 347476 h 491771"/>
              <a:gd name="connsiteX115" fmla="*/ 290337 w 607568"/>
              <a:gd name="connsiteY115" fmla="*/ 360927 h 491771"/>
              <a:gd name="connsiteX116" fmla="*/ 279694 w 607568"/>
              <a:gd name="connsiteY116" fmla="*/ 389052 h 491771"/>
              <a:gd name="connsiteX117" fmla="*/ 276963 w 607568"/>
              <a:gd name="connsiteY117" fmla="*/ 415296 h 491771"/>
              <a:gd name="connsiteX118" fmla="*/ 288736 w 607568"/>
              <a:gd name="connsiteY118" fmla="*/ 491771 h 491771"/>
              <a:gd name="connsiteX119" fmla="*/ 182493 w 607568"/>
              <a:gd name="connsiteY119" fmla="*/ 491771 h 491771"/>
              <a:gd name="connsiteX120" fmla="*/ 170437 w 607568"/>
              <a:gd name="connsiteY120" fmla="*/ 490360 h 491771"/>
              <a:gd name="connsiteX121" fmla="*/ 140675 w 607568"/>
              <a:gd name="connsiteY121" fmla="*/ 470700 h 491771"/>
              <a:gd name="connsiteX122" fmla="*/ 132669 w 607568"/>
              <a:gd name="connsiteY122" fmla="*/ 424515 h 491771"/>
              <a:gd name="connsiteX123" fmla="*/ 166011 w 607568"/>
              <a:gd name="connsiteY123" fmla="*/ 316058 h 491771"/>
              <a:gd name="connsiteX124" fmla="*/ 184377 w 607568"/>
              <a:gd name="connsiteY124" fmla="*/ 289814 h 491771"/>
              <a:gd name="connsiteX125" fmla="*/ 214517 w 607568"/>
              <a:gd name="connsiteY125" fmla="*/ 279373 h 491771"/>
              <a:gd name="connsiteX126" fmla="*/ 214517 w 607568"/>
              <a:gd name="connsiteY126" fmla="*/ 279279 h 491771"/>
              <a:gd name="connsiteX127" fmla="*/ 229022 w 607568"/>
              <a:gd name="connsiteY127" fmla="*/ 249648 h 491771"/>
              <a:gd name="connsiteX128" fmla="*/ 247765 w 607568"/>
              <a:gd name="connsiteY128" fmla="*/ 237326 h 491771"/>
              <a:gd name="connsiteX129" fmla="*/ 258879 w 607568"/>
              <a:gd name="connsiteY129" fmla="*/ 234033 h 491771"/>
              <a:gd name="connsiteX130" fmla="*/ 265754 w 607568"/>
              <a:gd name="connsiteY130" fmla="*/ 235538 h 491771"/>
              <a:gd name="connsiteX131" fmla="*/ 268768 w 607568"/>
              <a:gd name="connsiteY131" fmla="*/ 236855 h 491771"/>
              <a:gd name="connsiteX132" fmla="*/ 269239 w 607568"/>
              <a:gd name="connsiteY132" fmla="*/ 234598 h 491771"/>
              <a:gd name="connsiteX133" fmla="*/ 255205 w 607568"/>
              <a:gd name="connsiteY133" fmla="*/ 222934 h 491771"/>
              <a:gd name="connsiteX134" fmla="*/ 254546 w 607568"/>
              <a:gd name="connsiteY134" fmla="*/ 222275 h 491771"/>
              <a:gd name="connsiteX135" fmla="*/ 241548 w 607568"/>
              <a:gd name="connsiteY135" fmla="*/ 207789 h 491771"/>
              <a:gd name="connsiteX136" fmla="*/ 241077 w 607568"/>
              <a:gd name="connsiteY136" fmla="*/ 207225 h 491771"/>
              <a:gd name="connsiteX137" fmla="*/ 229681 w 607568"/>
              <a:gd name="connsiteY137" fmla="*/ 189823 h 491771"/>
              <a:gd name="connsiteX138" fmla="*/ 229493 w 607568"/>
              <a:gd name="connsiteY138" fmla="*/ 189635 h 491771"/>
              <a:gd name="connsiteX139" fmla="*/ 220356 w 607568"/>
              <a:gd name="connsiteY139" fmla="*/ 169787 h 491771"/>
              <a:gd name="connsiteX140" fmla="*/ 203497 w 607568"/>
              <a:gd name="connsiteY140" fmla="*/ 159910 h 491771"/>
              <a:gd name="connsiteX141" fmla="*/ 203120 w 607568"/>
              <a:gd name="connsiteY141" fmla="*/ 159534 h 491771"/>
              <a:gd name="connsiteX142" fmla="*/ 197281 w 607568"/>
              <a:gd name="connsiteY142" fmla="*/ 151068 h 491771"/>
              <a:gd name="connsiteX143" fmla="*/ 196433 w 607568"/>
              <a:gd name="connsiteY143" fmla="*/ 149281 h 491771"/>
              <a:gd name="connsiteX144" fmla="*/ 192666 w 607568"/>
              <a:gd name="connsiteY144" fmla="*/ 138840 h 491771"/>
              <a:gd name="connsiteX145" fmla="*/ 212727 w 607568"/>
              <a:gd name="connsiteY145" fmla="*/ 95476 h 491771"/>
              <a:gd name="connsiteX146" fmla="*/ 212727 w 607568"/>
              <a:gd name="connsiteY146" fmla="*/ 85787 h 491771"/>
              <a:gd name="connsiteX147" fmla="*/ 298626 w 607568"/>
              <a:gd name="connsiteY147" fmla="*/ 0 h 49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7568" h="491771">
                <a:moveTo>
                  <a:pt x="355420" y="250307"/>
                </a:moveTo>
                <a:cubicBezTo>
                  <a:pt x="354290" y="250307"/>
                  <a:pt x="353160" y="250871"/>
                  <a:pt x="352312" y="251812"/>
                </a:cubicBezTo>
                <a:lnTo>
                  <a:pt x="321042" y="289814"/>
                </a:lnTo>
                <a:cubicBezTo>
                  <a:pt x="319723" y="291507"/>
                  <a:pt x="319912" y="293953"/>
                  <a:pt x="321513" y="295364"/>
                </a:cubicBezTo>
                <a:lnTo>
                  <a:pt x="369736" y="338257"/>
                </a:lnTo>
                <a:cubicBezTo>
                  <a:pt x="370396" y="338822"/>
                  <a:pt x="371149" y="339104"/>
                  <a:pt x="371997" y="339104"/>
                </a:cubicBezTo>
                <a:cubicBezTo>
                  <a:pt x="372374" y="339104"/>
                  <a:pt x="372750" y="339010"/>
                  <a:pt x="373127" y="338916"/>
                </a:cubicBezTo>
                <a:cubicBezTo>
                  <a:pt x="374257" y="338539"/>
                  <a:pt x="375105" y="337505"/>
                  <a:pt x="375293" y="336282"/>
                </a:cubicBezTo>
                <a:lnTo>
                  <a:pt x="383676" y="279467"/>
                </a:lnTo>
                <a:cubicBezTo>
                  <a:pt x="384618" y="273164"/>
                  <a:pt x="381792" y="266768"/>
                  <a:pt x="376424" y="263287"/>
                </a:cubicBezTo>
                <a:lnTo>
                  <a:pt x="357681" y="250965"/>
                </a:lnTo>
                <a:cubicBezTo>
                  <a:pt x="357021" y="250495"/>
                  <a:pt x="356174" y="250307"/>
                  <a:pt x="355420" y="250307"/>
                </a:cubicBezTo>
                <a:close/>
                <a:moveTo>
                  <a:pt x="258879" y="250307"/>
                </a:moveTo>
                <a:cubicBezTo>
                  <a:pt x="258125" y="250307"/>
                  <a:pt x="257372" y="250495"/>
                  <a:pt x="256712" y="250965"/>
                </a:cubicBezTo>
                <a:lnTo>
                  <a:pt x="237969" y="263287"/>
                </a:lnTo>
                <a:cubicBezTo>
                  <a:pt x="232601" y="266768"/>
                  <a:pt x="229775" y="273164"/>
                  <a:pt x="230717" y="279467"/>
                </a:cubicBezTo>
                <a:lnTo>
                  <a:pt x="239100" y="336282"/>
                </a:lnTo>
                <a:cubicBezTo>
                  <a:pt x="239288" y="337505"/>
                  <a:pt x="240136" y="338539"/>
                  <a:pt x="241266" y="338916"/>
                </a:cubicBezTo>
                <a:cubicBezTo>
                  <a:pt x="241643" y="339010"/>
                  <a:pt x="242019" y="339104"/>
                  <a:pt x="242396" y="339104"/>
                </a:cubicBezTo>
                <a:cubicBezTo>
                  <a:pt x="243244" y="339104"/>
                  <a:pt x="243997" y="338822"/>
                  <a:pt x="244657" y="338257"/>
                </a:cubicBezTo>
                <a:lnTo>
                  <a:pt x="292880" y="295364"/>
                </a:lnTo>
                <a:cubicBezTo>
                  <a:pt x="294481" y="293953"/>
                  <a:pt x="294670" y="291507"/>
                  <a:pt x="293351" y="289814"/>
                </a:cubicBezTo>
                <a:lnTo>
                  <a:pt x="261987" y="251812"/>
                </a:lnTo>
                <a:cubicBezTo>
                  <a:pt x="261233" y="250871"/>
                  <a:pt x="260103" y="250307"/>
                  <a:pt x="258879" y="250307"/>
                </a:cubicBezTo>
                <a:close/>
                <a:moveTo>
                  <a:pt x="500465" y="66049"/>
                </a:moveTo>
                <a:cubicBezTo>
                  <a:pt x="548129" y="66049"/>
                  <a:pt x="562447" y="93516"/>
                  <a:pt x="565743" y="130673"/>
                </a:cubicBezTo>
                <a:cubicBezTo>
                  <a:pt x="565932" y="130673"/>
                  <a:pt x="566026" y="130673"/>
                  <a:pt x="566120" y="130673"/>
                </a:cubicBezTo>
                <a:cubicBezTo>
                  <a:pt x="577141" y="133118"/>
                  <a:pt x="583358" y="146664"/>
                  <a:pt x="580250" y="160962"/>
                </a:cubicBezTo>
                <a:cubicBezTo>
                  <a:pt x="577706" y="172532"/>
                  <a:pt x="569700" y="180904"/>
                  <a:pt x="560939" y="182503"/>
                </a:cubicBezTo>
                <a:cubicBezTo>
                  <a:pt x="554628" y="199529"/>
                  <a:pt x="543796" y="214016"/>
                  <a:pt x="531927" y="223799"/>
                </a:cubicBezTo>
                <a:cubicBezTo>
                  <a:pt x="528913" y="226338"/>
                  <a:pt x="527500" y="230383"/>
                  <a:pt x="528253" y="234240"/>
                </a:cubicBezTo>
                <a:lnTo>
                  <a:pt x="530797" y="246281"/>
                </a:lnTo>
                <a:cubicBezTo>
                  <a:pt x="532304" y="253806"/>
                  <a:pt x="538238" y="259732"/>
                  <a:pt x="545868" y="261143"/>
                </a:cubicBezTo>
                <a:lnTo>
                  <a:pt x="558961" y="263777"/>
                </a:lnTo>
                <a:cubicBezTo>
                  <a:pt x="578366" y="267634"/>
                  <a:pt x="593437" y="282684"/>
                  <a:pt x="597299" y="301968"/>
                </a:cubicBezTo>
                <a:lnTo>
                  <a:pt x="607002" y="350788"/>
                </a:lnTo>
                <a:cubicBezTo>
                  <a:pt x="608697" y="358972"/>
                  <a:pt x="606531" y="367438"/>
                  <a:pt x="601256" y="373835"/>
                </a:cubicBezTo>
                <a:cubicBezTo>
                  <a:pt x="595981" y="380325"/>
                  <a:pt x="588068" y="384088"/>
                  <a:pt x="579685" y="384088"/>
                </a:cubicBezTo>
                <a:lnTo>
                  <a:pt x="490386" y="384088"/>
                </a:lnTo>
                <a:lnTo>
                  <a:pt x="467685" y="310058"/>
                </a:lnTo>
                <a:cubicBezTo>
                  <a:pt x="461845" y="291150"/>
                  <a:pt x="448563" y="276194"/>
                  <a:pt x="431702" y="267445"/>
                </a:cubicBezTo>
                <a:cubicBezTo>
                  <a:pt x="434999" y="265940"/>
                  <a:pt x="438295" y="264529"/>
                  <a:pt x="441969" y="263777"/>
                </a:cubicBezTo>
                <a:lnTo>
                  <a:pt x="455157" y="261237"/>
                </a:lnTo>
                <a:cubicBezTo>
                  <a:pt x="462692" y="259732"/>
                  <a:pt x="468627" y="253806"/>
                  <a:pt x="470228" y="246281"/>
                </a:cubicBezTo>
                <a:lnTo>
                  <a:pt x="472677" y="234240"/>
                </a:lnTo>
                <a:cubicBezTo>
                  <a:pt x="473525" y="230383"/>
                  <a:pt x="472112" y="226338"/>
                  <a:pt x="469098" y="223893"/>
                </a:cubicBezTo>
                <a:cubicBezTo>
                  <a:pt x="457229" y="214016"/>
                  <a:pt x="446302" y="199529"/>
                  <a:pt x="439991" y="182503"/>
                </a:cubicBezTo>
                <a:cubicBezTo>
                  <a:pt x="434716" y="181563"/>
                  <a:pt x="429818" y="177894"/>
                  <a:pt x="426144" y="172720"/>
                </a:cubicBezTo>
                <a:cubicBezTo>
                  <a:pt x="433303" y="164725"/>
                  <a:pt x="438861" y="154754"/>
                  <a:pt x="441404" y="143278"/>
                </a:cubicBezTo>
                <a:cubicBezTo>
                  <a:pt x="444324" y="130485"/>
                  <a:pt x="443476" y="118068"/>
                  <a:pt x="439708" y="107438"/>
                </a:cubicBezTo>
                <a:cubicBezTo>
                  <a:pt x="447244" y="82699"/>
                  <a:pt x="464200" y="66049"/>
                  <a:pt x="500465" y="66049"/>
                </a:cubicBezTo>
                <a:close/>
                <a:moveTo>
                  <a:pt x="107100" y="66049"/>
                </a:moveTo>
                <a:cubicBezTo>
                  <a:pt x="151561" y="66049"/>
                  <a:pt x="166820" y="90130"/>
                  <a:pt x="171341" y="123618"/>
                </a:cubicBezTo>
                <a:cubicBezTo>
                  <a:pt x="170965" y="129920"/>
                  <a:pt x="171436" y="136505"/>
                  <a:pt x="172849" y="143278"/>
                </a:cubicBezTo>
                <a:cubicBezTo>
                  <a:pt x="174921" y="152590"/>
                  <a:pt x="178971" y="161056"/>
                  <a:pt x="184246" y="168205"/>
                </a:cubicBezTo>
                <a:cubicBezTo>
                  <a:pt x="180573" y="175919"/>
                  <a:pt x="174356" y="181281"/>
                  <a:pt x="167574" y="182503"/>
                </a:cubicBezTo>
                <a:cubicBezTo>
                  <a:pt x="161263" y="199529"/>
                  <a:pt x="150336" y="214016"/>
                  <a:pt x="138468" y="223799"/>
                </a:cubicBezTo>
                <a:cubicBezTo>
                  <a:pt x="135453" y="226338"/>
                  <a:pt x="134040" y="230383"/>
                  <a:pt x="134794" y="234240"/>
                </a:cubicBezTo>
                <a:lnTo>
                  <a:pt x="137337" y="246281"/>
                </a:lnTo>
                <a:cubicBezTo>
                  <a:pt x="138939" y="253806"/>
                  <a:pt x="144873" y="259732"/>
                  <a:pt x="152408" y="261143"/>
                </a:cubicBezTo>
                <a:lnTo>
                  <a:pt x="165596" y="263777"/>
                </a:lnTo>
                <a:cubicBezTo>
                  <a:pt x="170494" y="264812"/>
                  <a:pt x="175203" y="266505"/>
                  <a:pt x="179442" y="268856"/>
                </a:cubicBezTo>
                <a:cubicBezTo>
                  <a:pt x="164088" y="277793"/>
                  <a:pt x="152126" y="292279"/>
                  <a:pt x="146662" y="310058"/>
                </a:cubicBezTo>
                <a:lnTo>
                  <a:pt x="123867" y="384088"/>
                </a:lnTo>
                <a:lnTo>
                  <a:pt x="27883" y="384088"/>
                </a:lnTo>
                <a:cubicBezTo>
                  <a:pt x="19499" y="384088"/>
                  <a:pt x="11587" y="380325"/>
                  <a:pt x="6312" y="373835"/>
                </a:cubicBezTo>
                <a:cubicBezTo>
                  <a:pt x="1037" y="367438"/>
                  <a:pt x="-1129" y="358972"/>
                  <a:pt x="566" y="350788"/>
                </a:cubicBezTo>
                <a:lnTo>
                  <a:pt x="10268" y="301968"/>
                </a:lnTo>
                <a:cubicBezTo>
                  <a:pt x="14130" y="282684"/>
                  <a:pt x="29202" y="267634"/>
                  <a:pt x="48606" y="263777"/>
                </a:cubicBezTo>
                <a:lnTo>
                  <a:pt x="61699" y="261237"/>
                </a:lnTo>
                <a:cubicBezTo>
                  <a:pt x="69328" y="259732"/>
                  <a:pt x="75263" y="253806"/>
                  <a:pt x="76770" y="246281"/>
                </a:cubicBezTo>
                <a:lnTo>
                  <a:pt x="79313" y="234240"/>
                </a:lnTo>
                <a:cubicBezTo>
                  <a:pt x="80067" y="230383"/>
                  <a:pt x="78654" y="226338"/>
                  <a:pt x="75639" y="223893"/>
                </a:cubicBezTo>
                <a:cubicBezTo>
                  <a:pt x="63771" y="214016"/>
                  <a:pt x="52939" y="199623"/>
                  <a:pt x="46628" y="182503"/>
                </a:cubicBezTo>
                <a:cubicBezTo>
                  <a:pt x="37867" y="180904"/>
                  <a:pt x="29861" y="172532"/>
                  <a:pt x="27318" y="160962"/>
                </a:cubicBezTo>
                <a:cubicBezTo>
                  <a:pt x="24115" y="146664"/>
                  <a:pt x="30426" y="133118"/>
                  <a:pt x="41447" y="130673"/>
                </a:cubicBezTo>
                <a:cubicBezTo>
                  <a:pt x="41541" y="130673"/>
                  <a:pt x="41729" y="130673"/>
                  <a:pt x="41824" y="130673"/>
                </a:cubicBezTo>
                <a:cubicBezTo>
                  <a:pt x="45403" y="93516"/>
                  <a:pt x="60192" y="66049"/>
                  <a:pt x="107100" y="66049"/>
                </a:cubicBezTo>
                <a:close/>
                <a:moveTo>
                  <a:pt x="298626" y="0"/>
                </a:moveTo>
                <a:lnTo>
                  <a:pt x="315956" y="0"/>
                </a:lnTo>
                <a:cubicBezTo>
                  <a:pt x="363426" y="0"/>
                  <a:pt x="401854" y="38378"/>
                  <a:pt x="401854" y="85787"/>
                </a:cubicBezTo>
                <a:lnTo>
                  <a:pt x="401854" y="95476"/>
                </a:lnTo>
                <a:cubicBezTo>
                  <a:pt x="417301" y="99238"/>
                  <a:pt x="426154" y="118522"/>
                  <a:pt x="421633" y="138840"/>
                </a:cubicBezTo>
                <a:cubicBezTo>
                  <a:pt x="420880" y="142602"/>
                  <a:pt x="419467" y="146083"/>
                  <a:pt x="417960" y="149281"/>
                </a:cubicBezTo>
                <a:cubicBezTo>
                  <a:pt x="417677" y="149939"/>
                  <a:pt x="417395" y="150504"/>
                  <a:pt x="417112" y="151068"/>
                </a:cubicBezTo>
                <a:cubicBezTo>
                  <a:pt x="415417" y="154172"/>
                  <a:pt x="413533" y="157088"/>
                  <a:pt x="411273" y="159534"/>
                </a:cubicBezTo>
                <a:cubicBezTo>
                  <a:pt x="411179" y="159628"/>
                  <a:pt x="410990" y="159816"/>
                  <a:pt x="410896" y="159910"/>
                </a:cubicBezTo>
                <a:cubicBezTo>
                  <a:pt x="406092" y="165084"/>
                  <a:pt x="400159" y="168658"/>
                  <a:pt x="394037" y="169787"/>
                </a:cubicBezTo>
                <a:cubicBezTo>
                  <a:pt x="391494" y="176654"/>
                  <a:pt x="388385" y="183332"/>
                  <a:pt x="384900" y="189541"/>
                </a:cubicBezTo>
                <a:cubicBezTo>
                  <a:pt x="384806" y="189635"/>
                  <a:pt x="384806" y="189729"/>
                  <a:pt x="384712" y="189823"/>
                </a:cubicBezTo>
                <a:cubicBezTo>
                  <a:pt x="381227" y="196031"/>
                  <a:pt x="377460" y="201769"/>
                  <a:pt x="373316" y="207131"/>
                </a:cubicBezTo>
                <a:cubicBezTo>
                  <a:pt x="373127" y="207413"/>
                  <a:pt x="372939" y="207601"/>
                  <a:pt x="372750" y="207789"/>
                </a:cubicBezTo>
                <a:cubicBezTo>
                  <a:pt x="368700" y="213057"/>
                  <a:pt x="364368" y="217948"/>
                  <a:pt x="359847" y="222275"/>
                </a:cubicBezTo>
                <a:cubicBezTo>
                  <a:pt x="359658" y="222463"/>
                  <a:pt x="359376" y="222651"/>
                  <a:pt x="359188" y="222934"/>
                </a:cubicBezTo>
                <a:cubicBezTo>
                  <a:pt x="354667" y="227261"/>
                  <a:pt x="349957" y="231211"/>
                  <a:pt x="345154" y="234598"/>
                </a:cubicBezTo>
                <a:lnTo>
                  <a:pt x="345625" y="236855"/>
                </a:lnTo>
                <a:cubicBezTo>
                  <a:pt x="346567" y="236385"/>
                  <a:pt x="347603" y="235915"/>
                  <a:pt x="348639" y="235538"/>
                </a:cubicBezTo>
                <a:cubicBezTo>
                  <a:pt x="350899" y="234786"/>
                  <a:pt x="353065" y="234033"/>
                  <a:pt x="355514" y="234033"/>
                </a:cubicBezTo>
                <a:cubicBezTo>
                  <a:pt x="359470" y="234033"/>
                  <a:pt x="363238" y="235162"/>
                  <a:pt x="366628" y="237326"/>
                </a:cubicBezTo>
                <a:cubicBezTo>
                  <a:pt x="366628" y="237326"/>
                  <a:pt x="380756" y="246450"/>
                  <a:pt x="385371" y="249648"/>
                </a:cubicBezTo>
                <a:cubicBezTo>
                  <a:pt x="401854" y="261030"/>
                  <a:pt x="399876" y="279373"/>
                  <a:pt x="399876" y="279373"/>
                </a:cubicBezTo>
                <a:cubicBezTo>
                  <a:pt x="410990" y="279655"/>
                  <a:pt x="421822" y="283041"/>
                  <a:pt x="430016" y="289814"/>
                </a:cubicBezTo>
                <a:cubicBezTo>
                  <a:pt x="445180" y="302324"/>
                  <a:pt x="447535" y="313330"/>
                  <a:pt x="448382" y="316058"/>
                </a:cubicBezTo>
                <a:lnTo>
                  <a:pt x="481630" y="424515"/>
                </a:lnTo>
                <a:cubicBezTo>
                  <a:pt x="482855" y="428371"/>
                  <a:pt x="483608" y="432416"/>
                  <a:pt x="483891" y="436461"/>
                </a:cubicBezTo>
                <a:cubicBezTo>
                  <a:pt x="484644" y="448595"/>
                  <a:pt x="481159" y="460730"/>
                  <a:pt x="473718" y="470700"/>
                </a:cubicBezTo>
                <a:cubicBezTo>
                  <a:pt x="466372" y="480671"/>
                  <a:pt x="455823" y="487538"/>
                  <a:pt x="443956" y="490360"/>
                </a:cubicBezTo>
                <a:cubicBezTo>
                  <a:pt x="440000" y="491301"/>
                  <a:pt x="435950" y="491771"/>
                  <a:pt x="431805" y="491771"/>
                </a:cubicBezTo>
                <a:lnTo>
                  <a:pt x="325375" y="491771"/>
                </a:lnTo>
                <a:lnTo>
                  <a:pt x="337430" y="415296"/>
                </a:lnTo>
                <a:cubicBezTo>
                  <a:pt x="338749" y="406454"/>
                  <a:pt x="337807" y="397424"/>
                  <a:pt x="334605" y="389052"/>
                </a:cubicBezTo>
                <a:lnTo>
                  <a:pt x="323962" y="360927"/>
                </a:lnTo>
                <a:lnTo>
                  <a:pt x="337430" y="347476"/>
                </a:lnTo>
                <a:lnTo>
                  <a:pt x="307196" y="317281"/>
                </a:lnTo>
                <a:lnTo>
                  <a:pt x="276868" y="347476"/>
                </a:lnTo>
                <a:lnTo>
                  <a:pt x="290337" y="360927"/>
                </a:lnTo>
                <a:lnTo>
                  <a:pt x="279694" y="389052"/>
                </a:lnTo>
                <a:cubicBezTo>
                  <a:pt x="276586" y="397424"/>
                  <a:pt x="275644" y="406454"/>
                  <a:pt x="276963" y="415296"/>
                </a:cubicBezTo>
                <a:lnTo>
                  <a:pt x="288736" y="491771"/>
                </a:lnTo>
                <a:lnTo>
                  <a:pt x="182493" y="491771"/>
                </a:lnTo>
                <a:cubicBezTo>
                  <a:pt x="178443" y="491771"/>
                  <a:pt x="174299" y="491301"/>
                  <a:pt x="170437" y="490360"/>
                </a:cubicBezTo>
                <a:cubicBezTo>
                  <a:pt x="158570" y="487538"/>
                  <a:pt x="148021" y="480671"/>
                  <a:pt x="140675" y="470700"/>
                </a:cubicBezTo>
                <a:cubicBezTo>
                  <a:pt x="130785" y="457343"/>
                  <a:pt x="127865" y="440223"/>
                  <a:pt x="132669" y="424515"/>
                </a:cubicBezTo>
                <a:lnTo>
                  <a:pt x="166011" y="316058"/>
                </a:lnTo>
                <a:cubicBezTo>
                  <a:pt x="166858" y="313330"/>
                  <a:pt x="170908" y="300631"/>
                  <a:pt x="184377" y="289814"/>
                </a:cubicBezTo>
                <a:cubicBezTo>
                  <a:pt x="192666" y="283229"/>
                  <a:pt x="203403" y="279655"/>
                  <a:pt x="214517" y="279373"/>
                </a:cubicBezTo>
                <a:lnTo>
                  <a:pt x="214517" y="279279"/>
                </a:lnTo>
                <a:cubicBezTo>
                  <a:pt x="214140" y="273447"/>
                  <a:pt x="211880" y="260654"/>
                  <a:pt x="229022" y="249648"/>
                </a:cubicBezTo>
                <a:cubicBezTo>
                  <a:pt x="233731" y="246638"/>
                  <a:pt x="247765" y="237326"/>
                  <a:pt x="247765" y="237326"/>
                </a:cubicBezTo>
                <a:cubicBezTo>
                  <a:pt x="251061" y="235162"/>
                  <a:pt x="254923" y="234033"/>
                  <a:pt x="258879" y="234033"/>
                </a:cubicBezTo>
                <a:cubicBezTo>
                  <a:pt x="261328" y="234033"/>
                  <a:pt x="263494" y="234786"/>
                  <a:pt x="265754" y="235538"/>
                </a:cubicBezTo>
                <a:cubicBezTo>
                  <a:pt x="266790" y="236009"/>
                  <a:pt x="267826" y="236385"/>
                  <a:pt x="268768" y="236855"/>
                </a:cubicBezTo>
                <a:lnTo>
                  <a:pt x="269239" y="234598"/>
                </a:lnTo>
                <a:cubicBezTo>
                  <a:pt x="264436" y="231211"/>
                  <a:pt x="259726" y="227261"/>
                  <a:pt x="255205" y="222934"/>
                </a:cubicBezTo>
                <a:cubicBezTo>
                  <a:pt x="254923" y="222651"/>
                  <a:pt x="254735" y="222463"/>
                  <a:pt x="254546" y="222275"/>
                </a:cubicBezTo>
                <a:cubicBezTo>
                  <a:pt x="250025" y="217948"/>
                  <a:pt x="245693" y="213057"/>
                  <a:pt x="241548" y="207789"/>
                </a:cubicBezTo>
                <a:cubicBezTo>
                  <a:pt x="241454" y="207601"/>
                  <a:pt x="241266" y="207413"/>
                  <a:pt x="241077" y="207225"/>
                </a:cubicBezTo>
                <a:cubicBezTo>
                  <a:pt x="236933" y="201769"/>
                  <a:pt x="233072" y="196031"/>
                  <a:pt x="229681" y="189823"/>
                </a:cubicBezTo>
                <a:cubicBezTo>
                  <a:pt x="229587" y="189729"/>
                  <a:pt x="229587" y="189635"/>
                  <a:pt x="229493" y="189635"/>
                </a:cubicBezTo>
                <a:cubicBezTo>
                  <a:pt x="226008" y="183332"/>
                  <a:pt x="222899" y="176654"/>
                  <a:pt x="220356" y="169787"/>
                </a:cubicBezTo>
                <a:cubicBezTo>
                  <a:pt x="214140" y="168658"/>
                  <a:pt x="208301" y="165084"/>
                  <a:pt x="203497" y="159910"/>
                </a:cubicBezTo>
                <a:cubicBezTo>
                  <a:pt x="203309" y="159722"/>
                  <a:pt x="203214" y="159628"/>
                  <a:pt x="203120" y="159534"/>
                </a:cubicBezTo>
                <a:cubicBezTo>
                  <a:pt x="200860" y="157088"/>
                  <a:pt x="198976" y="154172"/>
                  <a:pt x="197281" y="151068"/>
                </a:cubicBezTo>
                <a:cubicBezTo>
                  <a:pt x="196998" y="150504"/>
                  <a:pt x="196716" y="149939"/>
                  <a:pt x="196433" y="149281"/>
                </a:cubicBezTo>
                <a:cubicBezTo>
                  <a:pt x="194832" y="146083"/>
                  <a:pt x="193513" y="142602"/>
                  <a:pt x="192666" y="138840"/>
                </a:cubicBezTo>
                <a:cubicBezTo>
                  <a:pt x="188145" y="118428"/>
                  <a:pt x="197092" y="99050"/>
                  <a:pt x="212727" y="95476"/>
                </a:cubicBezTo>
                <a:lnTo>
                  <a:pt x="212727" y="85787"/>
                </a:lnTo>
                <a:cubicBezTo>
                  <a:pt x="212727" y="38378"/>
                  <a:pt x="251155" y="0"/>
                  <a:pt x="2986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2" name="îṧ1ïďe">
            <a:extLst>
              <a:ext uri="{FF2B5EF4-FFF2-40B4-BE49-F238E27FC236}">
                <a16:creationId xmlns:a16="http://schemas.microsoft.com/office/drawing/2014/main" id="{1FCCB0CA-11EB-44D4-BF45-8FC9D96D12EC}"/>
              </a:ext>
            </a:extLst>
          </p:cNvPr>
          <p:cNvSpPr txBox="1"/>
          <p:nvPr/>
        </p:nvSpPr>
        <p:spPr>
          <a:xfrm>
            <a:off x="9037257" y="3834000"/>
            <a:ext cx="2635470" cy="588331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en-US" altLang="zh-CN" b="1" dirty="0">
                <a:solidFill>
                  <a:schemeClr val="accent3"/>
                </a:solidFill>
              </a:rPr>
              <a:t>Text here</a:t>
            </a:r>
          </a:p>
        </p:txBody>
      </p:sp>
      <p:sp>
        <p:nvSpPr>
          <p:cNvPr id="13" name="ïṧliďè">
            <a:extLst>
              <a:ext uri="{FF2B5EF4-FFF2-40B4-BE49-F238E27FC236}">
                <a16:creationId xmlns:a16="http://schemas.microsoft.com/office/drawing/2014/main" id="{B984E54E-C380-46F7-A07E-021987CC5EBD}"/>
              </a:ext>
            </a:extLst>
          </p:cNvPr>
          <p:cNvSpPr txBox="1"/>
          <p:nvPr/>
        </p:nvSpPr>
        <p:spPr>
          <a:xfrm>
            <a:off x="9037256" y="4422332"/>
            <a:ext cx="2635469" cy="148687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Unified fonts make reading more fluent.</a:t>
            </a:r>
          </a:p>
          <a:p>
            <a:pPr>
              <a:lnSpc>
                <a:spcPct val="150000"/>
              </a:lnSpc>
            </a:pPr>
            <a:r>
              <a:rPr lang="en-US" altLang="zh-CN" sz="1000" dirty="0"/>
              <a:t>Theme color makes PPT more convenient to change.</a:t>
            </a:r>
          </a:p>
          <a:p>
            <a:pPr>
              <a:lnSpc>
                <a:spcPct val="150000"/>
              </a:lnSpc>
            </a:pPr>
            <a:endParaRPr lang="en-US" altLang="zh-CN" sz="1000" dirty="0"/>
          </a:p>
          <a:p>
            <a:pPr>
              <a:lnSpc>
                <a:spcPct val="150000"/>
              </a:lnSpc>
            </a:pPr>
            <a:r>
              <a:rPr lang="en-US" altLang="zh-CN" sz="1000" dirty="0"/>
              <a:t>Adjust the spacing to adapt to Chinese typesetting, use the reference line in PPT.</a:t>
            </a:r>
          </a:p>
        </p:txBody>
      </p:sp>
      <p:sp>
        <p:nvSpPr>
          <p:cNvPr id="14" name="íšľídè">
            <a:extLst>
              <a:ext uri="{FF2B5EF4-FFF2-40B4-BE49-F238E27FC236}">
                <a16:creationId xmlns:a16="http://schemas.microsoft.com/office/drawing/2014/main" id="{B7FE0882-7782-4057-A9EC-97140BBC4CE8}"/>
              </a:ext>
            </a:extLst>
          </p:cNvPr>
          <p:cNvSpPr>
            <a:spLocks noChangeAspect="1"/>
          </p:cNvSpPr>
          <p:nvPr/>
        </p:nvSpPr>
        <p:spPr bwMode="auto">
          <a:xfrm>
            <a:off x="9122294" y="3247296"/>
            <a:ext cx="609685" cy="437524"/>
          </a:xfrm>
          <a:custGeom>
            <a:avLst/>
            <a:gdLst>
              <a:gd name="connsiteX0" fmla="*/ 533228 w 606862"/>
              <a:gd name="connsiteY0" fmla="*/ 69781 h 435499"/>
              <a:gd name="connsiteX1" fmla="*/ 528214 w 606862"/>
              <a:gd name="connsiteY1" fmla="*/ 81924 h 435499"/>
              <a:gd name="connsiteX2" fmla="*/ 515122 w 606862"/>
              <a:gd name="connsiteY2" fmla="*/ 82851 h 435499"/>
              <a:gd name="connsiteX3" fmla="*/ 513543 w 606862"/>
              <a:gd name="connsiteY3" fmla="*/ 87671 h 435499"/>
              <a:gd name="connsiteX4" fmla="*/ 523571 w 606862"/>
              <a:gd name="connsiteY4" fmla="*/ 96107 h 435499"/>
              <a:gd name="connsiteX5" fmla="*/ 520414 w 606862"/>
              <a:gd name="connsiteY5" fmla="*/ 108806 h 435499"/>
              <a:gd name="connsiteX6" fmla="*/ 524500 w 606862"/>
              <a:gd name="connsiteY6" fmla="*/ 111773 h 435499"/>
              <a:gd name="connsiteX7" fmla="*/ 535643 w 606862"/>
              <a:gd name="connsiteY7" fmla="*/ 104913 h 435499"/>
              <a:gd name="connsiteX8" fmla="*/ 546785 w 606862"/>
              <a:gd name="connsiteY8" fmla="*/ 111773 h 435499"/>
              <a:gd name="connsiteX9" fmla="*/ 550871 w 606862"/>
              <a:gd name="connsiteY9" fmla="*/ 108806 h 435499"/>
              <a:gd name="connsiteX10" fmla="*/ 547807 w 606862"/>
              <a:gd name="connsiteY10" fmla="*/ 96107 h 435499"/>
              <a:gd name="connsiteX11" fmla="*/ 557835 w 606862"/>
              <a:gd name="connsiteY11" fmla="*/ 87671 h 435499"/>
              <a:gd name="connsiteX12" fmla="*/ 556349 w 606862"/>
              <a:gd name="connsiteY12" fmla="*/ 82851 h 435499"/>
              <a:gd name="connsiteX13" fmla="*/ 543257 w 606862"/>
              <a:gd name="connsiteY13" fmla="*/ 81924 h 435499"/>
              <a:gd name="connsiteX14" fmla="*/ 538242 w 606862"/>
              <a:gd name="connsiteY14" fmla="*/ 69781 h 435499"/>
              <a:gd name="connsiteX15" fmla="*/ 533228 w 606862"/>
              <a:gd name="connsiteY15" fmla="*/ 69781 h 435499"/>
              <a:gd name="connsiteX16" fmla="*/ 474173 w 606862"/>
              <a:gd name="connsiteY16" fmla="*/ 69781 h 435499"/>
              <a:gd name="connsiteX17" fmla="*/ 469159 w 606862"/>
              <a:gd name="connsiteY17" fmla="*/ 81924 h 435499"/>
              <a:gd name="connsiteX18" fmla="*/ 456066 w 606862"/>
              <a:gd name="connsiteY18" fmla="*/ 82851 h 435499"/>
              <a:gd name="connsiteX19" fmla="*/ 454488 w 606862"/>
              <a:gd name="connsiteY19" fmla="*/ 87671 h 435499"/>
              <a:gd name="connsiteX20" fmla="*/ 464516 w 606862"/>
              <a:gd name="connsiteY20" fmla="*/ 96107 h 435499"/>
              <a:gd name="connsiteX21" fmla="*/ 461359 w 606862"/>
              <a:gd name="connsiteY21" fmla="*/ 108806 h 435499"/>
              <a:gd name="connsiteX22" fmla="*/ 465445 w 606862"/>
              <a:gd name="connsiteY22" fmla="*/ 111773 h 435499"/>
              <a:gd name="connsiteX23" fmla="*/ 476587 w 606862"/>
              <a:gd name="connsiteY23" fmla="*/ 104913 h 435499"/>
              <a:gd name="connsiteX24" fmla="*/ 487730 w 606862"/>
              <a:gd name="connsiteY24" fmla="*/ 111773 h 435499"/>
              <a:gd name="connsiteX25" fmla="*/ 491815 w 606862"/>
              <a:gd name="connsiteY25" fmla="*/ 108806 h 435499"/>
              <a:gd name="connsiteX26" fmla="*/ 488751 w 606862"/>
              <a:gd name="connsiteY26" fmla="*/ 96107 h 435499"/>
              <a:gd name="connsiteX27" fmla="*/ 498779 w 606862"/>
              <a:gd name="connsiteY27" fmla="*/ 87671 h 435499"/>
              <a:gd name="connsiteX28" fmla="*/ 497294 w 606862"/>
              <a:gd name="connsiteY28" fmla="*/ 82851 h 435499"/>
              <a:gd name="connsiteX29" fmla="*/ 484201 w 606862"/>
              <a:gd name="connsiteY29" fmla="*/ 81924 h 435499"/>
              <a:gd name="connsiteX30" fmla="*/ 479187 w 606862"/>
              <a:gd name="connsiteY30" fmla="*/ 69781 h 435499"/>
              <a:gd name="connsiteX31" fmla="*/ 474173 w 606862"/>
              <a:gd name="connsiteY31" fmla="*/ 69781 h 435499"/>
              <a:gd name="connsiteX32" fmla="*/ 415117 w 606862"/>
              <a:gd name="connsiteY32" fmla="*/ 69781 h 435499"/>
              <a:gd name="connsiteX33" fmla="*/ 410103 w 606862"/>
              <a:gd name="connsiteY33" fmla="*/ 81924 h 435499"/>
              <a:gd name="connsiteX34" fmla="*/ 397011 w 606862"/>
              <a:gd name="connsiteY34" fmla="*/ 82851 h 435499"/>
              <a:gd name="connsiteX35" fmla="*/ 395432 w 606862"/>
              <a:gd name="connsiteY35" fmla="*/ 87671 h 435499"/>
              <a:gd name="connsiteX36" fmla="*/ 405460 w 606862"/>
              <a:gd name="connsiteY36" fmla="*/ 96107 h 435499"/>
              <a:gd name="connsiteX37" fmla="*/ 402303 w 606862"/>
              <a:gd name="connsiteY37" fmla="*/ 108806 h 435499"/>
              <a:gd name="connsiteX38" fmla="*/ 406389 w 606862"/>
              <a:gd name="connsiteY38" fmla="*/ 111773 h 435499"/>
              <a:gd name="connsiteX39" fmla="*/ 417532 w 606862"/>
              <a:gd name="connsiteY39" fmla="*/ 104913 h 435499"/>
              <a:gd name="connsiteX40" fmla="*/ 428674 w 606862"/>
              <a:gd name="connsiteY40" fmla="*/ 111773 h 435499"/>
              <a:gd name="connsiteX41" fmla="*/ 432760 w 606862"/>
              <a:gd name="connsiteY41" fmla="*/ 108806 h 435499"/>
              <a:gd name="connsiteX42" fmla="*/ 429696 w 606862"/>
              <a:gd name="connsiteY42" fmla="*/ 96107 h 435499"/>
              <a:gd name="connsiteX43" fmla="*/ 439724 w 606862"/>
              <a:gd name="connsiteY43" fmla="*/ 87671 h 435499"/>
              <a:gd name="connsiteX44" fmla="*/ 438238 w 606862"/>
              <a:gd name="connsiteY44" fmla="*/ 82851 h 435499"/>
              <a:gd name="connsiteX45" fmla="*/ 425146 w 606862"/>
              <a:gd name="connsiteY45" fmla="*/ 81924 h 435499"/>
              <a:gd name="connsiteX46" fmla="*/ 420132 w 606862"/>
              <a:gd name="connsiteY46" fmla="*/ 69781 h 435499"/>
              <a:gd name="connsiteX47" fmla="*/ 415117 w 606862"/>
              <a:gd name="connsiteY47" fmla="*/ 69781 h 435499"/>
              <a:gd name="connsiteX48" fmla="*/ 436010 w 606862"/>
              <a:gd name="connsiteY48" fmla="*/ 3780 h 435499"/>
              <a:gd name="connsiteX49" fmla="*/ 517257 w 606862"/>
              <a:gd name="connsiteY49" fmla="*/ 3780 h 435499"/>
              <a:gd name="connsiteX50" fmla="*/ 606862 w 606862"/>
              <a:gd name="connsiteY50" fmla="*/ 93140 h 435499"/>
              <a:gd name="connsiteX51" fmla="*/ 517257 w 606862"/>
              <a:gd name="connsiteY51" fmla="*/ 182594 h 435499"/>
              <a:gd name="connsiteX52" fmla="*/ 456438 w 606862"/>
              <a:gd name="connsiteY52" fmla="*/ 182594 h 435499"/>
              <a:gd name="connsiteX53" fmla="*/ 415210 w 606862"/>
              <a:gd name="connsiteY53" fmla="*/ 223751 h 435499"/>
              <a:gd name="connsiteX54" fmla="*/ 407689 w 606862"/>
              <a:gd name="connsiteY54" fmla="*/ 220692 h 435499"/>
              <a:gd name="connsiteX55" fmla="*/ 407689 w 606862"/>
              <a:gd name="connsiteY55" fmla="*/ 178051 h 435499"/>
              <a:gd name="connsiteX56" fmla="*/ 346405 w 606862"/>
              <a:gd name="connsiteY56" fmla="*/ 93233 h 435499"/>
              <a:gd name="connsiteX57" fmla="*/ 436010 w 606862"/>
              <a:gd name="connsiteY57" fmla="*/ 3780 h 435499"/>
              <a:gd name="connsiteX58" fmla="*/ 140854 w 606862"/>
              <a:gd name="connsiteY58" fmla="*/ 207 h 435499"/>
              <a:gd name="connsiteX59" fmla="*/ 216621 w 606862"/>
              <a:gd name="connsiteY59" fmla="*/ 856 h 435499"/>
              <a:gd name="connsiteX60" fmla="*/ 272145 w 606862"/>
              <a:gd name="connsiteY60" fmla="*/ 33762 h 435499"/>
              <a:gd name="connsiteX61" fmla="*/ 302693 w 606862"/>
              <a:gd name="connsiteY61" fmla="*/ 122934 h 435499"/>
              <a:gd name="connsiteX62" fmla="*/ 310400 w 606862"/>
              <a:gd name="connsiteY62" fmla="*/ 158343 h 435499"/>
              <a:gd name="connsiteX63" fmla="*/ 293130 w 606862"/>
              <a:gd name="connsiteY63" fmla="*/ 188098 h 435499"/>
              <a:gd name="connsiteX64" fmla="*/ 281152 w 606862"/>
              <a:gd name="connsiteY64" fmla="*/ 220819 h 435499"/>
              <a:gd name="connsiteX65" fmla="*/ 281152 w 606862"/>
              <a:gd name="connsiteY65" fmla="*/ 260863 h 435499"/>
              <a:gd name="connsiteX66" fmla="*/ 283287 w 606862"/>
              <a:gd name="connsiteY66" fmla="*/ 264385 h 435499"/>
              <a:gd name="connsiteX67" fmla="*/ 407057 w 606862"/>
              <a:gd name="connsiteY67" fmla="*/ 343732 h 435499"/>
              <a:gd name="connsiteX68" fmla="*/ 422192 w 606862"/>
              <a:gd name="connsiteY68" fmla="*/ 375989 h 435499"/>
              <a:gd name="connsiteX69" fmla="*/ 422192 w 606862"/>
              <a:gd name="connsiteY69" fmla="*/ 435406 h 435499"/>
              <a:gd name="connsiteX70" fmla="*/ 238533 w 606862"/>
              <a:gd name="connsiteY70" fmla="*/ 435406 h 435499"/>
              <a:gd name="connsiteX71" fmla="*/ 220520 w 606862"/>
              <a:gd name="connsiteY71" fmla="*/ 352816 h 435499"/>
              <a:gd name="connsiteX72" fmla="*/ 210957 w 606862"/>
              <a:gd name="connsiteY72" fmla="*/ 299331 h 435499"/>
              <a:gd name="connsiteX73" fmla="*/ 201393 w 606862"/>
              <a:gd name="connsiteY73" fmla="*/ 352816 h 435499"/>
              <a:gd name="connsiteX74" fmla="*/ 183566 w 606862"/>
              <a:gd name="connsiteY74" fmla="*/ 435499 h 435499"/>
              <a:gd name="connsiteX75" fmla="*/ 0 w 606862"/>
              <a:gd name="connsiteY75" fmla="*/ 435499 h 435499"/>
              <a:gd name="connsiteX76" fmla="*/ 0 w 606862"/>
              <a:gd name="connsiteY76" fmla="*/ 376082 h 435499"/>
              <a:gd name="connsiteX77" fmla="*/ 15135 w 606862"/>
              <a:gd name="connsiteY77" fmla="*/ 343824 h 435499"/>
              <a:gd name="connsiteX78" fmla="*/ 138905 w 606862"/>
              <a:gd name="connsiteY78" fmla="*/ 264478 h 435499"/>
              <a:gd name="connsiteX79" fmla="*/ 141040 w 606862"/>
              <a:gd name="connsiteY79" fmla="*/ 261049 h 435499"/>
              <a:gd name="connsiteX80" fmla="*/ 141040 w 606862"/>
              <a:gd name="connsiteY80" fmla="*/ 221005 h 435499"/>
              <a:gd name="connsiteX81" fmla="*/ 128970 w 606862"/>
              <a:gd name="connsiteY81" fmla="*/ 188191 h 435499"/>
              <a:gd name="connsiteX82" fmla="*/ 111792 w 606862"/>
              <a:gd name="connsiteY82" fmla="*/ 158436 h 435499"/>
              <a:gd name="connsiteX83" fmla="*/ 118942 w 606862"/>
              <a:gd name="connsiteY83" fmla="*/ 123120 h 435499"/>
              <a:gd name="connsiteX84" fmla="*/ 149397 w 606862"/>
              <a:gd name="connsiteY84" fmla="*/ 18560 h 435499"/>
              <a:gd name="connsiteX85" fmla="*/ 140854 w 606862"/>
              <a:gd name="connsiteY85" fmla="*/ 207 h 435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606862" h="435499">
                <a:moveTo>
                  <a:pt x="533228" y="69781"/>
                </a:moveTo>
                <a:lnTo>
                  <a:pt x="528214" y="81924"/>
                </a:lnTo>
                <a:lnTo>
                  <a:pt x="515122" y="82851"/>
                </a:lnTo>
                <a:cubicBezTo>
                  <a:pt x="512615" y="83036"/>
                  <a:pt x="511686" y="86095"/>
                  <a:pt x="513543" y="87671"/>
                </a:cubicBezTo>
                <a:lnTo>
                  <a:pt x="523571" y="96107"/>
                </a:lnTo>
                <a:lnTo>
                  <a:pt x="520414" y="108806"/>
                </a:lnTo>
                <a:cubicBezTo>
                  <a:pt x="519857" y="111217"/>
                  <a:pt x="522457" y="113163"/>
                  <a:pt x="524500" y="111773"/>
                </a:cubicBezTo>
                <a:lnTo>
                  <a:pt x="535643" y="104913"/>
                </a:lnTo>
                <a:lnTo>
                  <a:pt x="546785" y="111773"/>
                </a:lnTo>
                <a:cubicBezTo>
                  <a:pt x="548921" y="113163"/>
                  <a:pt x="551521" y="111217"/>
                  <a:pt x="550871" y="108806"/>
                </a:cubicBezTo>
                <a:lnTo>
                  <a:pt x="547807" y="96107"/>
                </a:lnTo>
                <a:lnTo>
                  <a:pt x="557835" y="87671"/>
                </a:lnTo>
                <a:cubicBezTo>
                  <a:pt x="559785" y="86095"/>
                  <a:pt x="558856" y="83036"/>
                  <a:pt x="556349" y="82851"/>
                </a:cubicBezTo>
                <a:lnTo>
                  <a:pt x="543257" y="81924"/>
                </a:lnTo>
                <a:lnTo>
                  <a:pt x="538242" y="69781"/>
                </a:lnTo>
                <a:cubicBezTo>
                  <a:pt x="537407" y="67463"/>
                  <a:pt x="534157" y="67463"/>
                  <a:pt x="533228" y="69781"/>
                </a:cubicBezTo>
                <a:close/>
                <a:moveTo>
                  <a:pt x="474173" y="69781"/>
                </a:moveTo>
                <a:lnTo>
                  <a:pt x="469159" y="81924"/>
                </a:lnTo>
                <a:lnTo>
                  <a:pt x="456066" y="82851"/>
                </a:lnTo>
                <a:cubicBezTo>
                  <a:pt x="453559" y="83036"/>
                  <a:pt x="452631" y="86095"/>
                  <a:pt x="454488" y="87671"/>
                </a:cubicBezTo>
                <a:lnTo>
                  <a:pt x="464516" y="96107"/>
                </a:lnTo>
                <a:lnTo>
                  <a:pt x="461359" y="108806"/>
                </a:lnTo>
                <a:cubicBezTo>
                  <a:pt x="460802" y="111217"/>
                  <a:pt x="463402" y="113163"/>
                  <a:pt x="465445" y="111773"/>
                </a:cubicBezTo>
                <a:lnTo>
                  <a:pt x="476587" y="104913"/>
                </a:lnTo>
                <a:lnTo>
                  <a:pt x="487730" y="111773"/>
                </a:lnTo>
                <a:cubicBezTo>
                  <a:pt x="489865" y="113163"/>
                  <a:pt x="492465" y="111217"/>
                  <a:pt x="491815" y="108806"/>
                </a:cubicBezTo>
                <a:lnTo>
                  <a:pt x="488751" y="96107"/>
                </a:lnTo>
                <a:lnTo>
                  <a:pt x="498779" y="87671"/>
                </a:lnTo>
                <a:cubicBezTo>
                  <a:pt x="500729" y="86095"/>
                  <a:pt x="499615" y="83036"/>
                  <a:pt x="497294" y="82851"/>
                </a:cubicBezTo>
                <a:lnTo>
                  <a:pt x="484201" y="81924"/>
                </a:lnTo>
                <a:lnTo>
                  <a:pt x="479187" y="69781"/>
                </a:lnTo>
                <a:cubicBezTo>
                  <a:pt x="478351" y="67463"/>
                  <a:pt x="475101" y="67463"/>
                  <a:pt x="474173" y="69781"/>
                </a:cubicBezTo>
                <a:close/>
                <a:moveTo>
                  <a:pt x="415117" y="69781"/>
                </a:moveTo>
                <a:lnTo>
                  <a:pt x="410103" y="81924"/>
                </a:lnTo>
                <a:lnTo>
                  <a:pt x="397011" y="82851"/>
                </a:lnTo>
                <a:cubicBezTo>
                  <a:pt x="394504" y="83036"/>
                  <a:pt x="393575" y="86095"/>
                  <a:pt x="395432" y="87671"/>
                </a:cubicBezTo>
                <a:lnTo>
                  <a:pt x="405460" y="96107"/>
                </a:lnTo>
                <a:lnTo>
                  <a:pt x="402303" y="108806"/>
                </a:lnTo>
                <a:cubicBezTo>
                  <a:pt x="401746" y="111217"/>
                  <a:pt x="404346" y="113163"/>
                  <a:pt x="406389" y="111773"/>
                </a:cubicBezTo>
                <a:lnTo>
                  <a:pt x="417532" y="104913"/>
                </a:lnTo>
                <a:lnTo>
                  <a:pt x="428674" y="111773"/>
                </a:lnTo>
                <a:cubicBezTo>
                  <a:pt x="430810" y="113163"/>
                  <a:pt x="433410" y="111217"/>
                  <a:pt x="432760" y="108806"/>
                </a:cubicBezTo>
                <a:lnTo>
                  <a:pt x="429696" y="96107"/>
                </a:lnTo>
                <a:lnTo>
                  <a:pt x="439724" y="87671"/>
                </a:lnTo>
                <a:cubicBezTo>
                  <a:pt x="441581" y="86095"/>
                  <a:pt x="440560" y="83036"/>
                  <a:pt x="438238" y="82851"/>
                </a:cubicBezTo>
                <a:lnTo>
                  <a:pt x="425146" y="81924"/>
                </a:lnTo>
                <a:lnTo>
                  <a:pt x="420132" y="69781"/>
                </a:lnTo>
                <a:cubicBezTo>
                  <a:pt x="419296" y="67463"/>
                  <a:pt x="416046" y="67463"/>
                  <a:pt x="415117" y="69781"/>
                </a:cubicBezTo>
                <a:close/>
                <a:moveTo>
                  <a:pt x="436010" y="3780"/>
                </a:moveTo>
                <a:lnTo>
                  <a:pt x="517257" y="3780"/>
                </a:lnTo>
                <a:cubicBezTo>
                  <a:pt x="566749" y="3780"/>
                  <a:pt x="606862" y="43825"/>
                  <a:pt x="606862" y="93140"/>
                </a:cubicBezTo>
                <a:cubicBezTo>
                  <a:pt x="606862" y="142548"/>
                  <a:pt x="566749" y="182594"/>
                  <a:pt x="517257" y="182594"/>
                </a:cubicBezTo>
                <a:lnTo>
                  <a:pt x="456438" y="182594"/>
                </a:lnTo>
                <a:lnTo>
                  <a:pt x="415210" y="223751"/>
                </a:lnTo>
                <a:cubicBezTo>
                  <a:pt x="412517" y="226625"/>
                  <a:pt x="407689" y="224678"/>
                  <a:pt x="407689" y="220692"/>
                </a:cubicBezTo>
                <a:lnTo>
                  <a:pt x="407689" y="178051"/>
                </a:lnTo>
                <a:cubicBezTo>
                  <a:pt x="372126" y="166279"/>
                  <a:pt x="346405" y="132815"/>
                  <a:pt x="346405" y="93233"/>
                </a:cubicBezTo>
                <a:cubicBezTo>
                  <a:pt x="346405" y="43825"/>
                  <a:pt x="386518" y="3780"/>
                  <a:pt x="436010" y="3780"/>
                </a:cubicBezTo>
                <a:close/>
                <a:moveTo>
                  <a:pt x="140854" y="207"/>
                </a:moveTo>
                <a:cubicBezTo>
                  <a:pt x="140854" y="207"/>
                  <a:pt x="191922" y="5954"/>
                  <a:pt x="216621" y="856"/>
                </a:cubicBezTo>
                <a:cubicBezTo>
                  <a:pt x="241412" y="-4335"/>
                  <a:pt x="267874" y="15038"/>
                  <a:pt x="272145" y="33762"/>
                </a:cubicBezTo>
                <a:cubicBezTo>
                  <a:pt x="272145" y="33762"/>
                  <a:pt x="322099" y="33948"/>
                  <a:pt x="302693" y="122934"/>
                </a:cubicBezTo>
                <a:cubicBezTo>
                  <a:pt x="310493" y="122563"/>
                  <a:pt x="318942" y="128032"/>
                  <a:pt x="310400" y="158343"/>
                </a:cubicBezTo>
                <a:cubicBezTo>
                  <a:pt x="303807" y="181331"/>
                  <a:pt x="297772" y="187727"/>
                  <a:pt x="293130" y="188098"/>
                </a:cubicBezTo>
                <a:cubicBezTo>
                  <a:pt x="291551" y="198480"/>
                  <a:pt x="287466" y="209974"/>
                  <a:pt x="281152" y="220819"/>
                </a:cubicBezTo>
                <a:lnTo>
                  <a:pt x="281152" y="260863"/>
                </a:lnTo>
                <a:cubicBezTo>
                  <a:pt x="281152" y="262346"/>
                  <a:pt x="281895" y="263737"/>
                  <a:pt x="283287" y="264385"/>
                </a:cubicBezTo>
                <a:cubicBezTo>
                  <a:pt x="294987" y="270133"/>
                  <a:pt x="353204" y="299424"/>
                  <a:pt x="407057" y="343732"/>
                </a:cubicBezTo>
                <a:cubicBezTo>
                  <a:pt x="416714" y="351611"/>
                  <a:pt x="422192" y="363476"/>
                  <a:pt x="422192" y="375989"/>
                </a:cubicBezTo>
                <a:lnTo>
                  <a:pt x="422192" y="435406"/>
                </a:lnTo>
                <a:lnTo>
                  <a:pt x="238533" y="435406"/>
                </a:lnTo>
                <a:lnTo>
                  <a:pt x="220520" y="352816"/>
                </a:lnTo>
                <a:cubicBezTo>
                  <a:pt x="257104" y="301834"/>
                  <a:pt x="217735" y="299331"/>
                  <a:pt x="210957" y="299331"/>
                </a:cubicBezTo>
                <a:cubicBezTo>
                  <a:pt x="204179" y="299424"/>
                  <a:pt x="164810" y="301834"/>
                  <a:pt x="201393" y="352816"/>
                </a:cubicBezTo>
                <a:lnTo>
                  <a:pt x="183566" y="435499"/>
                </a:lnTo>
                <a:lnTo>
                  <a:pt x="0" y="435499"/>
                </a:lnTo>
                <a:lnTo>
                  <a:pt x="0" y="376082"/>
                </a:lnTo>
                <a:cubicBezTo>
                  <a:pt x="0" y="363754"/>
                  <a:pt x="5478" y="351703"/>
                  <a:pt x="15135" y="343824"/>
                </a:cubicBezTo>
                <a:cubicBezTo>
                  <a:pt x="68988" y="299609"/>
                  <a:pt x="127113" y="270318"/>
                  <a:pt x="138905" y="264478"/>
                </a:cubicBezTo>
                <a:cubicBezTo>
                  <a:pt x="140112" y="263829"/>
                  <a:pt x="141040" y="262532"/>
                  <a:pt x="141040" y="261049"/>
                </a:cubicBezTo>
                <a:lnTo>
                  <a:pt x="141040" y="221005"/>
                </a:lnTo>
                <a:cubicBezTo>
                  <a:pt x="134726" y="210067"/>
                  <a:pt x="130641" y="198573"/>
                  <a:pt x="128970" y="188191"/>
                </a:cubicBezTo>
                <a:cubicBezTo>
                  <a:pt x="124420" y="187820"/>
                  <a:pt x="118385" y="181424"/>
                  <a:pt x="111792" y="158436"/>
                </a:cubicBezTo>
                <a:cubicBezTo>
                  <a:pt x="103528" y="128867"/>
                  <a:pt x="111328" y="123120"/>
                  <a:pt x="118942" y="123120"/>
                </a:cubicBezTo>
                <a:cubicBezTo>
                  <a:pt x="114856" y="105786"/>
                  <a:pt x="104643" y="45813"/>
                  <a:pt x="149397" y="18560"/>
                </a:cubicBezTo>
                <a:cubicBezTo>
                  <a:pt x="149397" y="18560"/>
                  <a:pt x="140112" y="10960"/>
                  <a:pt x="140854" y="20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7B16D27-2414-4CA4-815E-67B932A331B3}"/>
              </a:ext>
            </a:extLst>
          </p:cNvPr>
          <p:cNvCxnSpPr/>
          <p:nvPr/>
        </p:nvCxnSpPr>
        <p:spPr>
          <a:xfrm>
            <a:off x="8571000" y="4033928"/>
            <a:ext cx="0" cy="187527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1399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C37083-3922-4594-B949-14867F9CF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CE92988-ACC4-42C3-BD26-A4D5DAA74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CCF0ABE-40AF-40C5-A5DA-856813BAA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F63F116-14B8-485A-815F-9BF46FAE4AD2}"/>
              </a:ext>
            </a:extLst>
          </p:cNvPr>
          <p:cNvCxnSpPr/>
          <p:nvPr/>
        </p:nvCxnSpPr>
        <p:spPr>
          <a:xfrm>
            <a:off x="669925" y="1123950"/>
            <a:ext cx="10850563" cy="5019675"/>
          </a:xfrm>
          <a:prstGeom prst="line">
            <a:avLst/>
          </a:prstGeom>
          <a:ln w="76200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ïŝļîḓè">
            <a:extLst>
              <a:ext uri="{FF2B5EF4-FFF2-40B4-BE49-F238E27FC236}">
                <a16:creationId xmlns:a16="http://schemas.microsoft.com/office/drawing/2014/main" id="{59B6C1BB-977D-4C11-9BBE-F44B7BFA528A}"/>
              </a:ext>
            </a:extLst>
          </p:cNvPr>
          <p:cNvSpPr/>
          <p:nvPr/>
        </p:nvSpPr>
        <p:spPr>
          <a:xfrm>
            <a:off x="2495600" y="1700808"/>
            <a:ext cx="808632" cy="80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/>
          </a:solidFill>
          <a:ln w="635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3" name="işlïḋê">
            <a:extLst>
              <a:ext uri="{FF2B5EF4-FFF2-40B4-BE49-F238E27FC236}">
                <a16:creationId xmlns:a16="http://schemas.microsoft.com/office/drawing/2014/main" id="{D75201BA-2036-4D87-84BF-EE9A81E6A636}"/>
              </a:ext>
            </a:extLst>
          </p:cNvPr>
          <p:cNvSpPr/>
          <p:nvPr/>
        </p:nvSpPr>
        <p:spPr>
          <a:xfrm>
            <a:off x="2633919" y="1839127"/>
            <a:ext cx="531993" cy="531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í$ļíḋê">
            <a:extLst>
              <a:ext uri="{FF2B5EF4-FFF2-40B4-BE49-F238E27FC236}">
                <a16:creationId xmlns:a16="http://schemas.microsoft.com/office/drawing/2014/main" id="{DFAAA536-C319-4033-8210-F3210954B0F6}"/>
              </a:ext>
            </a:extLst>
          </p:cNvPr>
          <p:cNvSpPr/>
          <p:nvPr/>
        </p:nvSpPr>
        <p:spPr>
          <a:xfrm>
            <a:off x="2752095" y="1964392"/>
            <a:ext cx="305623" cy="271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22" y="3335"/>
                </a:moveTo>
                <a:cubicBezTo>
                  <a:pt x="2422" y="21145"/>
                  <a:pt x="2422" y="21145"/>
                  <a:pt x="2422" y="21145"/>
                </a:cubicBezTo>
                <a:cubicBezTo>
                  <a:pt x="2422" y="21373"/>
                  <a:pt x="2221" y="21600"/>
                  <a:pt x="2019" y="21600"/>
                </a:cubicBezTo>
                <a:cubicBezTo>
                  <a:pt x="1211" y="21600"/>
                  <a:pt x="1211" y="21600"/>
                  <a:pt x="1211" y="21600"/>
                </a:cubicBezTo>
                <a:cubicBezTo>
                  <a:pt x="1009" y="21600"/>
                  <a:pt x="807" y="21373"/>
                  <a:pt x="807" y="21145"/>
                </a:cubicBezTo>
                <a:cubicBezTo>
                  <a:pt x="807" y="3335"/>
                  <a:pt x="807" y="3335"/>
                  <a:pt x="807" y="3335"/>
                </a:cubicBezTo>
                <a:cubicBezTo>
                  <a:pt x="336" y="3032"/>
                  <a:pt x="0" y="2425"/>
                  <a:pt x="0" y="1743"/>
                </a:cubicBezTo>
                <a:cubicBezTo>
                  <a:pt x="0" y="758"/>
                  <a:pt x="740" y="0"/>
                  <a:pt x="1615" y="0"/>
                </a:cubicBezTo>
                <a:cubicBezTo>
                  <a:pt x="2490" y="0"/>
                  <a:pt x="3230" y="758"/>
                  <a:pt x="3230" y="1743"/>
                </a:cubicBezTo>
                <a:cubicBezTo>
                  <a:pt x="3230" y="2425"/>
                  <a:pt x="2893" y="3032"/>
                  <a:pt x="2422" y="3335"/>
                </a:cubicBezTo>
                <a:close/>
                <a:moveTo>
                  <a:pt x="21600" y="13415"/>
                </a:moveTo>
                <a:cubicBezTo>
                  <a:pt x="21600" y="13718"/>
                  <a:pt x="21398" y="14021"/>
                  <a:pt x="21129" y="14173"/>
                </a:cubicBezTo>
                <a:cubicBezTo>
                  <a:pt x="21062" y="14248"/>
                  <a:pt x="20994" y="14248"/>
                  <a:pt x="20927" y="14324"/>
                </a:cubicBezTo>
                <a:cubicBezTo>
                  <a:pt x="20120" y="14779"/>
                  <a:pt x="18236" y="15992"/>
                  <a:pt x="16351" y="15992"/>
                </a:cubicBezTo>
                <a:cubicBezTo>
                  <a:pt x="15611" y="15992"/>
                  <a:pt x="14938" y="15764"/>
                  <a:pt x="14333" y="15461"/>
                </a:cubicBezTo>
                <a:cubicBezTo>
                  <a:pt x="13996" y="15234"/>
                  <a:pt x="13996" y="15234"/>
                  <a:pt x="13996" y="15234"/>
                </a:cubicBezTo>
                <a:cubicBezTo>
                  <a:pt x="12718" y="14552"/>
                  <a:pt x="11708" y="14021"/>
                  <a:pt x="10228" y="14021"/>
                </a:cubicBezTo>
                <a:cubicBezTo>
                  <a:pt x="8411" y="14021"/>
                  <a:pt x="5854" y="15082"/>
                  <a:pt x="4441" y="16067"/>
                </a:cubicBezTo>
                <a:cubicBezTo>
                  <a:pt x="4307" y="16143"/>
                  <a:pt x="4105" y="16143"/>
                  <a:pt x="3970" y="16143"/>
                </a:cubicBezTo>
                <a:cubicBezTo>
                  <a:pt x="3836" y="16143"/>
                  <a:pt x="3701" y="16143"/>
                  <a:pt x="3634" y="16067"/>
                </a:cubicBezTo>
                <a:cubicBezTo>
                  <a:pt x="3364" y="15916"/>
                  <a:pt x="3230" y="15613"/>
                  <a:pt x="3230" y="15234"/>
                </a:cubicBezTo>
                <a:cubicBezTo>
                  <a:pt x="3230" y="4851"/>
                  <a:pt x="3230" y="4851"/>
                  <a:pt x="3230" y="4851"/>
                </a:cubicBezTo>
                <a:cubicBezTo>
                  <a:pt x="3230" y="4547"/>
                  <a:pt x="3364" y="4244"/>
                  <a:pt x="3566" y="4093"/>
                </a:cubicBezTo>
                <a:cubicBezTo>
                  <a:pt x="4374" y="3562"/>
                  <a:pt x="7200" y="1743"/>
                  <a:pt x="9824" y="1743"/>
                </a:cubicBezTo>
                <a:cubicBezTo>
                  <a:pt x="11910" y="1743"/>
                  <a:pt x="13593" y="2653"/>
                  <a:pt x="15073" y="3411"/>
                </a:cubicBezTo>
                <a:cubicBezTo>
                  <a:pt x="15342" y="3638"/>
                  <a:pt x="15746" y="3714"/>
                  <a:pt x="16150" y="3714"/>
                </a:cubicBezTo>
                <a:cubicBezTo>
                  <a:pt x="17630" y="3714"/>
                  <a:pt x="19245" y="2653"/>
                  <a:pt x="20052" y="2122"/>
                </a:cubicBezTo>
                <a:cubicBezTo>
                  <a:pt x="20187" y="2046"/>
                  <a:pt x="20321" y="1895"/>
                  <a:pt x="20389" y="1895"/>
                </a:cubicBezTo>
                <a:cubicBezTo>
                  <a:pt x="20658" y="1743"/>
                  <a:pt x="20927" y="1743"/>
                  <a:pt x="21196" y="1895"/>
                </a:cubicBezTo>
                <a:cubicBezTo>
                  <a:pt x="21398" y="2046"/>
                  <a:pt x="21600" y="2349"/>
                  <a:pt x="21600" y="2653"/>
                </a:cubicBezTo>
                <a:lnTo>
                  <a:pt x="21600" y="13415"/>
                </a:lnTo>
                <a:close/>
                <a:moveTo>
                  <a:pt x="9622" y="3562"/>
                </a:moveTo>
                <a:cubicBezTo>
                  <a:pt x="8007" y="3638"/>
                  <a:pt x="6191" y="4472"/>
                  <a:pt x="4778" y="5381"/>
                </a:cubicBezTo>
                <a:cubicBezTo>
                  <a:pt x="4778" y="8034"/>
                  <a:pt x="4778" y="8034"/>
                  <a:pt x="4778" y="8034"/>
                </a:cubicBezTo>
                <a:cubicBezTo>
                  <a:pt x="6258" y="7124"/>
                  <a:pt x="8075" y="6442"/>
                  <a:pt x="9622" y="6366"/>
                </a:cubicBezTo>
                <a:lnTo>
                  <a:pt x="9622" y="3562"/>
                </a:lnTo>
                <a:close/>
                <a:moveTo>
                  <a:pt x="9622" y="9549"/>
                </a:moveTo>
                <a:cubicBezTo>
                  <a:pt x="8075" y="9701"/>
                  <a:pt x="6258" y="10383"/>
                  <a:pt x="4778" y="11141"/>
                </a:cubicBezTo>
                <a:cubicBezTo>
                  <a:pt x="4778" y="13794"/>
                  <a:pt x="4778" y="13794"/>
                  <a:pt x="4778" y="13794"/>
                </a:cubicBezTo>
                <a:cubicBezTo>
                  <a:pt x="6258" y="13036"/>
                  <a:pt x="8075" y="12354"/>
                  <a:pt x="9622" y="12202"/>
                </a:cubicBezTo>
                <a:lnTo>
                  <a:pt x="9622" y="9549"/>
                </a:lnTo>
                <a:close/>
                <a:moveTo>
                  <a:pt x="19985" y="10307"/>
                </a:moveTo>
                <a:cubicBezTo>
                  <a:pt x="18841" y="10914"/>
                  <a:pt x="16890" y="11823"/>
                  <a:pt x="15207" y="11293"/>
                </a:cubicBezTo>
                <a:cubicBezTo>
                  <a:pt x="15207" y="8109"/>
                  <a:pt x="15207" y="8109"/>
                  <a:pt x="15207" y="8109"/>
                </a:cubicBezTo>
                <a:cubicBezTo>
                  <a:pt x="15006" y="8034"/>
                  <a:pt x="14871" y="8034"/>
                  <a:pt x="14669" y="7882"/>
                </a:cubicBezTo>
                <a:cubicBezTo>
                  <a:pt x="13256" y="7124"/>
                  <a:pt x="12112" y="6366"/>
                  <a:pt x="10228" y="6366"/>
                </a:cubicBezTo>
                <a:cubicBezTo>
                  <a:pt x="10026" y="6366"/>
                  <a:pt x="9824" y="6366"/>
                  <a:pt x="9622" y="6366"/>
                </a:cubicBezTo>
                <a:cubicBezTo>
                  <a:pt x="9622" y="9474"/>
                  <a:pt x="9622" y="9474"/>
                  <a:pt x="9622" y="9474"/>
                </a:cubicBezTo>
                <a:cubicBezTo>
                  <a:pt x="9690" y="9474"/>
                  <a:pt x="9757" y="9474"/>
                  <a:pt x="9824" y="9474"/>
                </a:cubicBezTo>
                <a:cubicBezTo>
                  <a:pt x="11708" y="9474"/>
                  <a:pt x="13256" y="10232"/>
                  <a:pt x="14669" y="11065"/>
                </a:cubicBezTo>
                <a:cubicBezTo>
                  <a:pt x="14871" y="11141"/>
                  <a:pt x="15006" y="11217"/>
                  <a:pt x="15207" y="11293"/>
                </a:cubicBezTo>
                <a:cubicBezTo>
                  <a:pt x="15207" y="13945"/>
                  <a:pt x="15207" y="13945"/>
                  <a:pt x="15207" y="13945"/>
                </a:cubicBezTo>
                <a:cubicBezTo>
                  <a:pt x="15544" y="14097"/>
                  <a:pt x="15880" y="14173"/>
                  <a:pt x="16351" y="14173"/>
                </a:cubicBezTo>
                <a:cubicBezTo>
                  <a:pt x="17697" y="14173"/>
                  <a:pt x="19178" y="13339"/>
                  <a:pt x="19985" y="12884"/>
                </a:cubicBezTo>
                <a:lnTo>
                  <a:pt x="19985" y="10307"/>
                </a:lnTo>
                <a:close/>
                <a:moveTo>
                  <a:pt x="19985" y="4168"/>
                </a:moveTo>
                <a:cubicBezTo>
                  <a:pt x="18976" y="4775"/>
                  <a:pt x="17563" y="5457"/>
                  <a:pt x="16150" y="5457"/>
                </a:cubicBezTo>
                <a:cubicBezTo>
                  <a:pt x="15813" y="5457"/>
                  <a:pt x="15477" y="5457"/>
                  <a:pt x="15207" y="5381"/>
                </a:cubicBezTo>
                <a:cubicBezTo>
                  <a:pt x="15207" y="8109"/>
                  <a:pt x="15207" y="8109"/>
                  <a:pt x="15207" y="8109"/>
                </a:cubicBezTo>
                <a:cubicBezTo>
                  <a:pt x="16890" y="8640"/>
                  <a:pt x="18841" y="7579"/>
                  <a:pt x="19985" y="6897"/>
                </a:cubicBezTo>
                <a:lnTo>
                  <a:pt x="19985" y="4168"/>
                </a:ln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íşľîde">
            <a:extLst>
              <a:ext uri="{FF2B5EF4-FFF2-40B4-BE49-F238E27FC236}">
                <a16:creationId xmlns:a16="http://schemas.microsoft.com/office/drawing/2014/main" id="{4FC64419-CDB9-421D-A1AF-6AE154F2B6C8}"/>
              </a:ext>
            </a:extLst>
          </p:cNvPr>
          <p:cNvSpPr/>
          <p:nvPr/>
        </p:nvSpPr>
        <p:spPr>
          <a:xfrm>
            <a:off x="4025770" y="2407655"/>
            <a:ext cx="808632" cy="80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/>
          </a:solidFill>
          <a:ln w="635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ï$ḷíḓè">
            <a:extLst>
              <a:ext uri="{FF2B5EF4-FFF2-40B4-BE49-F238E27FC236}">
                <a16:creationId xmlns:a16="http://schemas.microsoft.com/office/drawing/2014/main" id="{5E2A525A-76DE-47F3-8734-38B4DD795C3F}"/>
              </a:ext>
            </a:extLst>
          </p:cNvPr>
          <p:cNvSpPr/>
          <p:nvPr/>
        </p:nvSpPr>
        <p:spPr>
          <a:xfrm>
            <a:off x="4164089" y="2545974"/>
            <a:ext cx="531993" cy="531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iSḻîdê">
            <a:extLst>
              <a:ext uri="{FF2B5EF4-FFF2-40B4-BE49-F238E27FC236}">
                <a16:creationId xmlns:a16="http://schemas.microsoft.com/office/drawing/2014/main" id="{04123559-5F92-4BF5-AC93-DF349CC5ED0B}"/>
              </a:ext>
            </a:extLst>
          </p:cNvPr>
          <p:cNvSpPr/>
          <p:nvPr/>
        </p:nvSpPr>
        <p:spPr>
          <a:xfrm>
            <a:off x="4282265" y="2654197"/>
            <a:ext cx="305623" cy="305434"/>
          </a:xfrm>
          <a:custGeom>
            <a:avLst/>
            <a:gdLst>
              <a:gd name="connsiteX0" fmla="*/ 482620 w 607097"/>
              <a:gd name="connsiteY0" fmla="*/ 381169 h 606722"/>
              <a:gd name="connsiteX1" fmla="*/ 496768 w 607097"/>
              <a:gd name="connsiteY1" fmla="*/ 381169 h 606722"/>
              <a:gd name="connsiteX2" fmla="*/ 510916 w 607097"/>
              <a:gd name="connsiteY2" fmla="*/ 395381 h 606722"/>
              <a:gd name="connsiteX3" fmla="*/ 510916 w 607097"/>
              <a:gd name="connsiteY3" fmla="*/ 409505 h 606722"/>
              <a:gd name="connsiteX4" fmla="*/ 503887 w 607097"/>
              <a:gd name="connsiteY4" fmla="*/ 412525 h 606722"/>
              <a:gd name="connsiteX5" fmla="*/ 496768 w 607097"/>
              <a:gd name="connsiteY5" fmla="*/ 409505 h 606722"/>
              <a:gd name="connsiteX6" fmla="*/ 482620 w 607097"/>
              <a:gd name="connsiteY6" fmla="*/ 395381 h 606722"/>
              <a:gd name="connsiteX7" fmla="*/ 482620 w 607097"/>
              <a:gd name="connsiteY7" fmla="*/ 381169 h 606722"/>
              <a:gd name="connsiteX8" fmla="*/ 546398 w 607097"/>
              <a:gd name="connsiteY8" fmla="*/ 242745 h 606722"/>
              <a:gd name="connsiteX9" fmla="*/ 566606 w 607097"/>
              <a:gd name="connsiteY9" fmla="*/ 242745 h 606722"/>
              <a:gd name="connsiteX10" fmla="*/ 576754 w 607097"/>
              <a:gd name="connsiteY10" fmla="*/ 252756 h 606722"/>
              <a:gd name="connsiteX11" fmla="*/ 566606 w 607097"/>
              <a:gd name="connsiteY11" fmla="*/ 262856 h 606722"/>
              <a:gd name="connsiteX12" fmla="*/ 546398 w 607097"/>
              <a:gd name="connsiteY12" fmla="*/ 262856 h 606722"/>
              <a:gd name="connsiteX13" fmla="*/ 536249 w 607097"/>
              <a:gd name="connsiteY13" fmla="*/ 252756 h 606722"/>
              <a:gd name="connsiteX14" fmla="*/ 546398 w 607097"/>
              <a:gd name="connsiteY14" fmla="*/ 242745 h 606722"/>
              <a:gd name="connsiteX15" fmla="*/ 353968 w 607097"/>
              <a:gd name="connsiteY15" fmla="*/ 101120 h 606722"/>
              <a:gd name="connsiteX16" fmla="*/ 364118 w 607097"/>
              <a:gd name="connsiteY16" fmla="*/ 111251 h 606722"/>
              <a:gd name="connsiteX17" fmla="*/ 364118 w 607097"/>
              <a:gd name="connsiteY17" fmla="*/ 242683 h 606722"/>
              <a:gd name="connsiteX18" fmla="*/ 424838 w 607097"/>
              <a:gd name="connsiteY18" fmla="*/ 242683 h 606722"/>
              <a:gd name="connsiteX19" fmla="*/ 434988 w 607097"/>
              <a:gd name="connsiteY19" fmla="*/ 252725 h 606722"/>
              <a:gd name="connsiteX20" fmla="*/ 424838 w 607097"/>
              <a:gd name="connsiteY20" fmla="*/ 262856 h 606722"/>
              <a:gd name="connsiteX21" fmla="*/ 353968 w 607097"/>
              <a:gd name="connsiteY21" fmla="*/ 262856 h 606722"/>
              <a:gd name="connsiteX22" fmla="*/ 343818 w 607097"/>
              <a:gd name="connsiteY22" fmla="*/ 252725 h 606722"/>
              <a:gd name="connsiteX23" fmla="*/ 343818 w 607097"/>
              <a:gd name="connsiteY23" fmla="*/ 111251 h 606722"/>
              <a:gd name="connsiteX24" fmla="*/ 353968 w 607097"/>
              <a:gd name="connsiteY24" fmla="*/ 101120 h 606722"/>
              <a:gd name="connsiteX25" fmla="*/ 496768 w 607097"/>
              <a:gd name="connsiteY25" fmla="*/ 96101 h 606722"/>
              <a:gd name="connsiteX26" fmla="*/ 510916 w 607097"/>
              <a:gd name="connsiteY26" fmla="*/ 96101 h 606722"/>
              <a:gd name="connsiteX27" fmla="*/ 510916 w 607097"/>
              <a:gd name="connsiteY27" fmla="*/ 110217 h 606722"/>
              <a:gd name="connsiteX28" fmla="*/ 496768 w 607097"/>
              <a:gd name="connsiteY28" fmla="*/ 124334 h 606722"/>
              <a:gd name="connsiteX29" fmla="*/ 489650 w 607097"/>
              <a:gd name="connsiteY29" fmla="*/ 127441 h 606722"/>
              <a:gd name="connsiteX30" fmla="*/ 482620 w 607097"/>
              <a:gd name="connsiteY30" fmla="*/ 124334 h 606722"/>
              <a:gd name="connsiteX31" fmla="*/ 482620 w 607097"/>
              <a:gd name="connsiteY31" fmla="*/ 110217 h 606722"/>
              <a:gd name="connsiteX32" fmla="*/ 196955 w 607097"/>
              <a:gd name="connsiteY32" fmla="*/ 96101 h 606722"/>
              <a:gd name="connsiteX33" fmla="*/ 211110 w 607097"/>
              <a:gd name="connsiteY33" fmla="*/ 96101 h 606722"/>
              <a:gd name="connsiteX34" fmla="*/ 225355 w 607097"/>
              <a:gd name="connsiteY34" fmla="*/ 110217 h 606722"/>
              <a:gd name="connsiteX35" fmla="*/ 225355 w 607097"/>
              <a:gd name="connsiteY35" fmla="*/ 124334 h 606722"/>
              <a:gd name="connsiteX36" fmla="*/ 218233 w 607097"/>
              <a:gd name="connsiteY36" fmla="*/ 127441 h 606722"/>
              <a:gd name="connsiteX37" fmla="*/ 211110 w 607097"/>
              <a:gd name="connsiteY37" fmla="*/ 124334 h 606722"/>
              <a:gd name="connsiteX38" fmla="*/ 196955 w 607097"/>
              <a:gd name="connsiteY38" fmla="*/ 110217 h 606722"/>
              <a:gd name="connsiteX39" fmla="*/ 196955 w 607097"/>
              <a:gd name="connsiteY39" fmla="*/ 96101 h 606722"/>
              <a:gd name="connsiteX40" fmla="*/ 103963 w 607097"/>
              <a:gd name="connsiteY40" fmla="*/ 81761 h 606722"/>
              <a:gd name="connsiteX41" fmla="*/ 87598 w 607097"/>
              <a:gd name="connsiteY41" fmla="*/ 90026 h 606722"/>
              <a:gd name="connsiteX42" fmla="*/ 62322 w 607097"/>
              <a:gd name="connsiteY42" fmla="*/ 115266 h 606722"/>
              <a:gd name="connsiteX43" fmla="*/ 34998 w 607097"/>
              <a:gd name="connsiteY43" fmla="*/ 265902 h 606722"/>
              <a:gd name="connsiteX44" fmla="*/ 75494 w 607097"/>
              <a:gd name="connsiteY44" fmla="*/ 322602 h 606722"/>
              <a:gd name="connsiteX45" fmla="*/ 283044 w 607097"/>
              <a:gd name="connsiteY45" fmla="*/ 530826 h 606722"/>
              <a:gd name="connsiteX46" fmla="*/ 327634 w 607097"/>
              <a:gd name="connsiteY46" fmla="*/ 565219 h 606722"/>
              <a:gd name="connsiteX47" fmla="*/ 490684 w 607097"/>
              <a:gd name="connsiteY47" fmla="*/ 545046 h 606722"/>
              <a:gd name="connsiteX48" fmla="*/ 515960 w 607097"/>
              <a:gd name="connsiteY48" fmla="*/ 519717 h 606722"/>
              <a:gd name="connsiteX49" fmla="*/ 521033 w 607097"/>
              <a:gd name="connsiteY49" fmla="*/ 485324 h 606722"/>
              <a:gd name="connsiteX50" fmla="*/ 434969 w 607097"/>
              <a:gd name="connsiteY50" fmla="*/ 411561 h 606722"/>
              <a:gd name="connsiteX51" fmla="*/ 414321 w 607097"/>
              <a:gd name="connsiteY51" fmla="*/ 406318 h 606722"/>
              <a:gd name="connsiteX52" fmla="*/ 413698 w 607097"/>
              <a:gd name="connsiteY52" fmla="*/ 406496 h 606722"/>
              <a:gd name="connsiteX53" fmla="*/ 405599 w 607097"/>
              <a:gd name="connsiteY53" fmla="*/ 413605 h 606722"/>
              <a:gd name="connsiteX54" fmla="*/ 404620 w 607097"/>
              <a:gd name="connsiteY54" fmla="*/ 414583 h 606722"/>
              <a:gd name="connsiteX55" fmla="*/ 373202 w 607097"/>
              <a:gd name="connsiteY55" fmla="*/ 447910 h 606722"/>
              <a:gd name="connsiteX56" fmla="*/ 349528 w 607097"/>
              <a:gd name="connsiteY56" fmla="*/ 459552 h 606722"/>
              <a:gd name="connsiteX57" fmla="*/ 405599 w 607097"/>
              <a:gd name="connsiteY57" fmla="*/ 475282 h 606722"/>
              <a:gd name="connsiteX58" fmla="*/ 414677 w 607097"/>
              <a:gd name="connsiteY58" fmla="*/ 486391 h 606722"/>
              <a:gd name="connsiteX59" fmla="*/ 404620 w 607097"/>
              <a:gd name="connsiteY59" fmla="*/ 495456 h 606722"/>
              <a:gd name="connsiteX60" fmla="*/ 403552 w 607097"/>
              <a:gd name="connsiteY60" fmla="*/ 495456 h 606722"/>
              <a:gd name="connsiteX61" fmla="*/ 287138 w 607097"/>
              <a:gd name="connsiteY61" fmla="*/ 441866 h 606722"/>
              <a:gd name="connsiteX62" fmla="*/ 286426 w 607097"/>
              <a:gd name="connsiteY62" fmla="*/ 441067 h 606722"/>
              <a:gd name="connsiteX63" fmla="*/ 284112 w 607097"/>
              <a:gd name="connsiteY63" fmla="*/ 438845 h 606722"/>
              <a:gd name="connsiteX64" fmla="*/ 176777 w 607097"/>
              <a:gd name="connsiteY64" fmla="*/ 331666 h 606722"/>
              <a:gd name="connsiteX65" fmla="*/ 111895 w 607097"/>
              <a:gd name="connsiteY65" fmla="*/ 213379 h 606722"/>
              <a:gd name="connsiteX66" fmla="*/ 121062 w 607097"/>
              <a:gd name="connsiteY66" fmla="*/ 202270 h 606722"/>
              <a:gd name="connsiteX67" fmla="*/ 132188 w 607097"/>
              <a:gd name="connsiteY67" fmla="*/ 211335 h 606722"/>
              <a:gd name="connsiteX68" fmla="*/ 146428 w 607097"/>
              <a:gd name="connsiteY68" fmla="*/ 259325 h 606722"/>
              <a:gd name="connsiteX69" fmla="*/ 158532 w 607097"/>
              <a:gd name="connsiteY69" fmla="*/ 233553 h 606722"/>
              <a:gd name="connsiteX70" fmla="*/ 191907 w 607097"/>
              <a:gd name="connsiteY70" fmla="*/ 202270 h 606722"/>
              <a:gd name="connsiteX71" fmla="*/ 192975 w 607097"/>
              <a:gd name="connsiteY71" fmla="*/ 201204 h 606722"/>
              <a:gd name="connsiteX72" fmla="*/ 200006 w 607097"/>
              <a:gd name="connsiteY72" fmla="*/ 193117 h 606722"/>
              <a:gd name="connsiteX73" fmla="*/ 194933 w 607097"/>
              <a:gd name="connsiteY73" fmla="*/ 170899 h 606722"/>
              <a:gd name="connsiteX74" fmla="*/ 121062 w 607097"/>
              <a:gd name="connsiteY74" fmla="*/ 84961 h 606722"/>
              <a:gd name="connsiteX75" fmla="*/ 103963 w 607097"/>
              <a:gd name="connsiteY75" fmla="*/ 81761 h 606722"/>
              <a:gd name="connsiteX76" fmla="*/ 353980 w 607097"/>
              <a:gd name="connsiteY76" fmla="*/ 30273 h 606722"/>
              <a:gd name="connsiteX77" fmla="*/ 364141 w 607097"/>
              <a:gd name="connsiteY77" fmla="*/ 40422 h 606722"/>
              <a:gd name="connsiteX78" fmla="*/ 364141 w 607097"/>
              <a:gd name="connsiteY78" fmla="*/ 60719 h 606722"/>
              <a:gd name="connsiteX79" fmla="*/ 353980 w 607097"/>
              <a:gd name="connsiteY79" fmla="*/ 70778 h 606722"/>
              <a:gd name="connsiteX80" fmla="*/ 343818 w 607097"/>
              <a:gd name="connsiteY80" fmla="*/ 60719 h 606722"/>
              <a:gd name="connsiteX81" fmla="*/ 343818 w 607097"/>
              <a:gd name="connsiteY81" fmla="*/ 40422 h 606722"/>
              <a:gd name="connsiteX82" fmla="*/ 353980 w 607097"/>
              <a:gd name="connsiteY82" fmla="*/ 30273 h 606722"/>
              <a:gd name="connsiteX83" fmla="*/ 353978 w 607097"/>
              <a:gd name="connsiteY83" fmla="*/ 20263 h 606722"/>
              <a:gd name="connsiteX84" fmla="*/ 174819 w 607097"/>
              <a:gd name="connsiteY84" fmla="*/ 104957 h 606722"/>
              <a:gd name="connsiteX85" fmla="*/ 214246 w 607097"/>
              <a:gd name="connsiteY85" fmla="*/ 160768 h 606722"/>
              <a:gd name="connsiteX86" fmla="*/ 221278 w 607097"/>
              <a:gd name="connsiteY86" fmla="*/ 198182 h 606722"/>
              <a:gd name="connsiteX87" fmla="*/ 215938 w 607097"/>
              <a:gd name="connsiteY87" fmla="*/ 209025 h 606722"/>
              <a:gd name="connsiteX88" fmla="*/ 210152 w 607097"/>
              <a:gd name="connsiteY88" fmla="*/ 215157 h 606722"/>
              <a:gd name="connsiteX89" fmla="*/ 206147 w 607097"/>
              <a:gd name="connsiteY89" fmla="*/ 218445 h 606722"/>
              <a:gd name="connsiteX90" fmla="*/ 176777 w 607097"/>
              <a:gd name="connsiteY90" fmla="*/ 244662 h 606722"/>
              <a:gd name="connsiteX91" fmla="*/ 182829 w 607097"/>
              <a:gd name="connsiteY91" fmla="*/ 308382 h 606722"/>
              <a:gd name="connsiteX92" fmla="*/ 189504 w 607097"/>
              <a:gd name="connsiteY92" fmla="*/ 315136 h 606722"/>
              <a:gd name="connsiteX93" fmla="*/ 189949 w 607097"/>
              <a:gd name="connsiteY93" fmla="*/ 315492 h 606722"/>
              <a:gd name="connsiteX94" fmla="*/ 191640 w 607097"/>
              <a:gd name="connsiteY94" fmla="*/ 317269 h 606722"/>
              <a:gd name="connsiteX95" fmla="*/ 298263 w 607097"/>
              <a:gd name="connsiteY95" fmla="*/ 424714 h 606722"/>
              <a:gd name="connsiteX96" fmla="*/ 362077 w 607097"/>
              <a:gd name="connsiteY96" fmla="*/ 430758 h 606722"/>
              <a:gd name="connsiteX97" fmla="*/ 388422 w 607097"/>
              <a:gd name="connsiteY97" fmla="*/ 401430 h 606722"/>
              <a:gd name="connsiteX98" fmla="*/ 408625 w 607097"/>
              <a:gd name="connsiteY98" fmla="*/ 386233 h 606722"/>
              <a:gd name="connsiteX99" fmla="*/ 419661 w 607097"/>
              <a:gd name="connsiteY99" fmla="*/ 384900 h 606722"/>
              <a:gd name="connsiteX100" fmla="*/ 446094 w 607097"/>
              <a:gd name="connsiteY100" fmla="*/ 392365 h 606722"/>
              <a:gd name="connsiteX101" fmla="*/ 501987 w 607097"/>
              <a:gd name="connsiteY101" fmla="*/ 431646 h 606722"/>
              <a:gd name="connsiteX102" fmla="*/ 586894 w 607097"/>
              <a:gd name="connsiteY102" fmla="*/ 252749 h 606722"/>
              <a:gd name="connsiteX103" fmla="*/ 353978 w 607097"/>
              <a:gd name="connsiteY103" fmla="*/ 20263 h 606722"/>
              <a:gd name="connsiteX104" fmla="*/ 353978 w 607097"/>
              <a:gd name="connsiteY104" fmla="*/ 0 h 606722"/>
              <a:gd name="connsiteX105" fmla="*/ 607097 w 607097"/>
              <a:gd name="connsiteY105" fmla="*/ 252749 h 606722"/>
              <a:gd name="connsiteX106" fmla="*/ 517384 w 607097"/>
              <a:gd name="connsiteY106" fmla="*/ 445421 h 606722"/>
              <a:gd name="connsiteX107" fmla="*/ 540257 w 607097"/>
              <a:gd name="connsiteY107" fmla="*/ 474215 h 606722"/>
              <a:gd name="connsiteX108" fmla="*/ 531179 w 607097"/>
              <a:gd name="connsiteY108" fmla="*/ 532870 h 606722"/>
              <a:gd name="connsiteX109" fmla="*/ 505814 w 607097"/>
              <a:gd name="connsiteY109" fmla="*/ 559176 h 606722"/>
              <a:gd name="connsiteX110" fmla="*/ 401505 w 607097"/>
              <a:gd name="connsiteY110" fmla="*/ 606722 h 606722"/>
              <a:gd name="connsiteX111" fmla="*/ 318556 w 607097"/>
              <a:gd name="connsiteY111" fmla="*/ 582460 h 606722"/>
              <a:gd name="connsiteX112" fmla="*/ 268893 w 607097"/>
              <a:gd name="connsiteY112" fmla="*/ 543979 h 606722"/>
              <a:gd name="connsiteX113" fmla="*/ 61343 w 607097"/>
              <a:gd name="connsiteY113" fmla="*/ 336732 h 606722"/>
              <a:gd name="connsiteX114" fmla="*/ 16753 w 607097"/>
              <a:gd name="connsiteY114" fmla="*/ 275056 h 606722"/>
              <a:gd name="connsiteX115" fmla="*/ 48171 w 607097"/>
              <a:gd name="connsiteY115" fmla="*/ 101135 h 606722"/>
              <a:gd name="connsiteX116" fmla="*/ 73447 w 607097"/>
              <a:gd name="connsiteY116" fmla="*/ 75807 h 606722"/>
              <a:gd name="connsiteX117" fmla="*/ 132188 w 607097"/>
              <a:gd name="connsiteY117" fmla="*/ 66742 h 606722"/>
              <a:gd name="connsiteX118" fmla="*/ 160757 w 607097"/>
              <a:gd name="connsiteY118" fmla="*/ 89315 h 606722"/>
              <a:gd name="connsiteX119" fmla="*/ 353978 w 607097"/>
              <a:gd name="connsiteY11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607097" h="606722">
                <a:moveTo>
                  <a:pt x="482620" y="381169"/>
                </a:moveTo>
                <a:cubicBezTo>
                  <a:pt x="486624" y="377172"/>
                  <a:pt x="492675" y="377172"/>
                  <a:pt x="496768" y="381169"/>
                </a:cubicBezTo>
                <a:lnTo>
                  <a:pt x="510916" y="395381"/>
                </a:lnTo>
                <a:cubicBezTo>
                  <a:pt x="515009" y="399379"/>
                  <a:pt x="515009" y="405419"/>
                  <a:pt x="510916" y="409505"/>
                </a:cubicBezTo>
                <a:cubicBezTo>
                  <a:pt x="509937" y="412525"/>
                  <a:pt x="506912" y="412525"/>
                  <a:pt x="503887" y="412525"/>
                </a:cubicBezTo>
                <a:cubicBezTo>
                  <a:pt x="500861" y="412525"/>
                  <a:pt x="498815" y="411548"/>
                  <a:pt x="496768" y="409505"/>
                </a:cubicBezTo>
                <a:lnTo>
                  <a:pt x="482620" y="395381"/>
                </a:lnTo>
                <a:cubicBezTo>
                  <a:pt x="478527" y="391295"/>
                  <a:pt x="478527" y="385255"/>
                  <a:pt x="482620" y="381169"/>
                </a:cubicBezTo>
                <a:close/>
                <a:moveTo>
                  <a:pt x="546398" y="242745"/>
                </a:moveTo>
                <a:lnTo>
                  <a:pt x="566606" y="242745"/>
                </a:lnTo>
                <a:cubicBezTo>
                  <a:pt x="572659" y="242745"/>
                  <a:pt x="576754" y="246732"/>
                  <a:pt x="576754" y="252756"/>
                </a:cubicBezTo>
                <a:cubicBezTo>
                  <a:pt x="576754" y="258869"/>
                  <a:pt x="572659" y="262856"/>
                  <a:pt x="566606" y="262856"/>
                </a:cubicBezTo>
                <a:lnTo>
                  <a:pt x="546398" y="262856"/>
                </a:lnTo>
                <a:cubicBezTo>
                  <a:pt x="540255" y="262856"/>
                  <a:pt x="536249" y="258869"/>
                  <a:pt x="536249" y="252756"/>
                </a:cubicBezTo>
                <a:cubicBezTo>
                  <a:pt x="536249" y="246732"/>
                  <a:pt x="540255" y="242745"/>
                  <a:pt x="546398" y="242745"/>
                </a:cubicBezTo>
                <a:close/>
                <a:moveTo>
                  <a:pt x="353968" y="101120"/>
                </a:moveTo>
                <a:cubicBezTo>
                  <a:pt x="360022" y="101120"/>
                  <a:pt x="364118" y="105119"/>
                  <a:pt x="364118" y="111251"/>
                </a:cubicBezTo>
                <a:lnTo>
                  <a:pt x="364118" y="242683"/>
                </a:lnTo>
                <a:lnTo>
                  <a:pt x="424838" y="242683"/>
                </a:lnTo>
                <a:cubicBezTo>
                  <a:pt x="430893" y="242683"/>
                  <a:pt x="434988" y="246682"/>
                  <a:pt x="434988" y="252725"/>
                </a:cubicBezTo>
                <a:cubicBezTo>
                  <a:pt x="434988" y="258857"/>
                  <a:pt x="430893" y="262856"/>
                  <a:pt x="424838" y="262856"/>
                </a:cubicBezTo>
                <a:lnTo>
                  <a:pt x="353968" y="262856"/>
                </a:lnTo>
                <a:cubicBezTo>
                  <a:pt x="347825" y="262856"/>
                  <a:pt x="343818" y="258857"/>
                  <a:pt x="343818" y="252725"/>
                </a:cubicBezTo>
                <a:lnTo>
                  <a:pt x="343818" y="111251"/>
                </a:lnTo>
                <a:cubicBezTo>
                  <a:pt x="343818" y="105119"/>
                  <a:pt x="347825" y="101120"/>
                  <a:pt x="353968" y="101120"/>
                </a:cubicBezTo>
                <a:close/>
                <a:moveTo>
                  <a:pt x="496768" y="96101"/>
                </a:moveTo>
                <a:cubicBezTo>
                  <a:pt x="500861" y="92017"/>
                  <a:pt x="506912" y="92017"/>
                  <a:pt x="510916" y="96101"/>
                </a:cubicBezTo>
                <a:cubicBezTo>
                  <a:pt x="515009" y="100096"/>
                  <a:pt x="515009" y="106222"/>
                  <a:pt x="510916" y="110217"/>
                </a:cubicBezTo>
                <a:lnTo>
                  <a:pt x="496768" y="124334"/>
                </a:lnTo>
                <a:cubicBezTo>
                  <a:pt x="494722" y="126376"/>
                  <a:pt x="492675" y="127441"/>
                  <a:pt x="489650" y="127441"/>
                </a:cubicBezTo>
                <a:cubicBezTo>
                  <a:pt x="486624" y="127441"/>
                  <a:pt x="484578" y="126376"/>
                  <a:pt x="482620" y="124334"/>
                </a:cubicBezTo>
                <a:cubicBezTo>
                  <a:pt x="478527" y="120338"/>
                  <a:pt x="478527" y="114301"/>
                  <a:pt x="482620" y="110217"/>
                </a:cubicBezTo>
                <a:close/>
                <a:moveTo>
                  <a:pt x="196955" y="96101"/>
                </a:moveTo>
                <a:cubicBezTo>
                  <a:pt x="201050" y="92017"/>
                  <a:pt x="207104" y="92017"/>
                  <a:pt x="211110" y="96101"/>
                </a:cubicBezTo>
                <a:lnTo>
                  <a:pt x="225355" y="110217"/>
                </a:lnTo>
                <a:cubicBezTo>
                  <a:pt x="229361" y="114301"/>
                  <a:pt x="229361" y="120338"/>
                  <a:pt x="225355" y="124334"/>
                </a:cubicBezTo>
                <a:cubicBezTo>
                  <a:pt x="223307" y="126376"/>
                  <a:pt x="220280" y="127441"/>
                  <a:pt x="218233" y="127441"/>
                </a:cubicBezTo>
                <a:cubicBezTo>
                  <a:pt x="215206" y="127441"/>
                  <a:pt x="213158" y="126376"/>
                  <a:pt x="211110" y="124334"/>
                </a:cubicBezTo>
                <a:lnTo>
                  <a:pt x="196955" y="110217"/>
                </a:lnTo>
                <a:cubicBezTo>
                  <a:pt x="192949" y="106222"/>
                  <a:pt x="192949" y="100096"/>
                  <a:pt x="196955" y="96101"/>
                </a:cubicBezTo>
                <a:close/>
                <a:moveTo>
                  <a:pt x="103963" y="81761"/>
                </a:moveTo>
                <a:cubicBezTo>
                  <a:pt x="98011" y="82650"/>
                  <a:pt x="92182" y="85449"/>
                  <a:pt x="87598" y="90026"/>
                </a:cubicBezTo>
                <a:lnTo>
                  <a:pt x="62322" y="115266"/>
                </a:lnTo>
                <a:cubicBezTo>
                  <a:pt x="17732" y="159790"/>
                  <a:pt x="8654" y="209291"/>
                  <a:pt x="34998" y="265902"/>
                </a:cubicBezTo>
                <a:cubicBezTo>
                  <a:pt x="44077" y="285187"/>
                  <a:pt x="57249" y="304383"/>
                  <a:pt x="75494" y="322602"/>
                </a:cubicBezTo>
                <a:lnTo>
                  <a:pt x="283044" y="530826"/>
                </a:lnTo>
                <a:cubicBezTo>
                  <a:pt x="297284" y="545046"/>
                  <a:pt x="312415" y="557132"/>
                  <a:pt x="327634" y="565219"/>
                </a:cubicBezTo>
                <a:cubicBezTo>
                  <a:pt x="389401" y="599612"/>
                  <a:pt x="443068" y="592503"/>
                  <a:pt x="490684" y="545046"/>
                </a:cubicBezTo>
                <a:lnTo>
                  <a:pt x="515960" y="519717"/>
                </a:lnTo>
                <a:cubicBezTo>
                  <a:pt x="525127" y="510653"/>
                  <a:pt x="527085" y="496433"/>
                  <a:pt x="521033" y="485324"/>
                </a:cubicBezTo>
                <a:cubicBezTo>
                  <a:pt x="503856" y="451998"/>
                  <a:pt x="434969" y="411561"/>
                  <a:pt x="434969" y="411561"/>
                </a:cubicBezTo>
                <a:cubicBezTo>
                  <a:pt x="427582" y="407829"/>
                  <a:pt x="420195" y="405874"/>
                  <a:pt x="414321" y="406318"/>
                </a:cubicBezTo>
                <a:cubicBezTo>
                  <a:pt x="414143" y="406318"/>
                  <a:pt x="413876" y="406407"/>
                  <a:pt x="413698" y="406496"/>
                </a:cubicBezTo>
                <a:cubicBezTo>
                  <a:pt x="409604" y="407473"/>
                  <a:pt x="407646" y="409517"/>
                  <a:pt x="405599" y="413605"/>
                </a:cubicBezTo>
                <a:lnTo>
                  <a:pt x="404620" y="414583"/>
                </a:lnTo>
                <a:cubicBezTo>
                  <a:pt x="397500" y="423648"/>
                  <a:pt x="380323" y="443910"/>
                  <a:pt x="373202" y="447910"/>
                </a:cubicBezTo>
                <a:cubicBezTo>
                  <a:pt x="365548" y="453242"/>
                  <a:pt x="357538" y="457152"/>
                  <a:pt x="349528" y="459552"/>
                </a:cubicBezTo>
                <a:cubicBezTo>
                  <a:pt x="365281" y="466839"/>
                  <a:pt x="384328" y="473149"/>
                  <a:pt x="405599" y="475282"/>
                </a:cubicBezTo>
                <a:cubicBezTo>
                  <a:pt x="410672" y="476259"/>
                  <a:pt x="414677" y="480259"/>
                  <a:pt x="414677" y="486391"/>
                </a:cubicBezTo>
                <a:cubicBezTo>
                  <a:pt x="413698" y="491456"/>
                  <a:pt x="409604" y="495456"/>
                  <a:pt x="404620" y="495456"/>
                </a:cubicBezTo>
                <a:lnTo>
                  <a:pt x="403552" y="495456"/>
                </a:lnTo>
                <a:cubicBezTo>
                  <a:pt x="333686" y="488346"/>
                  <a:pt x="288117" y="443910"/>
                  <a:pt x="287138" y="441866"/>
                </a:cubicBezTo>
                <a:cubicBezTo>
                  <a:pt x="286871" y="441600"/>
                  <a:pt x="286604" y="441333"/>
                  <a:pt x="286426" y="441067"/>
                </a:cubicBezTo>
                <a:cubicBezTo>
                  <a:pt x="285625" y="440356"/>
                  <a:pt x="284824" y="439645"/>
                  <a:pt x="284112" y="438845"/>
                </a:cubicBezTo>
                <a:lnTo>
                  <a:pt x="176777" y="331666"/>
                </a:lnTo>
                <a:cubicBezTo>
                  <a:pt x="174730" y="329622"/>
                  <a:pt x="119015" y="284120"/>
                  <a:pt x="111895" y="213379"/>
                </a:cubicBezTo>
                <a:cubicBezTo>
                  <a:pt x="110916" y="208314"/>
                  <a:pt x="115010" y="203248"/>
                  <a:pt x="121062" y="202270"/>
                </a:cubicBezTo>
                <a:cubicBezTo>
                  <a:pt x="127115" y="201204"/>
                  <a:pt x="131209" y="205292"/>
                  <a:pt x="132188" y="211335"/>
                </a:cubicBezTo>
                <a:cubicBezTo>
                  <a:pt x="133968" y="229109"/>
                  <a:pt x="139486" y="245284"/>
                  <a:pt x="146428" y="259325"/>
                </a:cubicBezTo>
                <a:cubicBezTo>
                  <a:pt x="148653" y="250794"/>
                  <a:pt x="152658" y="242262"/>
                  <a:pt x="158532" y="233553"/>
                </a:cubicBezTo>
                <a:cubicBezTo>
                  <a:pt x="162537" y="227510"/>
                  <a:pt x="183808" y="210358"/>
                  <a:pt x="191907" y="202270"/>
                </a:cubicBezTo>
                <a:lnTo>
                  <a:pt x="192975" y="201204"/>
                </a:lnTo>
                <a:cubicBezTo>
                  <a:pt x="196980" y="199160"/>
                  <a:pt x="199027" y="196138"/>
                  <a:pt x="200006" y="193117"/>
                </a:cubicBezTo>
                <a:cubicBezTo>
                  <a:pt x="202053" y="187073"/>
                  <a:pt x="200006" y="178986"/>
                  <a:pt x="194933" y="170899"/>
                </a:cubicBezTo>
                <a:cubicBezTo>
                  <a:pt x="194933" y="169832"/>
                  <a:pt x="154438" y="102113"/>
                  <a:pt x="121062" y="84961"/>
                </a:cubicBezTo>
                <a:cubicBezTo>
                  <a:pt x="115989" y="81895"/>
                  <a:pt x="109915" y="80873"/>
                  <a:pt x="103963" y="81761"/>
                </a:cubicBezTo>
                <a:close/>
                <a:moveTo>
                  <a:pt x="353980" y="30273"/>
                </a:moveTo>
                <a:cubicBezTo>
                  <a:pt x="360041" y="30273"/>
                  <a:pt x="364141" y="34368"/>
                  <a:pt x="364141" y="40422"/>
                </a:cubicBezTo>
                <a:lnTo>
                  <a:pt x="364141" y="60719"/>
                </a:lnTo>
                <a:cubicBezTo>
                  <a:pt x="364141" y="66772"/>
                  <a:pt x="360041" y="70778"/>
                  <a:pt x="353980" y="70778"/>
                </a:cubicBezTo>
                <a:cubicBezTo>
                  <a:pt x="347829" y="70778"/>
                  <a:pt x="343818" y="66772"/>
                  <a:pt x="343818" y="60719"/>
                </a:cubicBezTo>
                <a:lnTo>
                  <a:pt x="343818" y="40422"/>
                </a:lnTo>
                <a:cubicBezTo>
                  <a:pt x="343818" y="34368"/>
                  <a:pt x="347829" y="30273"/>
                  <a:pt x="353980" y="30273"/>
                </a:cubicBezTo>
                <a:close/>
                <a:moveTo>
                  <a:pt x="353978" y="20263"/>
                </a:moveTo>
                <a:cubicBezTo>
                  <a:pt x="284112" y="20263"/>
                  <a:pt x="219409" y="50479"/>
                  <a:pt x="174819" y="104957"/>
                </a:cubicBezTo>
                <a:cubicBezTo>
                  <a:pt x="196446" y="130818"/>
                  <a:pt x="212911" y="158901"/>
                  <a:pt x="214246" y="160768"/>
                </a:cubicBezTo>
                <a:cubicBezTo>
                  <a:pt x="221278" y="173920"/>
                  <a:pt x="224304" y="187073"/>
                  <a:pt x="221278" y="198182"/>
                </a:cubicBezTo>
                <a:cubicBezTo>
                  <a:pt x="220299" y="202093"/>
                  <a:pt x="218430" y="205736"/>
                  <a:pt x="215938" y="209025"/>
                </a:cubicBezTo>
                <a:cubicBezTo>
                  <a:pt x="214336" y="211335"/>
                  <a:pt x="212466" y="213379"/>
                  <a:pt x="210152" y="215157"/>
                </a:cubicBezTo>
                <a:cubicBezTo>
                  <a:pt x="208906" y="216312"/>
                  <a:pt x="207482" y="217378"/>
                  <a:pt x="206147" y="218445"/>
                </a:cubicBezTo>
                <a:cubicBezTo>
                  <a:pt x="193954" y="228487"/>
                  <a:pt x="179803" y="241640"/>
                  <a:pt x="176777" y="244662"/>
                </a:cubicBezTo>
                <a:cubicBezTo>
                  <a:pt x="160579" y="269012"/>
                  <a:pt x="162537" y="287142"/>
                  <a:pt x="182829" y="308382"/>
                </a:cubicBezTo>
                <a:lnTo>
                  <a:pt x="189504" y="315136"/>
                </a:lnTo>
                <a:cubicBezTo>
                  <a:pt x="189771" y="315403"/>
                  <a:pt x="189949" y="315492"/>
                  <a:pt x="189949" y="315492"/>
                </a:cubicBezTo>
                <a:cubicBezTo>
                  <a:pt x="190572" y="316025"/>
                  <a:pt x="191195" y="316647"/>
                  <a:pt x="191640" y="317269"/>
                </a:cubicBezTo>
                <a:lnTo>
                  <a:pt x="298263" y="424714"/>
                </a:lnTo>
                <a:cubicBezTo>
                  <a:pt x="318556" y="444888"/>
                  <a:pt x="337780" y="446932"/>
                  <a:pt x="362077" y="430758"/>
                </a:cubicBezTo>
                <a:cubicBezTo>
                  <a:pt x="365103" y="428713"/>
                  <a:pt x="378275" y="414583"/>
                  <a:pt x="388422" y="401430"/>
                </a:cubicBezTo>
                <a:cubicBezTo>
                  <a:pt x="393406" y="393343"/>
                  <a:pt x="400526" y="388277"/>
                  <a:pt x="408625" y="386233"/>
                </a:cubicBezTo>
                <a:cubicBezTo>
                  <a:pt x="412096" y="385344"/>
                  <a:pt x="415834" y="384900"/>
                  <a:pt x="419661" y="384900"/>
                </a:cubicBezTo>
                <a:cubicBezTo>
                  <a:pt x="428294" y="384989"/>
                  <a:pt x="437728" y="387477"/>
                  <a:pt x="446094" y="392365"/>
                </a:cubicBezTo>
                <a:cubicBezTo>
                  <a:pt x="447963" y="393609"/>
                  <a:pt x="476088" y="410051"/>
                  <a:pt x="501987" y="431646"/>
                </a:cubicBezTo>
                <a:cubicBezTo>
                  <a:pt x="556545" y="387122"/>
                  <a:pt x="586894" y="322513"/>
                  <a:pt x="586894" y="252749"/>
                </a:cubicBezTo>
                <a:cubicBezTo>
                  <a:pt x="586894" y="124330"/>
                  <a:pt x="482585" y="20263"/>
                  <a:pt x="353978" y="20263"/>
                </a:cubicBezTo>
                <a:close/>
                <a:moveTo>
                  <a:pt x="353978" y="0"/>
                </a:moveTo>
                <a:cubicBezTo>
                  <a:pt x="493710" y="0"/>
                  <a:pt x="607097" y="113222"/>
                  <a:pt x="607097" y="252749"/>
                </a:cubicBezTo>
                <a:cubicBezTo>
                  <a:pt x="607097" y="327578"/>
                  <a:pt x="574345" y="397786"/>
                  <a:pt x="517384" y="445421"/>
                </a:cubicBezTo>
                <a:cubicBezTo>
                  <a:pt x="526907" y="454753"/>
                  <a:pt x="535184" y="464617"/>
                  <a:pt x="540257" y="474215"/>
                </a:cubicBezTo>
                <a:cubicBezTo>
                  <a:pt x="550403" y="493412"/>
                  <a:pt x="547377" y="517673"/>
                  <a:pt x="531179" y="532870"/>
                </a:cubicBezTo>
                <a:lnTo>
                  <a:pt x="505814" y="559176"/>
                </a:lnTo>
                <a:cubicBezTo>
                  <a:pt x="474486" y="590548"/>
                  <a:pt x="438974" y="606722"/>
                  <a:pt x="401505" y="606722"/>
                </a:cubicBezTo>
                <a:cubicBezTo>
                  <a:pt x="375249" y="606722"/>
                  <a:pt x="346858" y="598635"/>
                  <a:pt x="318556" y="582460"/>
                </a:cubicBezTo>
                <a:cubicBezTo>
                  <a:pt x="301289" y="573307"/>
                  <a:pt x="285091" y="560154"/>
                  <a:pt x="268893" y="543979"/>
                </a:cubicBezTo>
                <a:lnTo>
                  <a:pt x="61343" y="336732"/>
                </a:lnTo>
                <a:cubicBezTo>
                  <a:pt x="42030" y="317536"/>
                  <a:pt x="26899" y="296296"/>
                  <a:pt x="16753" y="275056"/>
                </a:cubicBezTo>
                <a:cubicBezTo>
                  <a:pt x="-13596" y="210358"/>
                  <a:pt x="-2471" y="151703"/>
                  <a:pt x="48171" y="101135"/>
                </a:cubicBezTo>
                <a:lnTo>
                  <a:pt x="73447" y="75807"/>
                </a:lnTo>
                <a:cubicBezTo>
                  <a:pt x="88666" y="60699"/>
                  <a:pt x="112963" y="56611"/>
                  <a:pt x="132188" y="66742"/>
                </a:cubicBezTo>
                <a:cubicBezTo>
                  <a:pt x="141711" y="71719"/>
                  <a:pt x="151412" y="79895"/>
                  <a:pt x="160757" y="89315"/>
                </a:cubicBezTo>
                <a:cubicBezTo>
                  <a:pt x="209173" y="32971"/>
                  <a:pt x="278772" y="0"/>
                  <a:pt x="353978" y="0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îšļidê">
            <a:extLst>
              <a:ext uri="{FF2B5EF4-FFF2-40B4-BE49-F238E27FC236}">
                <a16:creationId xmlns:a16="http://schemas.microsoft.com/office/drawing/2014/main" id="{92E2B1E7-71BA-4649-A51B-A5285CD4AD4D}"/>
              </a:ext>
            </a:extLst>
          </p:cNvPr>
          <p:cNvSpPr/>
          <p:nvPr/>
        </p:nvSpPr>
        <p:spPr>
          <a:xfrm>
            <a:off x="5555940" y="3114502"/>
            <a:ext cx="808632" cy="80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/>
          </a:solidFill>
          <a:ln w="63500" cap="flat">
            <a:solidFill>
              <a:schemeClr val="accent1"/>
            </a:solidFill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ïṡ1íḍé">
            <a:extLst>
              <a:ext uri="{FF2B5EF4-FFF2-40B4-BE49-F238E27FC236}">
                <a16:creationId xmlns:a16="http://schemas.microsoft.com/office/drawing/2014/main" id="{CE69D0CB-4C37-4B71-AAFA-CFEDF1F96A4C}"/>
              </a:ext>
            </a:extLst>
          </p:cNvPr>
          <p:cNvSpPr/>
          <p:nvPr/>
        </p:nvSpPr>
        <p:spPr>
          <a:xfrm>
            <a:off x="5694259" y="3252821"/>
            <a:ext cx="531993" cy="531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išlíḓê">
            <a:extLst>
              <a:ext uri="{FF2B5EF4-FFF2-40B4-BE49-F238E27FC236}">
                <a16:creationId xmlns:a16="http://schemas.microsoft.com/office/drawing/2014/main" id="{73E1A837-1AAA-49C3-A4F1-4C958180E293}"/>
              </a:ext>
            </a:extLst>
          </p:cNvPr>
          <p:cNvSpPr/>
          <p:nvPr/>
        </p:nvSpPr>
        <p:spPr>
          <a:xfrm>
            <a:off x="5812435" y="3361181"/>
            <a:ext cx="305623" cy="305161"/>
          </a:xfrm>
          <a:custGeom>
            <a:avLst/>
            <a:gdLst>
              <a:gd name="connsiteX0" fmla="*/ 303775 w 607639"/>
              <a:gd name="connsiteY0" fmla="*/ 525007 h 606722"/>
              <a:gd name="connsiteX1" fmla="*/ 315710 w 607639"/>
              <a:gd name="connsiteY1" fmla="*/ 536902 h 606722"/>
              <a:gd name="connsiteX2" fmla="*/ 315710 w 607639"/>
              <a:gd name="connsiteY2" fmla="*/ 552347 h 606722"/>
              <a:gd name="connsiteX3" fmla="*/ 303775 w 607639"/>
              <a:gd name="connsiteY3" fmla="*/ 564241 h 606722"/>
              <a:gd name="connsiteX4" fmla="*/ 291929 w 607639"/>
              <a:gd name="connsiteY4" fmla="*/ 552347 h 606722"/>
              <a:gd name="connsiteX5" fmla="*/ 291929 w 607639"/>
              <a:gd name="connsiteY5" fmla="*/ 536902 h 606722"/>
              <a:gd name="connsiteX6" fmla="*/ 303775 w 607639"/>
              <a:gd name="connsiteY6" fmla="*/ 525007 h 606722"/>
              <a:gd name="connsiteX7" fmla="*/ 429885 w 607639"/>
              <a:gd name="connsiteY7" fmla="*/ 509483 h 606722"/>
              <a:gd name="connsiteX8" fmla="*/ 441811 w 607639"/>
              <a:gd name="connsiteY8" fmla="*/ 521409 h 606722"/>
              <a:gd name="connsiteX9" fmla="*/ 429885 w 607639"/>
              <a:gd name="connsiteY9" fmla="*/ 533335 h 606722"/>
              <a:gd name="connsiteX10" fmla="*/ 417959 w 607639"/>
              <a:gd name="connsiteY10" fmla="*/ 521409 h 606722"/>
              <a:gd name="connsiteX11" fmla="*/ 429885 w 607639"/>
              <a:gd name="connsiteY11" fmla="*/ 509483 h 606722"/>
              <a:gd name="connsiteX12" fmla="*/ 177720 w 607639"/>
              <a:gd name="connsiteY12" fmla="*/ 509483 h 606722"/>
              <a:gd name="connsiteX13" fmla="*/ 189611 w 607639"/>
              <a:gd name="connsiteY13" fmla="*/ 521409 h 606722"/>
              <a:gd name="connsiteX14" fmla="*/ 177720 w 607639"/>
              <a:gd name="connsiteY14" fmla="*/ 533335 h 606722"/>
              <a:gd name="connsiteX15" fmla="*/ 165829 w 607639"/>
              <a:gd name="connsiteY15" fmla="*/ 521409 h 606722"/>
              <a:gd name="connsiteX16" fmla="*/ 177720 w 607639"/>
              <a:gd name="connsiteY16" fmla="*/ 509483 h 606722"/>
              <a:gd name="connsiteX17" fmla="*/ 522185 w 607639"/>
              <a:gd name="connsiteY17" fmla="*/ 417324 h 606722"/>
              <a:gd name="connsiteX18" fmla="*/ 534111 w 607639"/>
              <a:gd name="connsiteY18" fmla="*/ 429250 h 606722"/>
              <a:gd name="connsiteX19" fmla="*/ 522185 w 607639"/>
              <a:gd name="connsiteY19" fmla="*/ 441176 h 606722"/>
              <a:gd name="connsiteX20" fmla="*/ 510259 w 607639"/>
              <a:gd name="connsiteY20" fmla="*/ 429250 h 606722"/>
              <a:gd name="connsiteX21" fmla="*/ 522185 w 607639"/>
              <a:gd name="connsiteY21" fmla="*/ 417324 h 606722"/>
              <a:gd name="connsiteX22" fmla="*/ 85420 w 607639"/>
              <a:gd name="connsiteY22" fmla="*/ 417324 h 606722"/>
              <a:gd name="connsiteX23" fmla="*/ 97311 w 607639"/>
              <a:gd name="connsiteY23" fmla="*/ 429250 h 606722"/>
              <a:gd name="connsiteX24" fmla="*/ 85420 w 607639"/>
              <a:gd name="connsiteY24" fmla="*/ 441176 h 606722"/>
              <a:gd name="connsiteX25" fmla="*/ 73529 w 607639"/>
              <a:gd name="connsiteY25" fmla="*/ 429250 h 606722"/>
              <a:gd name="connsiteX26" fmla="*/ 85420 w 607639"/>
              <a:gd name="connsiteY26" fmla="*/ 417324 h 606722"/>
              <a:gd name="connsiteX27" fmla="*/ 537643 w 607639"/>
              <a:gd name="connsiteY27" fmla="*/ 291506 h 606722"/>
              <a:gd name="connsiteX28" fmla="*/ 555628 w 607639"/>
              <a:gd name="connsiteY28" fmla="*/ 291506 h 606722"/>
              <a:gd name="connsiteX29" fmla="*/ 567558 w 607639"/>
              <a:gd name="connsiteY29" fmla="*/ 303316 h 606722"/>
              <a:gd name="connsiteX30" fmla="*/ 555628 w 607639"/>
              <a:gd name="connsiteY30" fmla="*/ 315216 h 606722"/>
              <a:gd name="connsiteX31" fmla="*/ 537643 w 607639"/>
              <a:gd name="connsiteY31" fmla="*/ 315216 h 606722"/>
              <a:gd name="connsiteX32" fmla="*/ 525713 w 607639"/>
              <a:gd name="connsiteY32" fmla="*/ 303316 h 606722"/>
              <a:gd name="connsiteX33" fmla="*/ 537643 w 607639"/>
              <a:gd name="connsiteY33" fmla="*/ 291506 h 606722"/>
              <a:gd name="connsiteX34" fmla="*/ 51991 w 607639"/>
              <a:gd name="connsiteY34" fmla="*/ 291506 h 606722"/>
              <a:gd name="connsiteX35" fmla="*/ 69946 w 607639"/>
              <a:gd name="connsiteY35" fmla="*/ 291506 h 606722"/>
              <a:gd name="connsiteX36" fmla="*/ 81856 w 607639"/>
              <a:gd name="connsiteY36" fmla="*/ 303316 h 606722"/>
              <a:gd name="connsiteX37" fmla="*/ 69946 w 607639"/>
              <a:gd name="connsiteY37" fmla="*/ 315216 h 606722"/>
              <a:gd name="connsiteX38" fmla="*/ 51991 w 607639"/>
              <a:gd name="connsiteY38" fmla="*/ 315216 h 606722"/>
              <a:gd name="connsiteX39" fmla="*/ 40081 w 607639"/>
              <a:gd name="connsiteY39" fmla="*/ 303316 h 606722"/>
              <a:gd name="connsiteX40" fmla="*/ 51991 w 607639"/>
              <a:gd name="connsiteY40" fmla="*/ 291506 h 606722"/>
              <a:gd name="connsiteX41" fmla="*/ 412608 w 607639"/>
              <a:gd name="connsiteY41" fmla="*/ 222096 h 606722"/>
              <a:gd name="connsiteX42" fmla="*/ 345491 w 607639"/>
              <a:gd name="connsiteY42" fmla="*/ 334245 h 606722"/>
              <a:gd name="connsiteX43" fmla="*/ 412608 w 607639"/>
              <a:gd name="connsiteY43" fmla="*/ 334245 h 606722"/>
              <a:gd name="connsiteX44" fmla="*/ 427651 w 607639"/>
              <a:gd name="connsiteY44" fmla="*/ 167533 h 606722"/>
              <a:gd name="connsiteX45" fmla="*/ 436375 w 607639"/>
              <a:gd name="connsiteY45" fmla="*/ 178996 h 606722"/>
              <a:gd name="connsiteX46" fmla="*/ 436375 w 607639"/>
              <a:gd name="connsiteY46" fmla="*/ 334245 h 606722"/>
              <a:gd name="connsiteX47" fmla="*/ 469399 w 607639"/>
              <a:gd name="connsiteY47" fmla="*/ 334245 h 606722"/>
              <a:gd name="connsiteX48" fmla="*/ 481327 w 607639"/>
              <a:gd name="connsiteY48" fmla="*/ 346153 h 606722"/>
              <a:gd name="connsiteX49" fmla="*/ 469399 w 607639"/>
              <a:gd name="connsiteY49" fmla="*/ 357973 h 606722"/>
              <a:gd name="connsiteX50" fmla="*/ 436375 w 607639"/>
              <a:gd name="connsiteY50" fmla="*/ 357973 h 606722"/>
              <a:gd name="connsiteX51" fmla="*/ 436375 w 607639"/>
              <a:gd name="connsiteY51" fmla="*/ 427733 h 606722"/>
              <a:gd name="connsiteX52" fmla="*/ 424536 w 607639"/>
              <a:gd name="connsiteY52" fmla="*/ 439552 h 606722"/>
              <a:gd name="connsiteX53" fmla="*/ 412608 w 607639"/>
              <a:gd name="connsiteY53" fmla="*/ 427733 h 606722"/>
              <a:gd name="connsiteX54" fmla="*/ 412608 w 607639"/>
              <a:gd name="connsiteY54" fmla="*/ 357973 h 606722"/>
              <a:gd name="connsiteX55" fmla="*/ 324573 w 607639"/>
              <a:gd name="connsiteY55" fmla="*/ 357973 h 606722"/>
              <a:gd name="connsiteX56" fmla="*/ 314158 w 607639"/>
              <a:gd name="connsiteY56" fmla="*/ 352019 h 606722"/>
              <a:gd name="connsiteX57" fmla="*/ 314336 w 607639"/>
              <a:gd name="connsiteY57" fmla="*/ 340022 h 606722"/>
              <a:gd name="connsiteX58" fmla="*/ 414299 w 607639"/>
              <a:gd name="connsiteY58" fmla="*/ 172953 h 606722"/>
              <a:gd name="connsiteX59" fmla="*/ 427651 w 607639"/>
              <a:gd name="connsiteY59" fmla="*/ 167533 h 606722"/>
              <a:gd name="connsiteX60" fmla="*/ 216270 w 607639"/>
              <a:gd name="connsiteY60" fmla="*/ 167099 h 606722"/>
              <a:gd name="connsiteX61" fmla="*/ 290518 w 607639"/>
              <a:gd name="connsiteY61" fmla="*/ 241210 h 606722"/>
              <a:gd name="connsiteX62" fmla="*/ 242978 w 607639"/>
              <a:gd name="connsiteY62" fmla="*/ 355754 h 606722"/>
              <a:gd name="connsiteX63" fmla="*/ 182707 w 607639"/>
              <a:gd name="connsiteY63" fmla="*/ 415825 h 606722"/>
              <a:gd name="connsiteX64" fmla="*/ 278588 w 607639"/>
              <a:gd name="connsiteY64" fmla="*/ 415825 h 606722"/>
              <a:gd name="connsiteX65" fmla="*/ 290518 w 607639"/>
              <a:gd name="connsiteY65" fmla="*/ 427734 h 606722"/>
              <a:gd name="connsiteX66" fmla="*/ 278588 w 607639"/>
              <a:gd name="connsiteY66" fmla="*/ 439552 h 606722"/>
              <a:gd name="connsiteX67" fmla="*/ 154040 w 607639"/>
              <a:gd name="connsiteY67" fmla="*/ 439552 h 606722"/>
              <a:gd name="connsiteX68" fmla="*/ 143001 w 607639"/>
              <a:gd name="connsiteY68" fmla="*/ 432265 h 606722"/>
              <a:gd name="connsiteX69" fmla="*/ 145582 w 607639"/>
              <a:gd name="connsiteY69" fmla="*/ 419292 h 606722"/>
              <a:gd name="connsiteX70" fmla="*/ 226152 w 607639"/>
              <a:gd name="connsiteY70" fmla="*/ 338959 h 606722"/>
              <a:gd name="connsiteX71" fmla="*/ 266659 w 607639"/>
              <a:gd name="connsiteY71" fmla="*/ 241210 h 606722"/>
              <a:gd name="connsiteX72" fmla="*/ 216270 w 607639"/>
              <a:gd name="connsiteY72" fmla="*/ 190914 h 606722"/>
              <a:gd name="connsiteX73" fmla="*/ 165880 w 607639"/>
              <a:gd name="connsiteY73" fmla="*/ 241210 h 606722"/>
              <a:gd name="connsiteX74" fmla="*/ 154040 w 607639"/>
              <a:gd name="connsiteY74" fmla="*/ 253029 h 606722"/>
              <a:gd name="connsiteX75" fmla="*/ 142110 w 607639"/>
              <a:gd name="connsiteY75" fmla="*/ 241210 h 606722"/>
              <a:gd name="connsiteX76" fmla="*/ 216270 w 607639"/>
              <a:gd name="connsiteY76" fmla="*/ 167099 h 606722"/>
              <a:gd name="connsiteX77" fmla="*/ 522185 w 607639"/>
              <a:gd name="connsiteY77" fmla="*/ 165547 h 606722"/>
              <a:gd name="connsiteX78" fmla="*/ 534111 w 607639"/>
              <a:gd name="connsiteY78" fmla="*/ 177438 h 606722"/>
              <a:gd name="connsiteX79" fmla="*/ 522185 w 607639"/>
              <a:gd name="connsiteY79" fmla="*/ 189329 h 606722"/>
              <a:gd name="connsiteX80" fmla="*/ 510259 w 607639"/>
              <a:gd name="connsiteY80" fmla="*/ 177438 h 606722"/>
              <a:gd name="connsiteX81" fmla="*/ 522185 w 607639"/>
              <a:gd name="connsiteY81" fmla="*/ 165547 h 606722"/>
              <a:gd name="connsiteX82" fmla="*/ 85420 w 607639"/>
              <a:gd name="connsiteY82" fmla="*/ 165547 h 606722"/>
              <a:gd name="connsiteX83" fmla="*/ 97311 w 607639"/>
              <a:gd name="connsiteY83" fmla="*/ 177438 h 606722"/>
              <a:gd name="connsiteX84" fmla="*/ 85420 w 607639"/>
              <a:gd name="connsiteY84" fmla="*/ 189329 h 606722"/>
              <a:gd name="connsiteX85" fmla="*/ 73529 w 607639"/>
              <a:gd name="connsiteY85" fmla="*/ 177438 h 606722"/>
              <a:gd name="connsiteX86" fmla="*/ 85420 w 607639"/>
              <a:gd name="connsiteY86" fmla="*/ 165547 h 606722"/>
              <a:gd name="connsiteX87" fmla="*/ 429885 w 607639"/>
              <a:gd name="connsiteY87" fmla="*/ 73388 h 606722"/>
              <a:gd name="connsiteX88" fmla="*/ 441811 w 607639"/>
              <a:gd name="connsiteY88" fmla="*/ 85279 h 606722"/>
              <a:gd name="connsiteX89" fmla="*/ 429885 w 607639"/>
              <a:gd name="connsiteY89" fmla="*/ 97170 h 606722"/>
              <a:gd name="connsiteX90" fmla="*/ 417959 w 607639"/>
              <a:gd name="connsiteY90" fmla="*/ 85279 h 606722"/>
              <a:gd name="connsiteX91" fmla="*/ 429885 w 607639"/>
              <a:gd name="connsiteY91" fmla="*/ 73388 h 606722"/>
              <a:gd name="connsiteX92" fmla="*/ 177720 w 607639"/>
              <a:gd name="connsiteY92" fmla="*/ 73388 h 606722"/>
              <a:gd name="connsiteX93" fmla="*/ 189611 w 607639"/>
              <a:gd name="connsiteY93" fmla="*/ 85279 h 606722"/>
              <a:gd name="connsiteX94" fmla="*/ 177720 w 607639"/>
              <a:gd name="connsiteY94" fmla="*/ 97170 h 606722"/>
              <a:gd name="connsiteX95" fmla="*/ 165829 w 607639"/>
              <a:gd name="connsiteY95" fmla="*/ 85279 h 606722"/>
              <a:gd name="connsiteX96" fmla="*/ 177720 w 607639"/>
              <a:gd name="connsiteY96" fmla="*/ 73388 h 606722"/>
              <a:gd name="connsiteX97" fmla="*/ 303775 w 607639"/>
              <a:gd name="connsiteY97" fmla="*/ 42480 h 606722"/>
              <a:gd name="connsiteX98" fmla="*/ 315710 w 607639"/>
              <a:gd name="connsiteY98" fmla="*/ 54396 h 606722"/>
              <a:gd name="connsiteX99" fmla="*/ 315710 w 607639"/>
              <a:gd name="connsiteY99" fmla="*/ 69869 h 606722"/>
              <a:gd name="connsiteX100" fmla="*/ 303775 w 607639"/>
              <a:gd name="connsiteY100" fmla="*/ 81785 h 606722"/>
              <a:gd name="connsiteX101" fmla="*/ 291929 w 607639"/>
              <a:gd name="connsiteY101" fmla="*/ 69869 h 606722"/>
              <a:gd name="connsiteX102" fmla="*/ 291929 w 607639"/>
              <a:gd name="connsiteY102" fmla="*/ 54396 h 606722"/>
              <a:gd name="connsiteX103" fmla="*/ 303775 w 607639"/>
              <a:gd name="connsiteY103" fmla="*/ 42480 h 606722"/>
              <a:gd name="connsiteX104" fmla="*/ 303775 w 607639"/>
              <a:gd name="connsiteY104" fmla="*/ 0 h 606722"/>
              <a:gd name="connsiteX105" fmla="*/ 537058 w 607639"/>
              <a:gd name="connsiteY105" fmla="*/ 108956 h 606722"/>
              <a:gd name="connsiteX106" fmla="*/ 537058 w 607639"/>
              <a:gd name="connsiteY106" fmla="*/ 93048 h 606722"/>
              <a:gd name="connsiteX107" fmla="*/ 548895 w 607639"/>
              <a:gd name="connsiteY107" fmla="*/ 81139 h 606722"/>
              <a:gd name="connsiteX108" fmla="*/ 560822 w 607639"/>
              <a:gd name="connsiteY108" fmla="*/ 93048 h 606722"/>
              <a:gd name="connsiteX109" fmla="*/ 560822 w 607639"/>
              <a:gd name="connsiteY109" fmla="*/ 138994 h 606722"/>
              <a:gd name="connsiteX110" fmla="*/ 548895 w 607639"/>
              <a:gd name="connsiteY110" fmla="*/ 150903 h 606722"/>
              <a:gd name="connsiteX111" fmla="*/ 502880 w 607639"/>
              <a:gd name="connsiteY111" fmla="*/ 150903 h 606722"/>
              <a:gd name="connsiteX112" fmla="*/ 490953 w 607639"/>
              <a:gd name="connsiteY112" fmla="*/ 138994 h 606722"/>
              <a:gd name="connsiteX113" fmla="*/ 502880 w 607639"/>
              <a:gd name="connsiteY113" fmla="*/ 127174 h 606722"/>
              <a:gd name="connsiteX114" fmla="*/ 521126 w 607639"/>
              <a:gd name="connsiteY114" fmla="*/ 127174 h 606722"/>
              <a:gd name="connsiteX115" fmla="*/ 303775 w 607639"/>
              <a:gd name="connsiteY115" fmla="*/ 23728 h 606722"/>
              <a:gd name="connsiteX116" fmla="*/ 23764 w 607639"/>
              <a:gd name="connsiteY116" fmla="*/ 303316 h 606722"/>
              <a:gd name="connsiteX117" fmla="*/ 303775 w 607639"/>
              <a:gd name="connsiteY117" fmla="*/ 582905 h 606722"/>
              <a:gd name="connsiteX118" fmla="*/ 583786 w 607639"/>
              <a:gd name="connsiteY118" fmla="*/ 303316 h 606722"/>
              <a:gd name="connsiteX119" fmla="*/ 573906 w 607639"/>
              <a:gd name="connsiteY119" fmla="*/ 229376 h 606722"/>
              <a:gd name="connsiteX120" fmla="*/ 582273 w 607639"/>
              <a:gd name="connsiteY120" fmla="*/ 214801 h 606722"/>
              <a:gd name="connsiteX121" fmla="*/ 596869 w 607639"/>
              <a:gd name="connsiteY121" fmla="*/ 223066 h 606722"/>
              <a:gd name="connsiteX122" fmla="*/ 607639 w 607639"/>
              <a:gd name="connsiteY122" fmla="*/ 303316 h 606722"/>
              <a:gd name="connsiteX123" fmla="*/ 303775 w 607639"/>
              <a:gd name="connsiteY123" fmla="*/ 606722 h 606722"/>
              <a:gd name="connsiteX124" fmla="*/ 0 w 607639"/>
              <a:gd name="connsiteY124" fmla="*/ 303316 h 606722"/>
              <a:gd name="connsiteX125" fmla="*/ 303775 w 607639"/>
              <a:gd name="connsiteY125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607639" h="606722">
                <a:moveTo>
                  <a:pt x="303775" y="525007"/>
                </a:moveTo>
                <a:cubicBezTo>
                  <a:pt x="310366" y="525007"/>
                  <a:pt x="315710" y="530333"/>
                  <a:pt x="315710" y="536902"/>
                </a:cubicBezTo>
                <a:lnTo>
                  <a:pt x="315710" y="552347"/>
                </a:lnTo>
                <a:cubicBezTo>
                  <a:pt x="315710" y="558915"/>
                  <a:pt x="310366" y="564241"/>
                  <a:pt x="303775" y="564241"/>
                </a:cubicBezTo>
                <a:cubicBezTo>
                  <a:pt x="297184" y="564241"/>
                  <a:pt x="291929" y="558915"/>
                  <a:pt x="291929" y="552347"/>
                </a:cubicBezTo>
                <a:lnTo>
                  <a:pt x="291929" y="536902"/>
                </a:lnTo>
                <a:cubicBezTo>
                  <a:pt x="291929" y="530333"/>
                  <a:pt x="297184" y="525007"/>
                  <a:pt x="303775" y="525007"/>
                </a:cubicBezTo>
                <a:close/>
                <a:moveTo>
                  <a:pt x="429885" y="509483"/>
                </a:moveTo>
                <a:cubicBezTo>
                  <a:pt x="436472" y="509483"/>
                  <a:pt x="441811" y="514822"/>
                  <a:pt x="441811" y="521409"/>
                </a:cubicBezTo>
                <a:cubicBezTo>
                  <a:pt x="441811" y="527996"/>
                  <a:pt x="436472" y="533335"/>
                  <a:pt x="429885" y="533335"/>
                </a:cubicBezTo>
                <a:cubicBezTo>
                  <a:pt x="423298" y="533335"/>
                  <a:pt x="417959" y="527996"/>
                  <a:pt x="417959" y="521409"/>
                </a:cubicBezTo>
                <a:cubicBezTo>
                  <a:pt x="417959" y="514822"/>
                  <a:pt x="423298" y="509483"/>
                  <a:pt x="429885" y="509483"/>
                </a:cubicBezTo>
                <a:close/>
                <a:moveTo>
                  <a:pt x="177720" y="509483"/>
                </a:moveTo>
                <a:cubicBezTo>
                  <a:pt x="184287" y="509483"/>
                  <a:pt x="189611" y="514822"/>
                  <a:pt x="189611" y="521409"/>
                </a:cubicBezTo>
                <a:cubicBezTo>
                  <a:pt x="189611" y="527996"/>
                  <a:pt x="184287" y="533335"/>
                  <a:pt x="177720" y="533335"/>
                </a:cubicBezTo>
                <a:cubicBezTo>
                  <a:pt x="171153" y="533335"/>
                  <a:pt x="165829" y="527996"/>
                  <a:pt x="165829" y="521409"/>
                </a:cubicBezTo>
                <a:cubicBezTo>
                  <a:pt x="165829" y="514822"/>
                  <a:pt x="171153" y="509483"/>
                  <a:pt x="177720" y="509483"/>
                </a:cubicBezTo>
                <a:close/>
                <a:moveTo>
                  <a:pt x="522185" y="417324"/>
                </a:moveTo>
                <a:cubicBezTo>
                  <a:pt x="528772" y="417324"/>
                  <a:pt x="534111" y="422663"/>
                  <a:pt x="534111" y="429250"/>
                </a:cubicBezTo>
                <a:cubicBezTo>
                  <a:pt x="534111" y="435837"/>
                  <a:pt x="528772" y="441176"/>
                  <a:pt x="522185" y="441176"/>
                </a:cubicBezTo>
                <a:cubicBezTo>
                  <a:pt x="515598" y="441176"/>
                  <a:pt x="510259" y="435837"/>
                  <a:pt x="510259" y="429250"/>
                </a:cubicBezTo>
                <a:cubicBezTo>
                  <a:pt x="510259" y="422663"/>
                  <a:pt x="515598" y="417324"/>
                  <a:pt x="522185" y="417324"/>
                </a:cubicBezTo>
                <a:close/>
                <a:moveTo>
                  <a:pt x="85420" y="417324"/>
                </a:moveTo>
                <a:cubicBezTo>
                  <a:pt x="91987" y="417324"/>
                  <a:pt x="97311" y="422663"/>
                  <a:pt x="97311" y="429250"/>
                </a:cubicBezTo>
                <a:cubicBezTo>
                  <a:pt x="97311" y="435837"/>
                  <a:pt x="91987" y="441176"/>
                  <a:pt x="85420" y="441176"/>
                </a:cubicBezTo>
                <a:cubicBezTo>
                  <a:pt x="78853" y="441176"/>
                  <a:pt x="73529" y="435837"/>
                  <a:pt x="73529" y="429250"/>
                </a:cubicBezTo>
                <a:cubicBezTo>
                  <a:pt x="73529" y="422663"/>
                  <a:pt x="78853" y="417324"/>
                  <a:pt x="85420" y="417324"/>
                </a:cubicBezTo>
                <a:close/>
                <a:moveTo>
                  <a:pt x="537643" y="291506"/>
                </a:moveTo>
                <a:lnTo>
                  <a:pt x="555628" y="291506"/>
                </a:lnTo>
                <a:cubicBezTo>
                  <a:pt x="562216" y="291506"/>
                  <a:pt x="567558" y="296745"/>
                  <a:pt x="567558" y="303316"/>
                </a:cubicBezTo>
                <a:cubicBezTo>
                  <a:pt x="567558" y="309888"/>
                  <a:pt x="562216" y="315216"/>
                  <a:pt x="555628" y="315216"/>
                </a:cubicBezTo>
                <a:lnTo>
                  <a:pt x="537643" y="315216"/>
                </a:lnTo>
                <a:cubicBezTo>
                  <a:pt x="531055" y="315216"/>
                  <a:pt x="525713" y="309888"/>
                  <a:pt x="525713" y="303316"/>
                </a:cubicBezTo>
                <a:cubicBezTo>
                  <a:pt x="525713" y="296745"/>
                  <a:pt x="531055" y="291506"/>
                  <a:pt x="537643" y="291506"/>
                </a:cubicBezTo>
                <a:close/>
                <a:moveTo>
                  <a:pt x="51991" y="291506"/>
                </a:moveTo>
                <a:lnTo>
                  <a:pt x="69946" y="291506"/>
                </a:lnTo>
                <a:cubicBezTo>
                  <a:pt x="76523" y="291506"/>
                  <a:pt x="81856" y="296745"/>
                  <a:pt x="81856" y="303316"/>
                </a:cubicBezTo>
                <a:cubicBezTo>
                  <a:pt x="81856" y="309888"/>
                  <a:pt x="76523" y="315216"/>
                  <a:pt x="69946" y="315216"/>
                </a:cubicBezTo>
                <a:lnTo>
                  <a:pt x="51991" y="315216"/>
                </a:lnTo>
                <a:cubicBezTo>
                  <a:pt x="45414" y="315216"/>
                  <a:pt x="40081" y="309888"/>
                  <a:pt x="40081" y="303316"/>
                </a:cubicBezTo>
                <a:cubicBezTo>
                  <a:pt x="40081" y="296745"/>
                  <a:pt x="45414" y="291506"/>
                  <a:pt x="51991" y="291506"/>
                </a:cubicBezTo>
                <a:close/>
                <a:moveTo>
                  <a:pt x="412608" y="222096"/>
                </a:moveTo>
                <a:lnTo>
                  <a:pt x="345491" y="334245"/>
                </a:lnTo>
                <a:lnTo>
                  <a:pt x="412608" y="334245"/>
                </a:lnTo>
                <a:close/>
                <a:moveTo>
                  <a:pt x="427651" y="167533"/>
                </a:moveTo>
                <a:cubicBezTo>
                  <a:pt x="432814" y="168954"/>
                  <a:pt x="436375" y="173664"/>
                  <a:pt x="436375" y="178996"/>
                </a:cubicBezTo>
                <a:lnTo>
                  <a:pt x="436375" y="334245"/>
                </a:lnTo>
                <a:lnTo>
                  <a:pt x="469399" y="334245"/>
                </a:lnTo>
                <a:cubicBezTo>
                  <a:pt x="475986" y="334245"/>
                  <a:pt x="481327" y="339577"/>
                  <a:pt x="481327" y="346153"/>
                </a:cubicBezTo>
                <a:cubicBezTo>
                  <a:pt x="481327" y="352641"/>
                  <a:pt x="475986" y="357973"/>
                  <a:pt x="469399" y="357973"/>
                </a:cubicBezTo>
                <a:lnTo>
                  <a:pt x="436375" y="357973"/>
                </a:lnTo>
                <a:lnTo>
                  <a:pt x="436375" y="427733"/>
                </a:lnTo>
                <a:cubicBezTo>
                  <a:pt x="436375" y="434220"/>
                  <a:pt x="431123" y="439552"/>
                  <a:pt x="424536" y="439552"/>
                </a:cubicBezTo>
                <a:cubicBezTo>
                  <a:pt x="417949" y="439552"/>
                  <a:pt x="412608" y="434220"/>
                  <a:pt x="412608" y="427733"/>
                </a:cubicBezTo>
                <a:lnTo>
                  <a:pt x="412608" y="357973"/>
                </a:lnTo>
                <a:lnTo>
                  <a:pt x="324573" y="357973"/>
                </a:lnTo>
                <a:cubicBezTo>
                  <a:pt x="320300" y="357973"/>
                  <a:pt x="316295" y="355662"/>
                  <a:pt x="314158" y="352019"/>
                </a:cubicBezTo>
                <a:cubicBezTo>
                  <a:pt x="312111" y="348286"/>
                  <a:pt x="312111" y="343665"/>
                  <a:pt x="314336" y="340022"/>
                </a:cubicBezTo>
                <a:lnTo>
                  <a:pt x="414299" y="172953"/>
                </a:lnTo>
                <a:cubicBezTo>
                  <a:pt x="417059" y="168332"/>
                  <a:pt x="422489" y="166111"/>
                  <a:pt x="427651" y="167533"/>
                </a:cubicBezTo>
                <a:close/>
                <a:moveTo>
                  <a:pt x="216270" y="167099"/>
                </a:moveTo>
                <a:cubicBezTo>
                  <a:pt x="257222" y="167099"/>
                  <a:pt x="290518" y="200333"/>
                  <a:pt x="290518" y="241210"/>
                </a:cubicBezTo>
                <a:cubicBezTo>
                  <a:pt x="290518" y="284486"/>
                  <a:pt x="273603" y="325097"/>
                  <a:pt x="242978" y="355754"/>
                </a:cubicBezTo>
                <a:lnTo>
                  <a:pt x="182707" y="415825"/>
                </a:lnTo>
                <a:lnTo>
                  <a:pt x="278588" y="415825"/>
                </a:lnTo>
                <a:cubicBezTo>
                  <a:pt x="285176" y="415825"/>
                  <a:pt x="290518" y="421158"/>
                  <a:pt x="290518" y="427734"/>
                </a:cubicBezTo>
                <a:cubicBezTo>
                  <a:pt x="290518" y="434220"/>
                  <a:pt x="285176" y="439552"/>
                  <a:pt x="278588" y="439552"/>
                </a:cubicBezTo>
                <a:lnTo>
                  <a:pt x="154040" y="439552"/>
                </a:lnTo>
                <a:cubicBezTo>
                  <a:pt x="149232" y="439552"/>
                  <a:pt x="144870" y="436709"/>
                  <a:pt x="143001" y="432265"/>
                </a:cubicBezTo>
                <a:cubicBezTo>
                  <a:pt x="141131" y="427822"/>
                  <a:pt x="142199" y="422668"/>
                  <a:pt x="145582" y="419292"/>
                </a:cubicBezTo>
                <a:lnTo>
                  <a:pt x="226152" y="338959"/>
                </a:lnTo>
                <a:cubicBezTo>
                  <a:pt x="252236" y="312834"/>
                  <a:pt x="266659" y="278088"/>
                  <a:pt x="266659" y="241210"/>
                </a:cubicBezTo>
                <a:cubicBezTo>
                  <a:pt x="266659" y="213485"/>
                  <a:pt x="244046" y="190914"/>
                  <a:pt x="216270" y="190914"/>
                </a:cubicBezTo>
                <a:cubicBezTo>
                  <a:pt x="188493" y="190914"/>
                  <a:pt x="165880" y="213485"/>
                  <a:pt x="165880" y="241210"/>
                </a:cubicBezTo>
                <a:cubicBezTo>
                  <a:pt x="165880" y="247786"/>
                  <a:pt x="160539" y="253029"/>
                  <a:pt x="154040" y="253029"/>
                </a:cubicBezTo>
                <a:cubicBezTo>
                  <a:pt x="147452" y="253029"/>
                  <a:pt x="142110" y="247786"/>
                  <a:pt x="142110" y="241210"/>
                </a:cubicBezTo>
                <a:cubicBezTo>
                  <a:pt x="142110" y="200333"/>
                  <a:pt x="175406" y="167099"/>
                  <a:pt x="216270" y="167099"/>
                </a:cubicBezTo>
                <a:close/>
                <a:moveTo>
                  <a:pt x="522185" y="165547"/>
                </a:moveTo>
                <a:cubicBezTo>
                  <a:pt x="528772" y="165547"/>
                  <a:pt x="534111" y="170871"/>
                  <a:pt x="534111" y="177438"/>
                </a:cubicBezTo>
                <a:cubicBezTo>
                  <a:pt x="534111" y="184005"/>
                  <a:pt x="528772" y="189329"/>
                  <a:pt x="522185" y="189329"/>
                </a:cubicBezTo>
                <a:cubicBezTo>
                  <a:pt x="515598" y="189329"/>
                  <a:pt x="510259" y="184005"/>
                  <a:pt x="510259" y="177438"/>
                </a:cubicBezTo>
                <a:cubicBezTo>
                  <a:pt x="510259" y="170871"/>
                  <a:pt x="515598" y="165547"/>
                  <a:pt x="522185" y="165547"/>
                </a:cubicBezTo>
                <a:close/>
                <a:moveTo>
                  <a:pt x="85420" y="165547"/>
                </a:moveTo>
                <a:cubicBezTo>
                  <a:pt x="91987" y="165547"/>
                  <a:pt x="97311" y="170871"/>
                  <a:pt x="97311" y="177438"/>
                </a:cubicBezTo>
                <a:cubicBezTo>
                  <a:pt x="97311" y="184005"/>
                  <a:pt x="91987" y="189329"/>
                  <a:pt x="85420" y="189329"/>
                </a:cubicBezTo>
                <a:cubicBezTo>
                  <a:pt x="78853" y="189329"/>
                  <a:pt x="73529" y="184005"/>
                  <a:pt x="73529" y="177438"/>
                </a:cubicBezTo>
                <a:cubicBezTo>
                  <a:pt x="73529" y="170871"/>
                  <a:pt x="78853" y="165547"/>
                  <a:pt x="85420" y="165547"/>
                </a:cubicBezTo>
                <a:close/>
                <a:moveTo>
                  <a:pt x="429885" y="73388"/>
                </a:moveTo>
                <a:cubicBezTo>
                  <a:pt x="436472" y="73388"/>
                  <a:pt x="441811" y="78712"/>
                  <a:pt x="441811" y="85279"/>
                </a:cubicBezTo>
                <a:cubicBezTo>
                  <a:pt x="441811" y="91846"/>
                  <a:pt x="436472" y="97170"/>
                  <a:pt x="429885" y="97170"/>
                </a:cubicBezTo>
                <a:cubicBezTo>
                  <a:pt x="423298" y="97170"/>
                  <a:pt x="417959" y="91846"/>
                  <a:pt x="417959" y="85279"/>
                </a:cubicBezTo>
                <a:cubicBezTo>
                  <a:pt x="417959" y="78712"/>
                  <a:pt x="423298" y="73388"/>
                  <a:pt x="429885" y="73388"/>
                </a:cubicBezTo>
                <a:close/>
                <a:moveTo>
                  <a:pt x="177720" y="73388"/>
                </a:moveTo>
                <a:cubicBezTo>
                  <a:pt x="184287" y="73388"/>
                  <a:pt x="189611" y="78712"/>
                  <a:pt x="189611" y="85279"/>
                </a:cubicBezTo>
                <a:cubicBezTo>
                  <a:pt x="189611" y="91846"/>
                  <a:pt x="184287" y="97170"/>
                  <a:pt x="177720" y="97170"/>
                </a:cubicBezTo>
                <a:cubicBezTo>
                  <a:pt x="171153" y="97170"/>
                  <a:pt x="165829" y="91846"/>
                  <a:pt x="165829" y="85279"/>
                </a:cubicBezTo>
                <a:cubicBezTo>
                  <a:pt x="165829" y="78712"/>
                  <a:pt x="171153" y="73388"/>
                  <a:pt x="177720" y="73388"/>
                </a:cubicBezTo>
                <a:close/>
                <a:moveTo>
                  <a:pt x="303775" y="42480"/>
                </a:moveTo>
                <a:cubicBezTo>
                  <a:pt x="310366" y="42480"/>
                  <a:pt x="315710" y="47815"/>
                  <a:pt x="315710" y="54396"/>
                </a:cubicBezTo>
                <a:lnTo>
                  <a:pt x="315710" y="69869"/>
                </a:lnTo>
                <a:cubicBezTo>
                  <a:pt x="315710" y="76449"/>
                  <a:pt x="310366" y="81785"/>
                  <a:pt x="303775" y="81785"/>
                </a:cubicBezTo>
                <a:cubicBezTo>
                  <a:pt x="297184" y="81785"/>
                  <a:pt x="291929" y="76449"/>
                  <a:pt x="291929" y="69869"/>
                </a:cubicBezTo>
                <a:lnTo>
                  <a:pt x="291929" y="54396"/>
                </a:lnTo>
                <a:cubicBezTo>
                  <a:pt x="291929" y="47815"/>
                  <a:pt x="297184" y="42480"/>
                  <a:pt x="303775" y="42480"/>
                </a:cubicBezTo>
                <a:close/>
                <a:moveTo>
                  <a:pt x="303775" y="0"/>
                </a:moveTo>
                <a:cubicBezTo>
                  <a:pt x="394204" y="0"/>
                  <a:pt x="479560" y="40347"/>
                  <a:pt x="537058" y="108956"/>
                </a:cubicBezTo>
                <a:lnTo>
                  <a:pt x="537058" y="93048"/>
                </a:lnTo>
                <a:cubicBezTo>
                  <a:pt x="537058" y="86471"/>
                  <a:pt x="542309" y="81139"/>
                  <a:pt x="548895" y="81139"/>
                </a:cubicBezTo>
                <a:cubicBezTo>
                  <a:pt x="555482" y="81139"/>
                  <a:pt x="560822" y="86471"/>
                  <a:pt x="560822" y="93048"/>
                </a:cubicBezTo>
                <a:lnTo>
                  <a:pt x="560822" y="138994"/>
                </a:lnTo>
                <a:cubicBezTo>
                  <a:pt x="560822" y="145570"/>
                  <a:pt x="555482" y="150903"/>
                  <a:pt x="548895" y="150903"/>
                </a:cubicBezTo>
                <a:lnTo>
                  <a:pt x="502880" y="150903"/>
                </a:lnTo>
                <a:cubicBezTo>
                  <a:pt x="496293" y="150903"/>
                  <a:pt x="490953" y="145570"/>
                  <a:pt x="490953" y="138994"/>
                </a:cubicBezTo>
                <a:cubicBezTo>
                  <a:pt x="490953" y="132417"/>
                  <a:pt x="496293" y="127174"/>
                  <a:pt x="502880" y="127174"/>
                </a:cubicBezTo>
                <a:lnTo>
                  <a:pt x="521126" y="127174"/>
                </a:lnTo>
                <a:cubicBezTo>
                  <a:pt x="468168" y="62032"/>
                  <a:pt x="388419" y="23728"/>
                  <a:pt x="303775" y="23728"/>
                </a:cubicBezTo>
                <a:cubicBezTo>
                  <a:pt x="149440" y="23728"/>
                  <a:pt x="23764" y="149214"/>
                  <a:pt x="23764" y="303316"/>
                </a:cubicBezTo>
                <a:cubicBezTo>
                  <a:pt x="23764" y="457508"/>
                  <a:pt x="149440" y="582905"/>
                  <a:pt x="303775" y="582905"/>
                </a:cubicBezTo>
                <a:cubicBezTo>
                  <a:pt x="458199" y="582905"/>
                  <a:pt x="583786" y="457508"/>
                  <a:pt x="583786" y="303316"/>
                </a:cubicBezTo>
                <a:cubicBezTo>
                  <a:pt x="583786" y="278255"/>
                  <a:pt x="580492" y="253371"/>
                  <a:pt x="573906" y="229376"/>
                </a:cubicBezTo>
                <a:cubicBezTo>
                  <a:pt x="572126" y="223066"/>
                  <a:pt x="575864" y="216489"/>
                  <a:pt x="582273" y="214801"/>
                </a:cubicBezTo>
                <a:cubicBezTo>
                  <a:pt x="588592" y="213023"/>
                  <a:pt x="595089" y="216756"/>
                  <a:pt x="596869" y="223066"/>
                </a:cubicBezTo>
                <a:cubicBezTo>
                  <a:pt x="603990" y="249194"/>
                  <a:pt x="607639" y="276122"/>
                  <a:pt x="607639" y="303316"/>
                </a:cubicBezTo>
                <a:cubicBezTo>
                  <a:pt x="607639" y="470572"/>
                  <a:pt x="471283" y="606722"/>
                  <a:pt x="303775" y="606722"/>
                </a:cubicBezTo>
                <a:cubicBezTo>
                  <a:pt x="136267" y="606722"/>
                  <a:pt x="0" y="470572"/>
                  <a:pt x="0" y="303316"/>
                </a:cubicBezTo>
                <a:cubicBezTo>
                  <a:pt x="0" y="136061"/>
                  <a:pt x="136267" y="0"/>
                  <a:pt x="303775" y="0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îṡļíḓè">
            <a:extLst>
              <a:ext uri="{FF2B5EF4-FFF2-40B4-BE49-F238E27FC236}">
                <a16:creationId xmlns:a16="http://schemas.microsoft.com/office/drawing/2014/main" id="{BB76E6C5-66C8-424D-8962-563FF936CB43}"/>
              </a:ext>
            </a:extLst>
          </p:cNvPr>
          <p:cNvSpPr/>
          <p:nvPr/>
        </p:nvSpPr>
        <p:spPr>
          <a:xfrm>
            <a:off x="7086110" y="3821349"/>
            <a:ext cx="808632" cy="80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/>
          </a:solidFill>
          <a:ln w="635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îš1îḑè">
            <a:extLst>
              <a:ext uri="{FF2B5EF4-FFF2-40B4-BE49-F238E27FC236}">
                <a16:creationId xmlns:a16="http://schemas.microsoft.com/office/drawing/2014/main" id="{0D358D93-C706-4021-955E-6DA963B58D33}"/>
              </a:ext>
            </a:extLst>
          </p:cNvPr>
          <p:cNvSpPr/>
          <p:nvPr/>
        </p:nvSpPr>
        <p:spPr>
          <a:xfrm>
            <a:off x="7224429" y="3959668"/>
            <a:ext cx="531993" cy="531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ïŝ1ïḑè">
            <a:extLst>
              <a:ext uri="{FF2B5EF4-FFF2-40B4-BE49-F238E27FC236}">
                <a16:creationId xmlns:a16="http://schemas.microsoft.com/office/drawing/2014/main" id="{271A0C42-6223-4C8C-932B-ABBB8258DF9A}"/>
              </a:ext>
            </a:extLst>
          </p:cNvPr>
          <p:cNvSpPr/>
          <p:nvPr/>
        </p:nvSpPr>
        <p:spPr>
          <a:xfrm>
            <a:off x="7342605" y="4068031"/>
            <a:ext cx="305623" cy="305154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607535" h="606604">
                <a:moveTo>
                  <a:pt x="394900" y="353768"/>
                </a:moveTo>
                <a:cubicBezTo>
                  <a:pt x="400507" y="353768"/>
                  <a:pt x="405045" y="358301"/>
                  <a:pt x="405045" y="363900"/>
                </a:cubicBezTo>
                <a:lnTo>
                  <a:pt x="405045" y="515616"/>
                </a:lnTo>
                <a:cubicBezTo>
                  <a:pt x="405045" y="543435"/>
                  <a:pt x="382353" y="566099"/>
                  <a:pt x="354410" y="566099"/>
                </a:cubicBezTo>
                <a:lnTo>
                  <a:pt x="212649" y="566099"/>
                </a:lnTo>
                <a:cubicBezTo>
                  <a:pt x="207131" y="566099"/>
                  <a:pt x="202593" y="561566"/>
                  <a:pt x="202593" y="556056"/>
                </a:cubicBezTo>
                <a:cubicBezTo>
                  <a:pt x="202593" y="550457"/>
                  <a:pt x="207131" y="545924"/>
                  <a:pt x="212649" y="545924"/>
                </a:cubicBezTo>
                <a:lnTo>
                  <a:pt x="354410" y="545924"/>
                </a:lnTo>
                <a:cubicBezTo>
                  <a:pt x="371140" y="545924"/>
                  <a:pt x="384845" y="532325"/>
                  <a:pt x="384845" y="515616"/>
                </a:cubicBezTo>
                <a:lnTo>
                  <a:pt x="384845" y="363900"/>
                </a:lnTo>
                <a:cubicBezTo>
                  <a:pt x="384845" y="358301"/>
                  <a:pt x="389294" y="353768"/>
                  <a:pt x="394900" y="353768"/>
                </a:cubicBezTo>
                <a:close/>
                <a:moveTo>
                  <a:pt x="131640" y="262739"/>
                </a:moveTo>
                <a:cubicBezTo>
                  <a:pt x="137236" y="262739"/>
                  <a:pt x="141766" y="267271"/>
                  <a:pt x="141766" y="272870"/>
                </a:cubicBezTo>
                <a:lnTo>
                  <a:pt x="141766" y="333565"/>
                </a:lnTo>
                <a:cubicBezTo>
                  <a:pt x="141766" y="339075"/>
                  <a:pt x="137236" y="343607"/>
                  <a:pt x="131640" y="343607"/>
                </a:cubicBezTo>
                <a:cubicBezTo>
                  <a:pt x="126044" y="343607"/>
                  <a:pt x="121514" y="339075"/>
                  <a:pt x="121514" y="333565"/>
                </a:cubicBezTo>
                <a:lnTo>
                  <a:pt x="121514" y="272870"/>
                </a:lnTo>
                <a:cubicBezTo>
                  <a:pt x="121514" y="267271"/>
                  <a:pt x="126044" y="262739"/>
                  <a:pt x="131640" y="262739"/>
                </a:cubicBezTo>
                <a:close/>
                <a:moveTo>
                  <a:pt x="489057" y="194973"/>
                </a:moveTo>
                <a:cubicBezTo>
                  <a:pt x="492973" y="190974"/>
                  <a:pt x="499381" y="190974"/>
                  <a:pt x="503386" y="194973"/>
                </a:cubicBezTo>
                <a:lnTo>
                  <a:pt x="604576" y="296095"/>
                </a:lnTo>
                <a:cubicBezTo>
                  <a:pt x="605555" y="296983"/>
                  <a:pt x="606267" y="298138"/>
                  <a:pt x="606801" y="299383"/>
                </a:cubicBezTo>
                <a:cubicBezTo>
                  <a:pt x="607780" y="301871"/>
                  <a:pt x="607780" y="304625"/>
                  <a:pt x="606801" y="307113"/>
                </a:cubicBezTo>
                <a:cubicBezTo>
                  <a:pt x="606267" y="308357"/>
                  <a:pt x="605555" y="309424"/>
                  <a:pt x="604576" y="310401"/>
                </a:cubicBezTo>
                <a:lnTo>
                  <a:pt x="503386" y="411434"/>
                </a:lnTo>
                <a:cubicBezTo>
                  <a:pt x="501339" y="413478"/>
                  <a:pt x="498758" y="414455"/>
                  <a:pt x="496177" y="414455"/>
                </a:cubicBezTo>
                <a:cubicBezTo>
                  <a:pt x="493596" y="414455"/>
                  <a:pt x="491015" y="413478"/>
                  <a:pt x="489057" y="411434"/>
                </a:cubicBezTo>
                <a:cubicBezTo>
                  <a:pt x="485052" y="407524"/>
                  <a:pt x="485052" y="401126"/>
                  <a:pt x="489057" y="397217"/>
                </a:cubicBezTo>
                <a:lnTo>
                  <a:pt x="572982" y="313333"/>
                </a:lnTo>
                <a:lnTo>
                  <a:pt x="232921" y="313333"/>
                </a:lnTo>
                <a:cubicBezTo>
                  <a:pt x="227314" y="313333"/>
                  <a:pt x="222775" y="308802"/>
                  <a:pt x="222775" y="303203"/>
                </a:cubicBezTo>
                <a:cubicBezTo>
                  <a:pt x="222775" y="297605"/>
                  <a:pt x="227314" y="293074"/>
                  <a:pt x="232921" y="293074"/>
                </a:cubicBezTo>
                <a:lnTo>
                  <a:pt x="572982" y="293074"/>
                </a:lnTo>
                <a:lnTo>
                  <a:pt x="489057" y="209279"/>
                </a:lnTo>
                <a:cubicBezTo>
                  <a:pt x="485052" y="205281"/>
                  <a:pt x="485052" y="198883"/>
                  <a:pt x="489057" y="194973"/>
                </a:cubicBezTo>
                <a:close/>
                <a:moveTo>
                  <a:pt x="211398" y="40317"/>
                </a:moveTo>
                <a:lnTo>
                  <a:pt x="354409" y="40317"/>
                </a:lnTo>
                <a:cubicBezTo>
                  <a:pt x="382353" y="40317"/>
                  <a:pt x="405046" y="62981"/>
                  <a:pt x="405046" y="90889"/>
                </a:cubicBezTo>
                <a:lnTo>
                  <a:pt x="405046" y="242605"/>
                </a:lnTo>
                <a:cubicBezTo>
                  <a:pt x="405046" y="248115"/>
                  <a:pt x="400508" y="252648"/>
                  <a:pt x="394901" y="252648"/>
                </a:cubicBezTo>
                <a:cubicBezTo>
                  <a:pt x="389295" y="252648"/>
                  <a:pt x="384845" y="248115"/>
                  <a:pt x="384845" y="242605"/>
                </a:cubicBezTo>
                <a:lnTo>
                  <a:pt x="384845" y="90889"/>
                </a:lnTo>
                <a:cubicBezTo>
                  <a:pt x="384845" y="74180"/>
                  <a:pt x="371140" y="60581"/>
                  <a:pt x="354409" y="60581"/>
                </a:cubicBezTo>
                <a:lnTo>
                  <a:pt x="211398" y="60581"/>
                </a:lnTo>
                <a:cubicBezTo>
                  <a:pt x="205791" y="60581"/>
                  <a:pt x="201253" y="56048"/>
                  <a:pt x="201253" y="50449"/>
                </a:cubicBezTo>
                <a:cubicBezTo>
                  <a:pt x="201253" y="44850"/>
                  <a:pt x="205791" y="40317"/>
                  <a:pt x="211398" y="40317"/>
                </a:cubicBezTo>
                <a:close/>
                <a:moveTo>
                  <a:pt x="147115" y="20146"/>
                </a:moveTo>
                <a:cubicBezTo>
                  <a:pt x="144890" y="20146"/>
                  <a:pt x="142576" y="20590"/>
                  <a:pt x="140084" y="21568"/>
                </a:cubicBezTo>
                <a:lnTo>
                  <a:pt x="44232" y="59782"/>
                </a:lnTo>
                <a:cubicBezTo>
                  <a:pt x="24919" y="66981"/>
                  <a:pt x="20292" y="73024"/>
                  <a:pt x="20292" y="90887"/>
                </a:cubicBezTo>
                <a:lnTo>
                  <a:pt x="20292" y="515689"/>
                </a:lnTo>
                <a:cubicBezTo>
                  <a:pt x="20292" y="533464"/>
                  <a:pt x="24919" y="539596"/>
                  <a:pt x="44054" y="546616"/>
                </a:cubicBezTo>
                <a:lnTo>
                  <a:pt x="140262" y="585098"/>
                </a:lnTo>
                <a:cubicBezTo>
                  <a:pt x="142576" y="585897"/>
                  <a:pt x="144890" y="586431"/>
                  <a:pt x="147115" y="586431"/>
                </a:cubicBezTo>
                <a:cubicBezTo>
                  <a:pt x="156015" y="586431"/>
                  <a:pt x="161978" y="578254"/>
                  <a:pt x="161978" y="566257"/>
                </a:cubicBezTo>
                <a:lnTo>
                  <a:pt x="161978" y="40319"/>
                </a:lnTo>
                <a:cubicBezTo>
                  <a:pt x="161978" y="28233"/>
                  <a:pt x="156015" y="20146"/>
                  <a:pt x="147115" y="20146"/>
                </a:cubicBezTo>
                <a:close/>
                <a:moveTo>
                  <a:pt x="151669" y="315"/>
                </a:moveTo>
                <a:cubicBezTo>
                  <a:pt x="169354" y="2727"/>
                  <a:pt x="182270" y="18724"/>
                  <a:pt x="182270" y="40319"/>
                </a:cubicBezTo>
                <a:lnTo>
                  <a:pt x="182270" y="566257"/>
                </a:lnTo>
                <a:cubicBezTo>
                  <a:pt x="182270" y="589630"/>
                  <a:pt x="167496" y="606604"/>
                  <a:pt x="147115" y="606604"/>
                </a:cubicBezTo>
                <a:cubicBezTo>
                  <a:pt x="142487" y="606604"/>
                  <a:pt x="137681" y="605716"/>
                  <a:pt x="132964" y="603938"/>
                </a:cubicBezTo>
                <a:lnTo>
                  <a:pt x="36756" y="565457"/>
                </a:lnTo>
                <a:cubicBezTo>
                  <a:pt x="10057" y="555592"/>
                  <a:pt x="0" y="542084"/>
                  <a:pt x="0" y="515689"/>
                </a:cubicBezTo>
                <a:lnTo>
                  <a:pt x="0" y="90887"/>
                </a:lnTo>
                <a:cubicBezTo>
                  <a:pt x="0" y="64492"/>
                  <a:pt x="10057" y="50895"/>
                  <a:pt x="37023" y="40942"/>
                </a:cubicBezTo>
                <a:lnTo>
                  <a:pt x="132697" y="2727"/>
                </a:lnTo>
                <a:cubicBezTo>
                  <a:pt x="139350" y="217"/>
                  <a:pt x="145774" y="-489"/>
                  <a:pt x="151669" y="315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0" name="i$ḻîḓê">
            <a:extLst>
              <a:ext uri="{FF2B5EF4-FFF2-40B4-BE49-F238E27FC236}">
                <a16:creationId xmlns:a16="http://schemas.microsoft.com/office/drawing/2014/main" id="{8BC8E4E3-A6D6-4877-B2BE-6A29302D70A9}"/>
              </a:ext>
            </a:extLst>
          </p:cNvPr>
          <p:cNvSpPr/>
          <p:nvPr/>
        </p:nvSpPr>
        <p:spPr>
          <a:xfrm>
            <a:off x="8616280" y="4528197"/>
            <a:ext cx="808632" cy="80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/>
          </a:solidFill>
          <a:ln w="63500" cap="flat">
            <a:solidFill>
              <a:schemeClr val="tx1">
                <a:lumMod val="50000"/>
                <a:lumOff val="50000"/>
              </a:schemeClr>
            </a:solidFill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iṥḷiḋê">
            <a:extLst>
              <a:ext uri="{FF2B5EF4-FFF2-40B4-BE49-F238E27FC236}">
                <a16:creationId xmlns:a16="http://schemas.microsoft.com/office/drawing/2014/main" id="{2619D8F5-57D6-4028-8931-979F71E16117}"/>
              </a:ext>
            </a:extLst>
          </p:cNvPr>
          <p:cNvSpPr/>
          <p:nvPr/>
        </p:nvSpPr>
        <p:spPr>
          <a:xfrm>
            <a:off x="8754599" y="4666516"/>
            <a:ext cx="531993" cy="531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2" name="iṧliḋê">
            <a:extLst>
              <a:ext uri="{FF2B5EF4-FFF2-40B4-BE49-F238E27FC236}">
                <a16:creationId xmlns:a16="http://schemas.microsoft.com/office/drawing/2014/main" id="{0B06E3EA-7969-491D-92F2-21510955FACA}"/>
              </a:ext>
            </a:extLst>
          </p:cNvPr>
          <p:cNvSpPr/>
          <p:nvPr/>
        </p:nvSpPr>
        <p:spPr>
          <a:xfrm>
            <a:off x="8872775" y="4774875"/>
            <a:ext cx="305623" cy="305163"/>
          </a:xfrm>
          <a:custGeom>
            <a:avLst/>
            <a:gdLst>
              <a:gd name="T0" fmla="*/ 6794 w 6860"/>
              <a:gd name="T1" fmla="*/ 3307 h 6860"/>
              <a:gd name="T2" fmla="*/ 5828 w 6860"/>
              <a:gd name="T3" fmla="*/ 2341 h 6860"/>
              <a:gd name="T4" fmla="*/ 5586 w 6860"/>
              <a:gd name="T5" fmla="*/ 2341 h 6860"/>
              <a:gd name="T6" fmla="*/ 5586 w 6860"/>
              <a:gd name="T7" fmla="*/ 2582 h 6860"/>
              <a:gd name="T8" fmla="*/ 6261 w 6860"/>
              <a:gd name="T9" fmla="*/ 3257 h 6860"/>
              <a:gd name="T10" fmla="*/ 3601 w 6860"/>
              <a:gd name="T11" fmla="*/ 3257 h 6860"/>
              <a:gd name="T12" fmla="*/ 3601 w 6860"/>
              <a:gd name="T13" fmla="*/ 600 h 6860"/>
              <a:gd name="T14" fmla="*/ 4276 w 6860"/>
              <a:gd name="T15" fmla="*/ 1275 h 6860"/>
              <a:gd name="T16" fmla="*/ 4517 w 6860"/>
              <a:gd name="T17" fmla="*/ 1275 h 6860"/>
              <a:gd name="T18" fmla="*/ 4517 w 6860"/>
              <a:gd name="T19" fmla="*/ 1033 h 6860"/>
              <a:gd name="T20" fmla="*/ 3551 w 6860"/>
              <a:gd name="T21" fmla="*/ 67 h 6860"/>
              <a:gd name="T22" fmla="*/ 3310 w 6860"/>
              <a:gd name="T23" fmla="*/ 67 h 6860"/>
              <a:gd name="T24" fmla="*/ 2343 w 6860"/>
              <a:gd name="T25" fmla="*/ 1033 h 6860"/>
              <a:gd name="T26" fmla="*/ 2343 w 6860"/>
              <a:gd name="T27" fmla="*/ 1275 h 6860"/>
              <a:gd name="T28" fmla="*/ 2585 w 6860"/>
              <a:gd name="T29" fmla="*/ 1275 h 6860"/>
              <a:gd name="T30" fmla="*/ 3260 w 6860"/>
              <a:gd name="T31" fmla="*/ 600 h 6860"/>
              <a:gd name="T32" fmla="*/ 3260 w 6860"/>
              <a:gd name="T33" fmla="*/ 3257 h 6860"/>
              <a:gd name="T34" fmla="*/ 600 w 6860"/>
              <a:gd name="T35" fmla="*/ 3257 h 6860"/>
              <a:gd name="T36" fmla="*/ 1275 w 6860"/>
              <a:gd name="T37" fmla="*/ 2583 h 6860"/>
              <a:gd name="T38" fmla="*/ 1275 w 6860"/>
              <a:gd name="T39" fmla="*/ 2341 h 6860"/>
              <a:gd name="T40" fmla="*/ 1033 w 6860"/>
              <a:gd name="T41" fmla="*/ 2341 h 6860"/>
              <a:gd name="T42" fmla="*/ 67 w 6860"/>
              <a:gd name="T43" fmla="*/ 3307 h 6860"/>
              <a:gd name="T44" fmla="*/ 67 w 6860"/>
              <a:gd name="T45" fmla="*/ 3549 h 6860"/>
              <a:gd name="T46" fmla="*/ 1033 w 6860"/>
              <a:gd name="T47" fmla="*/ 4515 h 6860"/>
              <a:gd name="T48" fmla="*/ 1275 w 6860"/>
              <a:gd name="T49" fmla="*/ 4515 h 6860"/>
              <a:gd name="T50" fmla="*/ 1275 w 6860"/>
              <a:gd name="T51" fmla="*/ 4273 h 6860"/>
              <a:gd name="T52" fmla="*/ 600 w 6860"/>
              <a:gd name="T53" fmla="*/ 3599 h 6860"/>
              <a:gd name="T54" fmla="*/ 3260 w 6860"/>
              <a:gd name="T55" fmla="*/ 3599 h 6860"/>
              <a:gd name="T56" fmla="*/ 3260 w 6860"/>
              <a:gd name="T57" fmla="*/ 6261 h 6860"/>
              <a:gd name="T58" fmla="*/ 2585 w 6860"/>
              <a:gd name="T59" fmla="*/ 5586 h 6860"/>
              <a:gd name="T60" fmla="*/ 2344 w 6860"/>
              <a:gd name="T61" fmla="*/ 5586 h 6860"/>
              <a:gd name="T62" fmla="*/ 2344 w 6860"/>
              <a:gd name="T63" fmla="*/ 5827 h 6860"/>
              <a:gd name="T64" fmla="*/ 3310 w 6860"/>
              <a:gd name="T65" fmla="*/ 6794 h 6860"/>
              <a:gd name="T66" fmla="*/ 3551 w 6860"/>
              <a:gd name="T67" fmla="*/ 6794 h 6860"/>
              <a:gd name="T68" fmla="*/ 4517 w 6860"/>
              <a:gd name="T69" fmla="*/ 5828 h 6860"/>
              <a:gd name="T70" fmla="*/ 4517 w 6860"/>
              <a:gd name="T71" fmla="*/ 5586 h 6860"/>
              <a:gd name="T72" fmla="*/ 4276 w 6860"/>
              <a:gd name="T73" fmla="*/ 5586 h 6860"/>
              <a:gd name="T74" fmla="*/ 3601 w 6860"/>
              <a:gd name="T75" fmla="*/ 6261 h 6860"/>
              <a:gd name="T76" fmla="*/ 3601 w 6860"/>
              <a:gd name="T77" fmla="*/ 3599 h 6860"/>
              <a:gd name="T78" fmla="*/ 6261 w 6860"/>
              <a:gd name="T79" fmla="*/ 3599 h 6860"/>
              <a:gd name="T80" fmla="*/ 5586 w 6860"/>
              <a:gd name="T81" fmla="*/ 4273 h 6860"/>
              <a:gd name="T82" fmla="*/ 5586 w 6860"/>
              <a:gd name="T83" fmla="*/ 4515 h 6860"/>
              <a:gd name="T84" fmla="*/ 5828 w 6860"/>
              <a:gd name="T85" fmla="*/ 4515 h 6860"/>
              <a:gd name="T86" fmla="*/ 6794 w 6860"/>
              <a:gd name="T87" fmla="*/ 3549 h 6860"/>
              <a:gd name="T88" fmla="*/ 6794 w 6860"/>
              <a:gd name="T89" fmla="*/ 3307 h 6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860" h="6860">
                <a:moveTo>
                  <a:pt x="6794" y="3307"/>
                </a:moveTo>
                <a:lnTo>
                  <a:pt x="5828" y="2341"/>
                </a:lnTo>
                <a:cubicBezTo>
                  <a:pt x="5761" y="2274"/>
                  <a:pt x="5653" y="2274"/>
                  <a:pt x="5586" y="2341"/>
                </a:cubicBezTo>
                <a:cubicBezTo>
                  <a:pt x="5519" y="2408"/>
                  <a:pt x="5519" y="2516"/>
                  <a:pt x="5586" y="2582"/>
                </a:cubicBezTo>
                <a:lnTo>
                  <a:pt x="6261" y="3257"/>
                </a:lnTo>
                <a:lnTo>
                  <a:pt x="3601" y="3257"/>
                </a:lnTo>
                <a:lnTo>
                  <a:pt x="3601" y="600"/>
                </a:lnTo>
                <a:lnTo>
                  <a:pt x="4276" y="1275"/>
                </a:lnTo>
                <a:cubicBezTo>
                  <a:pt x="4343" y="1342"/>
                  <a:pt x="4450" y="1342"/>
                  <a:pt x="4517" y="1275"/>
                </a:cubicBezTo>
                <a:cubicBezTo>
                  <a:pt x="4584" y="1208"/>
                  <a:pt x="4584" y="1100"/>
                  <a:pt x="4517" y="1033"/>
                </a:cubicBezTo>
                <a:lnTo>
                  <a:pt x="3551" y="67"/>
                </a:lnTo>
                <a:cubicBezTo>
                  <a:pt x="3484" y="0"/>
                  <a:pt x="3376" y="0"/>
                  <a:pt x="3310" y="67"/>
                </a:cubicBezTo>
                <a:lnTo>
                  <a:pt x="2343" y="1033"/>
                </a:lnTo>
                <a:cubicBezTo>
                  <a:pt x="2277" y="1100"/>
                  <a:pt x="2277" y="1208"/>
                  <a:pt x="2343" y="1275"/>
                </a:cubicBezTo>
                <a:cubicBezTo>
                  <a:pt x="2410" y="1342"/>
                  <a:pt x="2518" y="1342"/>
                  <a:pt x="2585" y="1275"/>
                </a:cubicBezTo>
                <a:lnTo>
                  <a:pt x="3260" y="600"/>
                </a:lnTo>
                <a:lnTo>
                  <a:pt x="3260" y="3257"/>
                </a:lnTo>
                <a:lnTo>
                  <a:pt x="600" y="3257"/>
                </a:lnTo>
                <a:lnTo>
                  <a:pt x="1275" y="2583"/>
                </a:lnTo>
                <a:cubicBezTo>
                  <a:pt x="1342" y="2516"/>
                  <a:pt x="1342" y="2408"/>
                  <a:pt x="1275" y="2341"/>
                </a:cubicBezTo>
                <a:cubicBezTo>
                  <a:pt x="1208" y="2274"/>
                  <a:pt x="1100" y="2274"/>
                  <a:pt x="1033" y="2341"/>
                </a:cubicBezTo>
                <a:lnTo>
                  <a:pt x="67" y="3307"/>
                </a:lnTo>
                <a:cubicBezTo>
                  <a:pt x="0" y="3374"/>
                  <a:pt x="0" y="3482"/>
                  <a:pt x="67" y="3549"/>
                </a:cubicBezTo>
                <a:lnTo>
                  <a:pt x="1033" y="4515"/>
                </a:lnTo>
                <a:cubicBezTo>
                  <a:pt x="1100" y="4582"/>
                  <a:pt x="1208" y="4582"/>
                  <a:pt x="1275" y="4515"/>
                </a:cubicBezTo>
                <a:cubicBezTo>
                  <a:pt x="1342" y="4448"/>
                  <a:pt x="1342" y="4340"/>
                  <a:pt x="1275" y="4273"/>
                </a:cubicBezTo>
                <a:lnTo>
                  <a:pt x="600" y="3599"/>
                </a:lnTo>
                <a:lnTo>
                  <a:pt x="3260" y="3599"/>
                </a:lnTo>
                <a:lnTo>
                  <a:pt x="3260" y="6261"/>
                </a:lnTo>
                <a:lnTo>
                  <a:pt x="2585" y="5586"/>
                </a:lnTo>
                <a:cubicBezTo>
                  <a:pt x="2518" y="5519"/>
                  <a:pt x="2410" y="5519"/>
                  <a:pt x="2344" y="5586"/>
                </a:cubicBezTo>
                <a:cubicBezTo>
                  <a:pt x="2277" y="5653"/>
                  <a:pt x="2277" y="5761"/>
                  <a:pt x="2344" y="5827"/>
                </a:cubicBezTo>
                <a:lnTo>
                  <a:pt x="3310" y="6794"/>
                </a:lnTo>
                <a:cubicBezTo>
                  <a:pt x="3376" y="6860"/>
                  <a:pt x="3484" y="6860"/>
                  <a:pt x="3551" y="6794"/>
                </a:cubicBezTo>
                <a:lnTo>
                  <a:pt x="4517" y="5828"/>
                </a:lnTo>
                <a:cubicBezTo>
                  <a:pt x="4584" y="5761"/>
                  <a:pt x="4584" y="5653"/>
                  <a:pt x="4517" y="5586"/>
                </a:cubicBezTo>
                <a:cubicBezTo>
                  <a:pt x="4451" y="5519"/>
                  <a:pt x="4343" y="5519"/>
                  <a:pt x="4276" y="5586"/>
                </a:cubicBezTo>
                <a:lnTo>
                  <a:pt x="3601" y="6261"/>
                </a:lnTo>
                <a:lnTo>
                  <a:pt x="3601" y="3599"/>
                </a:lnTo>
                <a:lnTo>
                  <a:pt x="6261" y="3599"/>
                </a:lnTo>
                <a:lnTo>
                  <a:pt x="5586" y="4273"/>
                </a:lnTo>
                <a:cubicBezTo>
                  <a:pt x="5519" y="4340"/>
                  <a:pt x="5519" y="4448"/>
                  <a:pt x="5586" y="4515"/>
                </a:cubicBezTo>
                <a:cubicBezTo>
                  <a:pt x="5653" y="4582"/>
                  <a:pt x="5761" y="4582"/>
                  <a:pt x="5828" y="4515"/>
                </a:cubicBezTo>
                <a:lnTo>
                  <a:pt x="6794" y="3549"/>
                </a:lnTo>
                <a:cubicBezTo>
                  <a:pt x="6860" y="3482"/>
                  <a:pt x="6860" y="3374"/>
                  <a:pt x="6794" y="3307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8" name="í$1iḍe">
            <a:extLst>
              <a:ext uri="{FF2B5EF4-FFF2-40B4-BE49-F238E27FC236}">
                <a16:creationId xmlns:a16="http://schemas.microsoft.com/office/drawing/2014/main" id="{E36B47EF-B4B1-49A9-A571-E5D7BCC4CB84}"/>
              </a:ext>
            </a:extLst>
          </p:cNvPr>
          <p:cNvSpPr/>
          <p:nvPr/>
        </p:nvSpPr>
        <p:spPr bwMode="auto">
          <a:xfrm>
            <a:off x="1237152" y="3076388"/>
            <a:ext cx="2164253" cy="3713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Autofit/>
          </a:bodyPr>
          <a:lstStyle/>
          <a:p>
            <a:pPr algn="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iSlide</a:t>
            </a:r>
            <a:r>
              <a:rPr lang="en-US" altLang="zh-CN" sz="1000" dirty="0"/>
              <a:t>  (www.islide.cc)</a:t>
            </a:r>
            <a:endParaRPr lang="zh-CN" altLang="en-US" sz="1000" dirty="0"/>
          </a:p>
        </p:txBody>
      </p:sp>
      <p:sp>
        <p:nvSpPr>
          <p:cNvPr id="29" name="îsḷïḑé">
            <a:extLst>
              <a:ext uri="{FF2B5EF4-FFF2-40B4-BE49-F238E27FC236}">
                <a16:creationId xmlns:a16="http://schemas.microsoft.com/office/drawing/2014/main" id="{7A2CA6AB-5C9A-42E4-9450-50976907664A}"/>
              </a:ext>
            </a:extLst>
          </p:cNvPr>
          <p:cNvSpPr txBox="1"/>
          <p:nvPr/>
        </p:nvSpPr>
        <p:spPr bwMode="auto">
          <a:xfrm>
            <a:off x="1237152" y="2725249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  <a:endParaRPr lang="zh-CN" altLang="en-US" sz="1800" b="1" dirty="0"/>
          </a:p>
        </p:txBody>
      </p:sp>
      <p:sp>
        <p:nvSpPr>
          <p:cNvPr id="26" name="îślïḋé">
            <a:extLst>
              <a:ext uri="{FF2B5EF4-FFF2-40B4-BE49-F238E27FC236}">
                <a16:creationId xmlns:a16="http://schemas.microsoft.com/office/drawing/2014/main" id="{C344A892-3AE4-4E62-8485-322539C91248}"/>
              </a:ext>
            </a:extLst>
          </p:cNvPr>
          <p:cNvSpPr/>
          <p:nvPr/>
        </p:nvSpPr>
        <p:spPr bwMode="auto">
          <a:xfrm>
            <a:off x="4931065" y="2380686"/>
            <a:ext cx="2164253" cy="382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iSlide</a:t>
            </a:r>
            <a:r>
              <a:rPr lang="en-US" altLang="zh-CN" sz="1000" dirty="0"/>
              <a:t>  (www.islide.cc)</a:t>
            </a:r>
            <a:endParaRPr lang="zh-CN" altLang="en-US" sz="1000" dirty="0"/>
          </a:p>
        </p:txBody>
      </p:sp>
      <p:sp>
        <p:nvSpPr>
          <p:cNvPr id="27" name="ïṧļïḍe">
            <a:extLst>
              <a:ext uri="{FF2B5EF4-FFF2-40B4-BE49-F238E27FC236}">
                <a16:creationId xmlns:a16="http://schemas.microsoft.com/office/drawing/2014/main" id="{36B54A2C-FC6E-44E3-8200-AB829FEF4E28}"/>
              </a:ext>
            </a:extLst>
          </p:cNvPr>
          <p:cNvSpPr txBox="1"/>
          <p:nvPr/>
        </p:nvSpPr>
        <p:spPr bwMode="auto">
          <a:xfrm>
            <a:off x="4931065" y="2029547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  <a:endParaRPr lang="zh-CN" altLang="en-US" sz="1800" b="1" dirty="0"/>
          </a:p>
        </p:txBody>
      </p:sp>
      <p:sp>
        <p:nvSpPr>
          <p:cNvPr id="24" name="îṡļíḑê">
            <a:extLst>
              <a:ext uri="{FF2B5EF4-FFF2-40B4-BE49-F238E27FC236}">
                <a16:creationId xmlns:a16="http://schemas.microsoft.com/office/drawing/2014/main" id="{D1F3286B-9C8A-4B57-86D0-B96A020C6F91}"/>
              </a:ext>
            </a:extLst>
          </p:cNvPr>
          <p:cNvSpPr/>
          <p:nvPr/>
        </p:nvSpPr>
        <p:spPr bwMode="auto">
          <a:xfrm>
            <a:off x="4252196" y="4450690"/>
            <a:ext cx="2164253" cy="393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Autofit/>
          </a:bodyPr>
          <a:lstStyle/>
          <a:p>
            <a:pPr algn="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iSlide</a:t>
            </a:r>
            <a:r>
              <a:rPr lang="en-US" altLang="zh-CN" sz="1000" dirty="0"/>
              <a:t>  (www.islide.cc)</a:t>
            </a:r>
            <a:endParaRPr lang="zh-CN" altLang="en-US" sz="1000" dirty="0"/>
          </a:p>
        </p:txBody>
      </p:sp>
      <p:sp>
        <p:nvSpPr>
          <p:cNvPr id="25" name="ïŝļíḍè">
            <a:extLst>
              <a:ext uri="{FF2B5EF4-FFF2-40B4-BE49-F238E27FC236}">
                <a16:creationId xmlns:a16="http://schemas.microsoft.com/office/drawing/2014/main" id="{5FD49B9E-63CD-4B1F-9FDE-30E7E87E0637}"/>
              </a:ext>
            </a:extLst>
          </p:cNvPr>
          <p:cNvSpPr txBox="1"/>
          <p:nvPr/>
        </p:nvSpPr>
        <p:spPr bwMode="auto">
          <a:xfrm>
            <a:off x="4252196" y="4099551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22" name="íSḷïdé">
            <a:extLst>
              <a:ext uri="{FF2B5EF4-FFF2-40B4-BE49-F238E27FC236}">
                <a16:creationId xmlns:a16="http://schemas.microsoft.com/office/drawing/2014/main" id="{BC9754A1-6E73-47A9-8BA2-ACCB031058AD}"/>
              </a:ext>
            </a:extLst>
          </p:cNvPr>
          <p:cNvSpPr/>
          <p:nvPr/>
        </p:nvSpPr>
        <p:spPr bwMode="auto">
          <a:xfrm>
            <a:off x="7953726" y="3798885"/>
            <a:ext cx="2164253" cy="41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iSlide</a:t>
            </a:r>
            <a:r>
              <a:rPr lang="en-US" altLang="zh-CN" sz="1000" dirty="0"/>
              <a:t>  (www.islide.cc)</a:t>
            </a:r>
            <a:endParaRPr lang="zh-CN" altLang="en-US" sz="1000" dirty="0"/>
          </a:p>
        </p:txBody>
      </p:sp>
      <p:sp>
        <p:nvSpPr>
          <p:cNvPr id="23" name="iś1iḓê">
            <a:extLst>
              <a:ext uri="{FF2B5EF4-FFF2-40B4-BE49-F238E27FC236}">
                <a16:creationId xmlns:a16="http://schemas.microsoft.com/office/drawing/2014/main" id="{1F65C1CD-CA77-4835-9A8A-D9F2EA141858}"/>
              </a:ext>
            </a:extLst>
          </p:cNvPr>
          <p:cNvSpPr txBox="1"/>
          <p:nvPr/>
        </p:nvSpPr>
        <p:spPr bwMode="auto">
          <a:xfrm>
            <a:off x="7953726" y="3447746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  <a:endParaRPr lang="zh-CN" altLang="en-US" sz="1800" b="1" dirty="0"/>
          </a:p>
        </p:txBody>
      </p:sp>
      <p:sp>
        <p:nvSpPr>
          <p:cNvPr id="20" name="îṡļïḋè">
            <a:extLst>
              <a:ext uri="{FF2B5EF4-FFF2-40B4-BE49-F238E27FC236}">
                <a16:creationId xmlns:a16="http://schemas.microsoft.com/office/drawing/2014/main" id="{A5C47975-F978-45EA-9C80-B676D000DB2E}"/>
              </a:ext>
            </a:extLst>
          </p:cNvPr>
          <p:cNvSpPr/>
          <p:nvPr/>
        </p:nvSpPr>
        <p:spPr bwMode="auto">
          <a:xfrm>
            <a:off x="6452026" y="5449677"/>
            <a:ext cx="2164253" cy="398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Autofit/>
          </a:bodyPr>
          <a:lstStyle/>
          <a:p>
            <a:pPr algn="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iSlide</a:t>
            </a:r>
            <a:r>
              <a:rPr lang="en-US" altLang="zh-CN" sz="1000" dirty="0"/>
              <a:t>  (www.islide.cc)</a:t>
            </a:r>
            <a:endParaRPr lang="zh-CN" altLang="en-US" sz="1000" dirty="0"/>
          </a:p>
        </p:txBody>
      </p:sp>
      <p:sp>
        <p:nvSpPr>
          <p:cNvPr id="21" name="iṩḷïḍe">
            <a:extLst>
              <a:ext uri="{FF2B5EF4-FFF2-40B4-BE49-F238E27FC236}">
                <a16:creationId xmlns:a16="http://schemas.microsoft.com/office/drawing/2014/main" id="{9AEE7942-D7F9-40A6-8A94-9507AA49C680}"/>
              </a:ext>
            </a:extLst>
          </p:cNvPr>
          <p:cNvSpPr txBox="1"/>
          <p:nvPr/>
        </p:nvSpPr>
        <p:spPr bwMode="auto">
          <a:xfrm>
            <a:off x="6452026" y="5098538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  <a:endParaRPr lang="zh-CN" altLang="en-US" sz="1800" b="1" dirty="0"/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F2F5C5AF-2F94-4FF0-B796-CBA056DDF48E}"/>
              </a:ext>
            </a:extLst>
          </p:cNvPr>
          <p:cNvCxnSpPr/>
          <p:nvPr/>
        </p:nvCxnSpPr>
        <p:spPr>
          <a:xfrm>
            <a:off x="1415480" y="3880335"/>
            <a:ext cx="4140460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089D8605-0AF7-484D-83C8-CA03FEBC4CD3}"/>
              </a:ext>
            </a:extLst>
          </p:cNvPr>
          <p:cNvCxnSpPr/>
          <p:nvPr/>
        </p:nvCxnSpPr>
        <p:spPr>
          <a:xfrm>
            <a:off x="2954858" y="5098538"/>
            <a:ext cx="4140460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9157663-A8F6-4AF5-9821-C0922CB69A46}"/>
              </a:ext>
            </a:extLst>
          </p:cNvPr>
          <p:cNvCxnSpPr/>
          <p:nvPr/>
        </p:nvCxnSpPr>
        <p:spPr>
          <a:xfrm>
            <a:off x="5087888" y="2959631"/>
            <a:ext cx="5280830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332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1284" y="2419538"/>
            <a:ext cx="5013901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论文总结与展望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00" y="3314888"/>
            <a:ext cx="5013901" cy="1015623"/>
          </a:xfrm>
        </p:spPr>
        <p:txBody>
          <a:bodyPr/>
          <a:lstStyle/>
          <a:p>
            <a:r>
              <a:rPr lang="zh-CN" altLang="en-US"/>
              <a:t>本章节内容介绍文字</a:t>
            </a:r>
            <a:endParaRPr lang="en-US" altLang="zh-CN"/>
          </a:p>
          <a:p>
            <a:r>
              <a:rPr lang="en-US" altLang="zh-CN"/>
              <a:t>PPT</a:t>
            </a:r>
            <a:r>
              <a:rPr lang="zh-CN" altLang="en-US"/>
              <a:t>中的节标题可以帮助观众更有效的阅读和理解报告内容</a:t>
            </a:r>
            <a:endParaRPr lang="en-US" altLang="zh-CN"/>
          </a:p>
          <a:p>
            <a:r>
              <a:rPr lang="zh-CN" altLang="en-US"/>
              <a:t>您可以在幻灯片母版中对本页样式进行修改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500168" y="1918433"/>
            <a:ext cx="1803488" cy="80415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r>
              <a:rPr lang="zh-CN" altLang="en-US" sz="2800" b="1" dirty="0">
                <a:solidFill>
                  <a:schemeClr val="accent2"/>
                </a:solidFill>
              </a:rPr>
              <a:t>第五章</a:t>
            </a:r>
            <a:endParaRPr lang="en-US" altLang="zh-CN" sz="2800" b="1" dirty="0">
              <a:solidFill>
                <a:schemeClr val="accent2"/>
              </a:solidFill>
            </a:endParaRPr>
          </a:p>
          <a:p>
            <a:r>
              <a:rPr lang="en-US" altLang="zh-CN" sz="1100" b="1" dirty="0">
                <a:solidFill>
                  <a:schemeClr val="accent2"/>
                </a:solidFill>
              </a:rPr>
              <a:t>The fist chapter</a:t>
            </a:r>
            <a:endParaRPr lang="zh-CN" altLang="en-US" sz="1100" b="1" dirty="0">
              <a:solidFill>
                <a:schemeClr val="accent2"/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D359F57-F914-445A-B752-CBD4C3D34405}"/>
              </a:ext>
            </a:extLst>
          </p:cNvPr>
          <p:cNvCxnSpPr>
            <a:cxnSpLocks/>
          </p:cNvCxnSpPr>
          <p:nvPr/>
        </p:nvCxnSpPr>
        <p:spPr>
          <a:xfrm>
            <a:off x="6599209" y="2765585"/>
            <a:ext cx="4915976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A576D917-B5FE-4697-8A81-22B09D3F4165}"/>
              </a:ext>
            </a:extLst>
          </p:cNvPr>
          <p:cNvSpPr>
            <a:spLocks/>
          </p:cNvSpPr>
          <p:nvPr/>
        </p:nvSpPr>
        <p:spPr>
          <a:xfrm>
            <a:off x="0" y="0"/>
            <a:ext cx="6093767" cy="6858000"/>
          </a:xfrm>
          <a:prstGeom prst="rect">
            <a:avLst/>
          </a:prstGeom>
          <a:blipFill>
            <a:blip r:embed="rId2"/>
            <a:srcRect/>
            <a:stretch>
              <a:fillRect l="-20506" r="-205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ṧļïḋê">
            <a:extLst>
              <a:ext uri="{FF2B5EF4-FFF2-40B4-BE49-F238E27FC236}">
                <a16:creationId xmlns:a16="http://schemas.microsoft.com/office/drawing/2014/main" id="{742A6018-840A-47FD-80B0-2D92C6808D4E}"/>
              </a:ext>
            </a:extLst>
          </p:cNvPr>
          <p:cNvSpPr>
            <a:spLocks/>
          </p:cNvSpPr>
          <p:nvPr/>
        </p:nvSpPr>
        <p:spPr>
          <a:xfrm>
            <a:off x="1" y="0"/>
            <a:ext cx="6093767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47859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0A4D6A-72FE-4F89-9442-A6FFF9F5A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1B02922-C1B9-40FD-BC25-F303F0629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539CBE9-295B-40B7-AE87-C529168DD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6CBDCA59-1872-49D6-9DB7-059360C91D1D}"/>
              </a:ext>
            </a:extLst>
          </p:cNvPr>
          <p:cNvCxnSpPr>
            <a:cxnSpLocks/>
          </p:cNvCxnSpPr>
          <p:nvPr/>
        </p:nvCxnSpPr>
        <p:spPr>
          <a:xfrm>
            <a:off x="706088" y="5906240"/>
            <a:ext cx="10779824" cy="0"/>
          </a:xfrm>
          <a:prstGeom prst="line">
            <a:avLst/>
          </a:prstGeom>
          <a:ln w="57150" cap="rnd">
            <a:solidFill>
              <a:schemeClr val="bg1">
                <a:lumMod val="85000"/>
              </a:schemeClr>
            </a:solidFill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ïSḷîḋê">
            <a:extLst>
              <a:ext uri="{FF2B5EF4-FFF2-40B4-BE49-F238E27FC236}">
                <a16:creationId xmlns:a16="http://schemas.microsoft.com/office/drawing/2014/main" id="{0179217D-47C6-4780-AF1C-62D90B20BF0B}"/>
              </a:ext>
            </a:extLst>
          </p:cNvPr>
          <p:cNvSpPr txBox="1"/>
          <p:nvPr/>
        </p:nvSpPr>
        <p:spPr>
          <a:xfrm>
            <a:off x="2763837" y="1164590"/>
            <a:ext cx="6664326" cy="113914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200" dirty="0"/>
              <a:t>Unified fonts make reading more fluent.</a:t>
            </a:r>
          </a:p>
          <a:p>
            <a:pPr algn="ctr">
              <a:lnSpc>
                <a:spcPct val="150000"/>
              </a:lnSpc>
            </a:pPr>
            <a:r>
              <a:rPr lang="en-US" altLang="zh-CN" sz="1600" b="1" dirty="0"/>
              <a:t>Theme color makes PPT more convenient to change.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/>
              <a:t>Adjust the spacing to adapt to Chinese typesetting, use the reference line in PPT.</a:t>
            </a:r>
            <a:endParaRPr lang="en-US" altLang="zh-CN" sz="1400" b="1" dirty="0"/>
          </a:p>
          <a:p>
            <a:pPr algn="ctr">
              <a:lnSpc>
                <a:spcPct val="150000"/>
              </a:lnSpc>
            </a:pP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58714EC2-3877-480A-AB7D-98423259BE22}"/>
              </a:ext>
            </a:extLst>
          </p:cNvPr>
          <p:cNvCxnSpPr>
            <a:cxnSpLocks/>
            <a:stCxn id="16" idx="1"/>
            <a:endCxn id="20" idx="2"/>
          </p:cNvCxnSpPr>
          <p:nvPr/>
        </p:nvCxnSpPr>
        <p:spPr>
          <a:xfrm>
            <a:off x="1276664" y="2964691"/>
            <a:ext cx="0" cy="2938533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ïṧlïḍe">
            <a:extLst>
              <a:ext uri="{FF2B5EF4-FFF2-40B4-BE49-F238E27FC236}">
                <a16:creationId xmlns:a16="http://schemas.microsoft.com/office/drawing/2014/main" id="{A15BB8D1-073E-468E-B370-C8CB7F8B8A3F}"/>
              </a:ext>
            </a:extLst>
          </p:cNvPr>
          <p:cNvSpPr/>
          <p:nvPr/>
        </p:nvSpPr>
        <p:spPr>
          <a:xfrm>
            <a:off x="1276664" y="3730564"/>
            <a:ext cx="1808698" cy="1630726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000" dirty="0"/>
          </a:p>
        </p:txBody>
      </p:sp>
      <p:sp>
        <p:nvSpPr>
          <p:cNvPr id="33" name="iśḻîḋé">
            <a:extLst>
              <a:ext uri="{FF2B5EF4-FFF2-40B4-BE49-F238E27FC236}">
                <a16:creationId xmlns:a16="http://schemas.microsoft.com/office/drawing/2014/main" id="{85CDCE19-D223-4962-BC10-C9E092218CA1}"/>
              </a:ext>
            </a:extLst>
          </p:cNvPr>
          <p:cNvSpPr txBox="1"/>
          <p:nvPr/>
        </p:nvSpPr>
        <p:spPr bwMode="auto">
          <a:xfrm>
            <a:off x="1276664" y="3379425"/>
            <a:ext cx="1807200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FEF1BB62-FC0A-44BE-A0F9-376F1910C764}"/>
              </a:ext>
            </a:extLst>
          </p:cNvPr>
          <p:cNvCxnSpPr>
            <a:cxnSpLocks/>
            <a:stCxn id="17" idx="1"/>
            <a:endCxn id="21" idx="2"/>
          </p:cNvCxnSpPr>
          <p:nvPr/>
        </p:nvCxnSpPr>
        <p:spPr>
          <a:xfrm flipH="1">
            <a:off x="3666590" y="2964691"/>
            <a:ext cx="25527" cy="2938533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ï$1ïďê">
            <a:extLst>
              <a:ext uri="{FF2B5EF4-FFF2-40B4-BE49-F238E27FC236}">
                <a16:creationId xmlns:a16="http://schemas.microsoft.com/office/drawing/2014/main" id="{80B35B83-3AD3-4A53-88AC-B334CD453C1D}"/>
              </a:ext>
            </a:extLst>
          </p:cNvPr>
          <p:cNvSpPr/>
          <p:nvPr/>
        </p:nvSpPr>
        <p:spPr>
          <a:xfrm>
            <a:off x="3692117" y="3730564"/>
            <a:ext cx="1808698" cy="1630726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</p:txBody>
      </p:sp>
      <p:sp>
        <p:nvSpPr>
          <p:cNvPr id="31" name="ïṣḻíďé">
            <a:extLst>
              <a:ext uri="{FF2B5EF4-FFF2-40B4-BE49-F238E27FC236}">
                <a16:creationId xmlns:a16="http://schemas.microsoft.com/office/drawing/2014/main" id="{40DDE2A3-015C-4554-8F33-B4322E55B992}"/>
              </a:ext>
            </a:extLst>
          </p:cNvPr>
          <p:cNvSpPr txBox="1"/>
          <p:nvPr/>
        </p:nvSpPr>
        <p:spPr bwMode="auto">
          <a:xfrm>
            <a:off x="3692117" y="3379425"/>
            <a:ext cx="1807200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E9FFA34D-8F77-42A7-8FA0-C2896F005807}"/>
              </a:ext>
            </a:extLst>
          </p:cNvPr>
          <p:cNvCxnSpPr>
            <a:cxnSpLocks/>
            <a:stCxn id="18" idx="1"/>
            <a:endCxn id="22" idx="2"/>
          </p:cNvCxnSpPr>
          <p:nvPr/>
        </p:nvCxnSpPr>
        <p:spPr>
          <a:xfrm>
            <a:off x="6747214" y="2962869"/>
            <a:ext cx="0" cy="294035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îṧlïḍê">
            <a:extLst>
              <a:ext uri="{FF2B5EF4-FFF2-40B4-BE49-F238E27FC236}">
                <a16:creationId xmlns:a16="http://schemas.microsoft.com/office/drawing/2014/main" id="{765FAB06-06F7-42BE-9D5D-93DA6147D770}"/>
              </a:ext>
            </a:extLst>
          </p:cNvPr>
          <p:cNvSpPr/>
          <p:nvPr/>
        </p:nvSpPr>
        <p:spPr>
          <a:xfrm>
            <a:off x="6820366" y="4251959"/>
            <a:ext cx="1112841" cy="1112841"/>
          </a:xfrm>
          <a:prstGeom prst="ellipse">
            <a:avLst/>
          </a:prstGeom>
          <a:blipFill>
            <a:blip r:embed="rId3"/>
            <a:stretch>
              <a:fillRect l="-20606" t="4360" r="-33972" b="-4360"/>
            </a:stretch>
          </a:blipFill>
          <a:ln w="381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8" name="iSḷiďe">
            <a:extLst>
              <a:ext uri="{FF2B5EF4-FFF2-40B4-BE49-F238E27FC236}">
                <a16:creationId xmlns:a16="http://schemas.microsoft.com/office/drawing/2014/main" id="{38C91F96-B7CC-48C1-98CC-F4C3373AF17B}"/>
              </a:ext>
            </a:extLst>
          </p:cNvPr>
          <p:cNvSpPr/>
          <p:nvPr/>
        </p:nvSpPr>
        <p:spPr>
          <a:xfrm>
            <a:off x="6747214" y="3728742"/>
            <a:ext cx="1808698" cy="48808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9" name="ïṩļiḋê">
            <a:extLst>
              <a:ext uri="{FF2B5EF4-FFF2-40B4-BE49-F238E27FC236}">
                <a16:creationId xmlns:a16="http://schemas.microsoft.com/office/drawing/2014/main" id="{E48D32C9-A3FC-42E2-891C-A8F3FBE1E289}"/>
              </a:ext>
            </a:extLst>
          </p:cNvPr>
          <p:cNvSpPr txBox="1"/>
          <p:nvPr/>
        </p:nvSpPr>
        <p:spPr bwMode="auto">
          <a:xfrm>
            <a:off x="6747214" y="3377603"/>
            <a:ext cx="1807200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809E2D1B-E701-49D5-BA98-E7C13536D46F}"/>
              </a:ext>
            </a:extLst>
          </p:cNvPr>
          <p:cNvCxnSpPr>
            <a:cxnSpLocks/>
            <a:stCxn id="19" idx="1"/>
            <a:endCxn id="23" idx="2"/>
          </p:cNvCxnSpPr>
          <p:nvPr/>
        </p:nvCxnSpPr>
        <p:spPr>
          <a:xfrm>
            <a:off x="9532294" y="2962869"/>
            <a:ext cx="0" cy="294035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ïṥḻïdè">
            <a:extLst>
              <a:ext uri="{FF2B5EF4-FFF2-40B4-BE49-F238E27FC236}">
                <a16:creationId xmlns:a16="http://schemas.microsoft.com/office/drawing/2014/main" id="{78E5199B-82FE-4959-8EB3-327B48FE70DE}"/>
              </a:ext>
            </a:extLst>
          </p:cNvPr>
          <p:cNvSpPr/>
          <p:nvPr/>
        </p:nvSpPr>
        <p:spPr>
          <a:xfrm>
            <a:off x="9532294" y="3728742"/>
            <a:ext cx="1808698" cy="1630726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 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000" dirty="0"/>
          </a:p>
        </p:txBody>
      </p:sp>
      <p:sp>
        <p:nvSpPr>
          <p:cNvPr id="25" name="ïşlïḓé">
            <a:extLst>
              <a:ext uri="{FF2B5EF4-FFF2-40B4-BE49-F238E27FC236}">
                <a16:creationId xmlns:a16="http://schemas.microsoft.com/office/drawing/2014/main" id="{9CDB5650-C858-411A-9958-6060EE19388C}"/>
              </a:ext>
            </a:extLst>
          </p:cNvPr>
          <p:cNvSpPr txBox="1"/>
          <p:nvPr/>
        </p:nvSpPr>
        <p:spPr bwMode="auto">
          <a:xfrm>
            <a:off x="9532294" y="3377603"/>
            <a:ext cx="1807200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6" name="ïṡḻîḍé">
            <a:extLst>
              <a:ext uri="{FF2B5EF4-FFF2-40B4-BE49-F238E27FC236}">
                <a16:creationId xmlns:a16="http://schemas.microsoft.com/office/drawing/2014/main" id="{4271E8B1-BB2D-4CC7-8681-02C940EB5CB5}"/>
              </a:ext>
            </a:extLst>
          </p:cNvPr>
          <p:cNvSpPr/>
          <p:nvPr/>
        </p:nvSpPr>
        <p:spPr>
          <a:xfrm>
            <a:off x="1276664" y="2757324"/>
            <a:ext cx="954178" cy="414734"/>
          </a:xfrm>
          <a:prstGeom prst="roundRect">
            <a:avLst>
              <a:gd name="adj" fmla="val 1685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rtlCol="0" anchor="ctr">
            <a:norm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</a:rPr>
              <a:t>Key word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iśḷïḑe">
            <a:extLst>
              <a:ext uri="{FF2B5EF4-FFF2-40B4-BE49-F238E27FC236}">
                <a16:creationId xmlns:a16="http://schemas.microsoft.com/office/drawing/2014/main" id="{FAE5A38B-2A85-4EFD-A065-ED784FBA6E7E}"/>
              </a:ext>
            </a:extLst>
          </p:cNvPr>
          <p:cNvSpPr/>
          <p:nvPr/>
        </p:nvSpPr>
        <p:spPr>
          <a:xfrm>
            <a:off x="3692117" y="2757324"/>
            <a:ext cx="954178" cy="414734"/>
          </a:xfrm>
          <a:prstGeom prst="roundRect">
            <a:avLst>
              <a:gd name="adj" fmla="val 212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rtlCol="0" anchor="ctr">
            <a:norm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</a:rPr>
              <a:t>Key word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ïŝľiḋè">
            <a:extLst>
              <a:ext uri="{FF2B5EF4-FFF2-40B4-BE49-F238E27FC236}">
                <a16:creationId xmlns:a16="http://schemas.microsoft.com/office/drawing/2014/main" id="{EFDA75E2-36D3-4A7C-858C-3E456E37E9C5}"/>
              </a:ext>
            </a:extLst>
          </p:cNvPr>
          <p:cNvSpPr/>
          <p:nvPr/>
        </p:nvSpPr>
        <p:spPr>
          <a:xfrm>
            <a:off x="6747214" y="2755502"/>
            <a:ext cx="954178" cy="414734"/>
          </a:xfrm>
          <a:prstGeom prst="roundRect">
            <a:avLst>
              <a:gd name="adj" fmla="val 2126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rtlCol="0" anchor="ctr">
            <a:norm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</a:rPr>
              <a:t>Key word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íṧľiḑè">
            <a:extLst>
              <a:ext uri="{FF2B5EF4-FFF2-40B4-BE49-F238E27FC236}">
                <a16:creationId xmlns:a16="http://schemas.microsoft.com/office/drawing/2014/main" id="{96771A30-DE61-4D5C-AA01-8BC9A11B70F7}"/>
              </a:ext>
            </a:extLst>
          </p:cNvPr>
          <p:cNvSpPr/>
          <p:nvPr/>
        </p:nvSpPr>
        <p:spPr>
          <a:xfrm>
            <a:off x="9532294" y="2755502"/>
            <a:ext cx="954178" cy="414734"/>
          </a:xfrm>
          <a:prstGeom prst="roundRect">
            <a:avLst>
              <a:gd name="adj" fmla="val 212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rtlCol="0" anchor="ctr">
            <a:norm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</a:rPr>
              <a:t>Key word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îṣḷîďé">
            <a:extLst>
              <a:ext uri="{FF2B5EF4-FFF2-40B4-BE49-F238E27FC236}">
                <a16:creationId xmlns:a16="http://schemas.microsoft.com/office/drawing/2014/main" id="{998AB818-2BAF-481B-9E0C-4C63EA959F01}"/>
              </a:ext>
            </a:extLst>
          </p:cNvPr>
          <p:cNvSpPr/>
          <p:nvPr/>
        </p:nvSpPr>
        <p:spPr>
          <a:xfrm>
            <a:off x="1276664" y="5687568"/>
            <a:ext cx="431312" cy="431312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775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/>
              <a:t>Q1</a:t>
            </a:r>
            <a:endParaRPr lang="zh-CN" altLang="en-US" b="1" dirty="0"/>
          </a:p>
        </p:txBody>
      </p:sp>
      <p:sp>
        <p:nvSpPr>
          <p:cNvPr id="21" name="î$liḋè">
            <a:extLst>
              <a:ext uri="{FF2B5EF4-FFF2-40B4-BE49-F238E27FC236}">
                <a16:creationId xmlns:a16="http://schemas.microsoft.com/office/drawing/2014/main" id="{B3059CAD-0D85-4678-88D6-BFCABF2EBE4F}"/>
              </a:ext>
            </a:extLst>
          </p:cNvPr>
          <p:cNvSpPr/>
          <p:nvPr/>
        </p:nvSpPr>
        <p:spPr>
          <a:xfrm>
            <a:off x="3666590" y="5687568"/>
            <a:ext cx="431312" cy="431312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775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/>
              <a:t>Q2</a:t>
            </a:r>
            <a:endParaRPr lang="zh-CN" altLang="en-US" b="1" dirty="0"/>
          </a:p>
        </p:txBody>
      </p:sp>
      <p:sp>
        <p:nvSpPr>
          <p:cNvPr id="22" name="is1idê">
            <a:extLst>
              <a:ext uri="{FF2B5EF4-FFF2-40B4-BE49-F238E27FC236}">
                <a16:creationId xmlns:a16="http://schemas.microsoft.com/office/drawing/2014/main" id="{E7D0BF69-93E3-4568-AD9E-6CD6C6E08618}"/>
              </a:ext>
            </a:extLst>
          </p:cNvPr>
          <p:cNvSpPr/>
          <p:nvPr/>
        </p:nvSpPr>
        <p:spPr>
          <a:xfrm>
            <a:off x="6747214" y="5687568"/>
            <a:ext cx="431312" cy="431312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775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/>
              <a:t>Q3</a:t>
            </a:r>
            <a:endParaRPr lang="zh-CN" altLang="en-US" b="1" dirty="0"/>
          </a:p>
        </p:txBody>
      </p:sp>
      <p:sp>
        <p:nvSpPr>
          <p:cNvPr id="23" name="išḻîdè">
            <a:extLst>
              <a:ext uri="{FF2B5EF4-FFF2-40B4-BE49-F238E27FC236}">
                <a16:creationId xmlns:a16="http://schemas.microsoft.com/office/drawing/2014/main" id="{67A3B9A3-924A-412A-8348-258DF5B63781}"/>
              </a:ext>
            </a:extLst>
          </p:cNvPr>
          <p:cNvSpPr/>
          <p:nvPr/>
        </p:nvSpPr>
        <p:spPr>
          <a:xfrm>
            <a:off x="9532294" y="5687568"/>
            <a:ext cx="431312" cy="431312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77500" lnSpcReduction="2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/>
              <a:t>Q4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8728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FBFCF6-E756-448F-93F0-5039A3A76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7369F86-7744-4DC5-A799-F820B8EA52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r>
              <a:rPr lang="zh-CN" altLang="en-US"/>
              <a:t>「 让</a:t>
            </a:r>
            <a:r>
              <a:rPr lang="en-US" altLang="zh-CN"/>
              <a:t>PPT</a:t>
            </a:r>
            <a:r>
              <a:rPr lang="zh-CN" altLang="en-US"/>
              <a:t>设计简单起来！」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800BD0-F806-44D3-AEC9-D6FAAFAD6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6" name="îşlîḓe">
            <a:extLst>
              <a:ext uri="{FF2B5EF4-FFF2-40B4-BE49-F238E27FC236}">
                <a16:creationId xmlns:a16="http://schemas.microsoft.com/office/drawing/2014/main" id="{4AEAE6A8-4A09-4A6A-9090-E754E13FC272}"/>
              </a:ext>
            </a:extLst>
          </p:cNvPr>
          <p:cNvSpPr/>
          <p:nvPr/>
        </p:nvSpPr>
        <p:spPr>
          <a:xfrm>
            <a:off x="0" y="4589"/>
            <a:ext cx="12192000" cy="2848347"/>
          </a:xfrm>
          <a:prstGeom prst="roundRect">
            <a:avLst>
              <a:gd name="adj" fmla="val 0"/>
            </a:avLst>
          </a:prstGeom>
          <a:blipFill>
            <a:blip r:embed="rId3"/>
            <a:srcRect/>
            <a:stretch>
              <a:fillRect t="-41743" b="-41743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dirty="0"/>
          </a:p>
        </p:txBody>
      </p:sp>
      <p:sp>
        <p:nvSpPr>
          <p:cNvPr id="7" name="îṧļïḋê">
            <a:extLst>
              <a:ext uri="{FF2B5EF4-FFF2-40B4-BE49-F238E27FC236}">
                <a16:creationId xmlns:a16="http://schemas.microsoft.com/office/drawing/2014/main" id="{379D2030-A5D9-40F8-A194-E5BBA31C2EBD}"/>
              </a:ext>
            </a:extLst>
          </p:cNvPr>
          <p:cNvSpPr/>
          <p:nvPr/>
        </p:nvSpPr>
        <p:spPr>
          <a:xfrm>
            <a:off x="0" y="0"/>
            <a:ext cx="12191208" cy="286092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3" name="iṡľïḑè">
            <a:extLst>
              <a:ext uri="{FF2B5EF4-FFF2-40B4-BE49-F238E27FC236}">
                <a16:creationId xmlns:a16="http://schemas.microsoft.com/office/drawing/2014/main" id="{67A9C1DB-8CF5-4274-A0D7-35838A582874}"/>
              </a:ext>
            </a:extLst>
          </p:cNvPr>
          <p:cNvSpPr txBox="1"/>
          <p:nvPr/>
        </p:nvSpPr>
        <p:spPr bwMode="auto">
          <a:xfrm>
            <a:off x="3510784" y="3207196"/>
            <a:ext cx="8009703" cy="295364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选题背景和研究意义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研究思路与研究方法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关键技术与实践难点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研究成果与应用前景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论文总结与展望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2401F436-FF85-43CC-9590-5B4A09B68598}"/>
              </a:ext>
            </a:extLst>
          </p:cNvPr>
          <p:cNvCxnSpPr>
            <a:cxnSpLocks/>
          </p:cNvCxnSpPr>
          <p:nvPr/>
        </p:nvCxnSpPr>
        <p:spPr>
          <a:xfrm>
            <a:off x="3380411" y="3302000"/>
            <a:ext cx="0" cy="2858840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išľïḋé">
            <a:extLst>
              <a:ext uri="{FF2B5EF4-FFF2-40B4-BE49-F238E27FC236}">
                <a16:creationId xmlns:a16="http://schemas.microsoft.com/office/drawing/2014/main" id="{562B96C3-332F-4B1D-A242-2935565E0919}"/>
              </a:ext>
            </a:extLst>
          </p:cNvPr>
          <p:cNvSpPr txBox="1"/>
          <p:nvPr/>
        </p:nvSpPr>
        <p:spPr>
          <a:xfrm>
            <a:off x="757282" y="3207196"/>
            <a:ext cx="2623091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endParaRPr lang="en-US" sz="28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r"/>
            <a:r>
              <a:rPr lang="tr-TR" sz="2800" dirty="0">
                <a:solidFill>
                  <a:schemeClr val="accent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26" name="poetry_91022">
            <a:extLst>
              <a:ext uri="{FF2B5EF4-FFF2-40B4-BE49-F238E27FC236}">
                <a16:creationId xmlns:a16="http://schemas.microsoft.com/office/drawing/2014/main" id="{71CA67D5-1AF8-40D5-9DDD-C842B2CC1DD6}"/>
              </a:ext>
            </a:extLst>
          </p:cNvPr>
          <p:cNvSpPr>
            <a:spLocks noChangeAspect="1"/>
          </p:cNvSpPr>
          <p:nvPr/>
        </p:nvSpPr>
        <p:spPr bwMode="auto">
          <a:xfrm>
            <a:off x="2379533" y="5243772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48" name="676fecc8-5938-4c2a-98aa-ea8df12395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E8464D7-9623-4854-870E-4C19BEB17FB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073640" y="550863"/>
            <a:ext cx="1445260" cy="392199"/>
            <a:chOff x="2647449" y="2492374"/>
            <a:chExt cx="6897103" cy="1871663"/>
          </a:xfrm>
          <a:solidFill>
            <a:schemeClr val="bg1"/>
          </a:solidFill>
        </p:grpSpPr>
        <p:sp>
          <p:nvSpPr>
            <p:cNvPr id="49" name="íšľíḑe">
              <a:extLst>
                <a:ext uri="{FF2B5EF4-FFF2-40B4-BE49-F238E27FC236}">
                  <a16:creationId xmlns:a16="http://schemas.microsoft.com/office/drawing/2014/main" id="{BA4E9BD3-1CFB-4DEA-846F-15C56314F4D4}"/>
                </a:ext>
              </a:extLst>
            </p:cNvPr>
            <p:cNvSpPr/>
            <p:nvPr userDrawn="1"/>
          </p:nvSpPr>
          <p:spPr bwMode="auto">
            <a:xfrm>
              <a:off x="4864297" y="2650172"/>
              <a:ext cx="4625464" cy="1089247"/>
            </a:xfrm>
            <a:custGeom>
              <a:avLst/>
              <a:gdLst>
                <a:gd name="T0" fmla="*/ 1846 w 2033"/>
                <a:gd name="T1" fmla="*/ 379 h 478"/>
                <a:gd name="T2" fmla="*/ 1836 w 2033"/>
                <a:gd name="T3" fmla="*/ 368 h 478"/>
                <a:gd name="T4" fmla="*/ 1932 w 2033"/>
                <a:gd name="T5" fmla="*/ 256 h 478"/>
                <a:gd name="T6" fmla="*/ 1958 w 2033"/>
                <a:gd name="T7" fmla="*/ 124 h 478"/>
                <a:gd name="T8" fmla="*/ 1868 w 2033"/>
                <a:gd name="T9" fmla="*/ 215 h 478"/>
                <a:gd name="T10" fmla="*/ 1814 w 2033"/>
                <a:gd name="T11" fmla="*/ 242 h 478"/>
                <a:gd name="T12" fmla="*/ 1796 w 2033"/>
                <a:gd name="T13" fmla="*/ 130 h 478"/>
                <a:gd name="T14" fmla="*/ 1834 w 2033"/>
                <a:gd name="T15" fmla="*/ 154 h 478"/>
                <a:gd name="T16" fmla="*/ 1859 w 2033"/>
                <a:gd name="T17" fmla="*/ 124 h 478"/>
                <a:gd name="T18" fmla="*/ 1944 w 2033"/>
                <a:gd name="T19" fmla="*/ 46 h 478"/>
                <a:gd name="T20" fmla="*/ 2022 w 2033"/>
                <a:gd name="T21" fmla="*/ 84 h 478"/>
                <a:gd name="T22" fmla="*/ 1892 w 2033"/>
                <a:gd name="T23" fmla="*/ 315 h 478"/>
                <a:gd name="T24" fmla="*/ 1927 w 2033"/>
                <a:gd name="T25" fmla="*/ 338 h 478"/>
                <a:gd name="T26" fmla="*/ 2 w 2033"/>
                <a:gd name="T27" fmla="*/ 449 h 478"/>
                <a:gd name="T28" fmla="*/ 236 w 2033"/>
                <a:gd name="T29" fmla="*/ 99 h 478"/>
                <a:gd name="T30" fmla="*/ 119 w 2033"/>
                <a:gd name="T31" fmla="*/ 112 h 478"/>
                <a:gd name="T32" fmla="*/ 276 w 2033"/>
                <a:gd name="T33" fmla="*/ 88 h 478"/>
                <a:gd name="T34" fmla="*/ 237 w 2033"/>
                <a:gd name="T35" fmla="*/ 157 h 478"/>
                <a:gd name="T36" fmla="*/ 341 w 2033"/>
                <a:gd name="T37" fmla="*/ 184 h 478"/>
                <a:gd name="T38" fmla="*/ 308 w 2033"/>
                <a:gd name="T39" fmla="*/ 295 h 478"/>
                <a:gd name="T40" fmla="*/ 253 w 2033"/>
                <a:gd name="T41" fmla="*/ 338 h 478"/>
                <a:gd name="T42" fmla="*/ 133 w 2033"/>
                <a:gd name="T43" fmla="*/ 427 h 478"/>
                <a:gd name="T44" fmla="*/ 154 w 2033"/>
                <a:gd name="T45" fmla="*/ 285 h 478"/>
                <a:gd name="T46" fmla="*/ 1171 w 2033"/>
                <a:gd name="T47" fmla="*/ 371 h 478"/>
                <a:gd name="T48" fmla="*/ 1168 w 2033"/>
                <a:gd name="T49" fmla="*/ 314 h 478"/>
                <a:gd name="T50" fmla="*/ 1220 w 2033"/>
                <a:gd name="T51" fmla="*/ 245 h 478"/>
                <a:gd name="T52" fmla="*/ 1055 w 2033"/>
                <a:gd name="T53" fmla="*/ 234 h 478"/>
                <a:gd name="T54" fmla="*/ 1168 w 2033"/>
                <a:gd name="T55" fmla="*/ 165 h 478"/>
                <a:gd name="T56" fmla="*/ 1198 w 2033"/>
                <a:gd name="T57" fmla="*/ 87 h 478"/>
                <a:gd name="T58" fmla="*/ 1204 w 2033"/>
                <a:gd name="T59" fmla="*/ 161 h 478"/>
                <a:gd name="T60" fmla="*/ 1283 w 2033"/>
                <a:gd name="T61" fmla="*/ 170 h 478"/>
                <a:gd name="T62" fmla="*/ 1235 w 2033"/>
                <a:gd name="T63" fmla="*/ 256 h 478"/>
                <a:gd name="T64" fmla="*/ 1220 w 2033"/>
                <a:gd name="T65" fmla="*/ 318 h 478"/>
                <a:gd name="T66" fmla="*/ 405 w 2033"/>
                <a:gd name="T67" fmla="*/ 412 h 478"/>
                <a:gd name="T68" fmla="*/ 434 w 2033"/>
                <a:gd name="T69" fmla="*/ 422 h 478"/>
                <a:gd name="T70" fmla="*/ 574 w 2033"/>
                <a:gd name="T71" fmla="*/ 413 h 478"/>
                <a:gd name="T72" fmla="*/ 578 w 2033"/>
                <a:gd name="T73" fmla="*/ 255 h 478"/>
                <a:gd name="T74" fmla="*/ 638 w 2033"/>
                <a:gd name="T75" fmla="*/ 104 h 478"/>
                <a:gd name="T76" fmla="*/ 466 w 2033"/>
                <a:gd name="T77" fmla="*/ 159 h 478"/>
                <a:gd name="T78" fmla="*/ 535 w 2033"/>
                <a:gd name="T79" fmla="*/ 201 h 478"/>
                <a:gd name="T80" fmla="*/ 499 w 2033"/>
                <a:gd name="T81" fmla="*/ 257 h 478"/>
                <a:gd name="T82" fmla="*/ 556 w 2033"/>
                <a:gd name="T83" fmla="*/ 225 h 478"/>
                <a:gd name="T84" fmla="*/ 531 w 2033"/>
                <a:gd name="T85" fmla="*/ 386 h 478"/>
                <a:gd name="T86" fmla="*/ 1609 w 2033"/>
                <a:gd name="T87" fmla="*/ 256 h 478"/>
                <a:gd name="T88" fmla="*/ 1562 w 2033"/>
                <a:gd name="T89" fmla="*/ 107 h 478"/>
                <a:gd name="T90" fmla="*/ 1556 w 2033"/>
                <a:gd name="T91" fmla="*/ 279 h 478"/>
                <a:gd name="T92" fmla="*/ 324 w 2033"/>
                <a:gd name="T93" fmla="*/ 382 h 478"/>
                <a:gd name="T94" fmla="*/ 1283 w 2033"/>
                <a:gd name="T95" fmla="*/ 389 h 478"/>
                <a:gd name="T96" fmla="*/ 1184 w 2033"/>
                <a:gd name="T97" fmla="*/ 385 h 478"/>
                <a:gd name="T98" fmla="*/ 731 w 2033"/>
                <a:gd name="T99" fmla="*/ 348 h 478"/>
                <a:gd name="T100" fmla="*/ 913 w 2033"/>
                <a:gd name="T101" fmla="*/ 256 h 478"/>
                <a:gd name="T102" fmla="*/ 838 w 2033"/>
                <a:gd name="T103" fmla="*/ 191 h 478"/>
                <a:gd name="T104" fmla="*/ 957 w 2033"/>
                <a:gd name="T105" fmla="*/ 243 h 478"/>
                <a:gd name="T106" fmla="*/ 875 w 2033"/>
                <a:gd name="T107" fmla="*/ 347 h 478"/>
                <a:gd name="T108" fmla="*/ 229 w 2033"/>
                <a:gd name="T109" fmla="*/ 334 h 478"/>
                <a:gd name="T110" fmla="*/ 208 w 2033"/>
                <a:gd name="T111" fmla="*/ 302 h 478"/>
                <a:gd name="T112" fmla="*/ 190 w 2033"/>
                <a:gd name="T113" fmla="*/ 339 h 478"/>
                <a:gd name="T114" fmla="*/ 651 w 2033"/>
                <a:gd name="T115" fmla="*/ 339 h 478"/>
                <a:gd name="T116" fmla="*/ 149 w 2033"/>
                <a:gd name="T117" fmla="*/ 244 h 478"/>
                <a:gd name="T118" fmla="*/ 1847 w 2033"/>
                <a:gd name="T119" fmla="*/ 174 h 478"/>
                <a:gd name="T120" fmla="*/ 1907 w 2033"/>
                <a:gd name="T121" fmla="*/ 189 h 478"/>
                <a:gd name="T122" fmla="*/ 583 w 2033"/>
                <a:gd name="T123" fmla="*/ 131 h 478"/>
                <a:gd name="T124" fmla="*/ 209 w 2033"/>
                <a:gd name="T125" fmla="*/ 19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3" h="478">
                  <a:moveTo>
                    <a:pt x="1888" y="478"/>
                  </a:moveTo>
                  <a:cubicBezTo>
                    <a:pt x="1854" y="462"/>
                    <a:pt x="1854" y="462"/>
                    <a:pt x="1854" y="462"/>
                  </a:cubicBezTo>
                  <a:cubicBezTo>
                    <a:pt x="1854" y="462"/>
                    <a:pt x="1854" y="462"/>
                    <a:pt x="1854" y="462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18" y="275"/>
                    <a:pt x="1918" y="275"/>
                    <a:pt x="1918" y="275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863" y="283"/>
                    <a:pt x="1863" y="283"/>
                    <a:pt x="1863" y="283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64" y="262"/>
                    <a:pt x="1864" y="262"/>
                    <a:pt x="1864" y="262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4" y="126"/>
                    <a:pt x="1954" y="126"/>
                    <a:pt x="1954" y="126"/>
                  </a:cubicBezTo>
                  <a:cubicBezTo>
                    <a:pt x="1952" y="128"/>
                    <a:pt x="1952" y="128"/>
                    <a:pt x="1952" y="128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39" y="50"/>
                    <a:pt x="1939" y="50"/>
                    <a:pt x="1939" y="50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6" y="144"/>
                    <a:pt x="2006" y="144"/>
                    <a:pt x="2006" y="144"/>
                  </a:cubicBezTo>
                  <a:cubicBezTo>
                    <a:pt x="2003" y="142"/>
                    <a:pt x="2003" y="142"/>
                    <a:pt x="2003" y="142"/>
                  </a:cubicBezTo>
                  <a:cubicBezTo>
                    <a:pt x="1971" y="194"/>
                    <a:pt x="1971" y="194"/>
                    <a:pt x="1971" y="194"/>
                  </a:cubicBezTo>
                  <a:cubicBezTo>
                    <a:pt x="1967" y="195"/>
                    <a:pt x="1967" y="195"/>
                    <a:pt x="1967" y="195"/>
                  </a:cubicBezTo>
                  <a:cubicBezTo>
                    <a:pt x="1950" y="219"/>
                    <a:pt x="1950" y="219"/>
                    <a:pt x="1950" y="219"/>
                  </a:cubicBezTo>
                  <a:cubicBezTo>
                    <a:pt x="1948" y="221"/>
                    <a:pt x="1948" y="221"/>
                    <a:pt x="1948" y="221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89" y="478"/>
                    <a:pt x="1889" y="478"/>
                    <a:pt x="1889" y="478"/>
                  </a:cubicBezTo>
                  <a:lnTo>
                    <a:pt x="1888" y="478"/>
                  </a:lnTo>
                  <a:close/>
                  <a:moveTo>
                    <a:pt x="19" y="460"/>
                  </a:moveTo>
                  <a:cubicBezTo>
                    <a:pt x="16" y="460"/>
                    <a:pt x="16" y="460"/>
                    <a:pt x="16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5" y="288"/>
                    <a:pt x="95" y="288"/>
                    <a:pt x="96" y="288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7" y="288"/>
                    <a:pt x="98" y="287"/>
                    <a:pt x="98" y="287"/>
                  </a:cubicBezTo>
                  <a:cubicBezTo>
                    <a:pt x="98" y="287"/>
                    <a:pt x="98" y="287"/>
                    <a:pt x="98" y="287"/>
                  </a:cubicBezTo>
                  <a:cubicBezTo>
                    <a:pt x="99" y="287"/>
                    <a:pt x="99" y="286"/>
                    <a:pt x="99" y="285"/>
                  </a:cubicBezTo>
                  <a:cubicBezTo>
                    <a:pt x="99" y="285"/>
                    <a:pt x="99" y="285"/>
                    <a:pt x="99" y="285"/>
                  </a:cubicBezTo>
                  <a:cubicBezTo>
                    <a:pt x="101" y="283"/>
                    <a:pt x="103" y="282"/>
                    <a:pt x="10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05" y="279"/>
                    <a:pt x="105" y="279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7" y="277"/>
                    <a:pt x="108" y="276"/>
                    <a:pt x="109" y="275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13" y="268"/>
                    <a:pt x="117" y="261"/>
                    <a:pt x="121" y="254"/>
                  </a:cubicBezTo>
                  <a:cubicBezTo>
                    <a:pt x="121" y="254"/>
                    <a:pt x="121" y="254"/>
                    <a:pt x="121" y="254"/>
                  </a:cubicBezTo>
                  <a:cubicBezTo>
                    <a:pt x="120" y="254"/>
                    <a:pt x="120" y="254"/>
                    <a:pt x="119" y="254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9" y="184"/>
                    <a:pt x="219" y="184"/>
                    <a:pt x="219" y="184"/>
                  </a:cubicBezTo>
                  <a:cubicBezTo>
                    <a:pt x="219" y="181"/>
                    <a:pt x="219" y="181"/>
                    <a:pt x="219" y="181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189" y="384"/>
                    <a:pt x="189" y="384"/>
                    <a:pt x="189" y="384"/>
                  </a:cubicBezTo>
                  <a:cubicBezTo>
                    <a:pt x="185" y="386"/>
                    <a:pt x="185" y="386"/>
                    <a:pt x="185" y="386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1"/>
                    <a:pt x="182" y="350"/>
                    <a:pt x="181" y="349"/>
                  </a:cubicBezTo>
                  <a:cubicBezTo>
                    <a:pt x="181" y="349"/>
                    <a:pt x="181" y="349"/>
                    <a:pt x="181" y="349"/>
                  </a:cubicBezTo>
                  <a:cubicBezTo>
                    <a:pt x="181" y="348"/>
                    <a:pt x="181" y="346"/>
                    <a:pt x="180" y="345"/>
                  </a:cubicBezTo>
                  <a:cubicBezTo>
                    <a:pt x="180" y="345"/>
                    <a:pt x="180" y="345"/>
                    <a:pt x="180" y="345"/>
                  </a:cubicBezTo>
                  <a:cubicBezTo>
                    <a:pt x="179" y="341"/>
                    <a:pt x="178" y="338"/>
                    <a:pt x="177" y="334"/>
                  </a:cubicBezTo>
                  <a:cubicBezTo>
                    <a:pt x="177" y="334"/>
                    <a:pt x="177" y="334"/>
                    <a:pt x="177" y="334"/>
                  </a:cubicBezTo>
                  <a:cubicBezTo>
                    <a:pt x="177" y="326"/>
                    <a:pt x="178" y="319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80" y="308"/>
                    <a:pt x="181" y="304"/>
                    <a:pt x="182" y="300"/>
                  </a:cubicBezTo>
                  <a:cubicBezTo>
                    <a:pt x="182" y="300"/>
                    <a:pt x="182" y="300"/>
                    <a:pt x="182" y="300"/>
                  </a:cubicBezTo>
                  <a:cubicBezTo>
                    <a:pt x="184" y="297"/>
                    <a:pt x="185" y="293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9" y="287"/>
                    <a:pt x="191" y="283"/>
                    <a:pt x="193" y="280"/>
                  </a:cubicBezTo>
                  <a:cubicBezTo>
                    <a:pt x="193" y="280"/>
                    <a:pt x="193" y="280"/>
                    <a:pt x="193" y="280"/>
                  </a:cubicBezTo>
                  <a:cubicBezTo>
                    <a:pt x="195" y="276"/>
                    <a:pt x="197" y="273"/>
                    <a:pt x="199" y="269"/>
                  </a:cubicBezTo>
                  <a:cubicBezTo>
                    <a:pt x="199" y="269"/>
                    <a:pt x="199" y="269"/>
                    <a:pt x="199" y="26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194" y="268"/>
                    <a:pt x="181" y="276"/>
                    <a:pt x="168" y="284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3" y="288"/>
                    <a:pt x="160" y="289"/>
                    <a:pt x="154" y="285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3" y="285"/>
                    <a:pt x="152" y="285"/>
                    <a:pt x="151" y="285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0" y="285"/>
                    <a:pt x="150" y="284"/>
                    <a:pt x="149" y="283"/>
                  </a:cubicBezTo>
                  <a:cubicBezTo>
                    <a:pt x="149" y="283"/>
                    <a:pt x="149" y="283"/>
                    <a:pt x="149" y="283"/>
                  </a:cubicBezTo>
                  <a:cubicBezTo>
                    <a:pt x="148" y="283"/>
                    <a:pt x="147" y="282"/>
                    <a:pt x="146" y="282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5" y="281"/>
                    <a:pt x="145" y="280"/>
                    <a:pt x="145" y="279"/>
                  </a:cubicBezTo>
                  <a:cubicBezTo>
                    <a:pt x="145" y="279"/>
                    <a:pt x="145" y="279"/>
                    <a:pt x="145" y="279"/>
                  </a:cubicBezTo>
                  <a:cubicBezTo>
                    <a:pt x="142" y="278"/>
                    <a:pt x="140" y="276"/>
                    <a:pt x="138" y="274"/>
                  </a:cubicBezTo>
                  <a:cubicBezTo>
                    <a:pt x="138" y="274"/>
                    <a:pt x="138" y="274"/>
                    <a:pt x="138" y="274"/>
                  </a:cubicBezTo>
                  <a:cubicBezTo>
                    <a:pt x="138" y="274"/>
                    <a:pt x="137" y="273"/>
                    <a:pt x="136" y="273"/>
                  </a:cubicBezTo>
                  <a:cubicBezTo>
                    <a:pt x="136" y="273"/>
                    <a:pt x="136" y="273"/>
                    <a:pt x="136" y="273"/>
                  </a:cubicBezTo>
                  <a:cubicBezTo>
                    <a:pt x="136" y="273"/>
                    <a:pt x="135" y="273"/>
                    <a:pt x="134" y="272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3" y="272"/>
                    <a:pt x="133" y="272"/>
                    <a:pt x="132" y="271"/>
                  </a:cubicBezTo>
                  <a:cubicBezTo>
                    <a:pt x="132" y="271"/>
                    <a:pt x="132" y="271"/>
                    <a:pt x="132" y="271"/>
                  </a:cubicBezTo>
                  <a:cubicBezTo>
                    <a:pt x="132" y="271"/>
                    <a:pt x="131" y="270"/>
                    <a:pt x="131" y="269"/>
                  </a:cubicBezTo>
                  <a:cubicBezTo>
                    <a:pt x="131" y="269"/>
                    <a:pt x="131" y="269"/>
                    <a:pt x="131" y="269"/>
                  </a:cubicBezTo>
                  <a:cubicBezTo>
                    <a:pt x="130" y="270"/>
                    <a:pt x="129" y="270"/>
                    <a:pt x="128" y="270"/>
                  </a:cubicBezTo>
                  <a:cubicBezTo>
                    <a:pt x="128" y="270"/>
                    <a:pt x="128" y="270"/>
                    <a:pt x="128" y="270"/>
                  </a:cubicBezTo>
                  <a:cubicBezTo>
                    <a:pt x="127" y="271"/>
                    <a:pt x="126" y="271"/>
                    <a:pt x="126" y="271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5" y="272"/>
                    <a:pt x="125" y="273"/>
                    <a:pt x="125" y="273"/>
                  </a:cubicBezTo>
                  <a:cubicBezTo>
                    <a:pt x="125" y="273"/>
                    <a:pt x="125" y="273"/>
                    <a:pt x="125" y="273"/>
                  </a:cubicBezTo>
                  <a:cubicBezTo>
                    <a:pt x="124" y="274"/>
                    <a:pt x="124" y="274"/>
                    <a:pt x="123" y="275"/>
                  </a:cubicBezTo>
                  <a:cubicBezTo>
                    <a:pt x="123" y="275"/>
                    <a:pt x="123" y="275"/>
                    <a:pt x="123" y="275"/>
                  </a:cubicBezTo>
                  <a:cubicBezTo>
                    <a:pt x="123" y="276"/>
                    <a:pt x="123" y="277"/>
                    <a:pt x="122" y="278"/>
                  </a:cubicBezTo>
                  <a:cubicBezTo>
                    <a:pt x="122" y="278"/>
                    <a:pt x="122" y="278"/>
                    <a:pt x="122" y="278"/>
                  </a:cubicBezTo>
                  <a:cubicBezTo>
                    <a:pt x="122" y="279"/>
                    <a:pt x="122" y="279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0" y="280"/>
                    <a:pt x="119" y="281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19" y="281"/>
                    <a:pt x="119" y="281"/>
                    <a:pt x="118" y="281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20" y="459"/>
                    <a:pt x="20" y="459"/>
                    <a:pt x="20" y="459"/>
                  </a:cubicBezTo>
                  <a:lnTo>
                    <a:pt x="19" y="460"/>
                  </a:lnTo>
                  <a:close/>
                  <a:moveTo>
                    <a:pt x="1093" y="454"/>
                  </a:moveTo>
                  <a:cubicBezTo>
                    <a:pt x="1090" y="452"/>
                    <a:pt x="1090" y="452"/>
                    <a:pt x="1090" y="452"/>
                  </a:cubicBezTo>
                  <a:cubicBezTo>
                    <a:pt x="1090" y="452"/>
                    <a:pt x="1090" y="452"/>
                    <a:pt x="1090" y="452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2" y="223"/>
                    <a:pt x="1221" y="222"/>
                    <a:pt x="1218" y="220"/>
                  </a:cubicBezTo>
                  <a:cubicBezTo>
                    <a:pt x="1218" y="220"/>
                    <a:pt x="1218" y="220"/>
                    <a:pt x="1218" y="220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8" y="101"/>
                    <a:pt x="1178" y="101"/>
                    <a:pt x="1178" y="101"/>
                  </a:cubicBezTo>
                  <a:cubicBezTo>
                    <a:pt x="1178" y="99"/>
                    <a:pt x="1178" y="99"/>
                    <a:pt x="1178" y="99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44" y="229"/>
                    <a:pt x="1237" y="234"/>
                    <a:pt x="1237" y="235"/>
                  </a:cubicBezTo>
                  <a:cubicBezTo>
                    <a:pt x="1237" y="235"/>
                    <a:pt x="1237" y="235"/>
                    <a:pt x="1237" y="235"/>
                  </a:cubicBezTo>
                  <a:cubicBezTo>
                    <a:pt x="1237" y="236"/>
                    <a:pt x="1237" y="236"/>
                    <a:pt x="1237" y="236"/>
                  </a:cubicBezTo>
                  <a:cubicBezTo>
                    <a:pt x="1234" y="239"/>
                    <a:pt x="1234" y="239"/>
                    <a:pt x="1234" y="239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096" y="454"/>
                    <a:pt x="1096" y="454"/>
                    <a:pt x="1096" y="454"/>
                  </a:cubicBezTo>
                  <a:lnTo>
                    <a:pt x="1093" y="454"/>
                  </a:lnTo>
                  <a:close/>
                  <a:moveTo>
                    <a:pt x="425" y="424"/>
                  </a:moveTo>
                  <a:cubicBezTo>
                    <a:pt x="422" y="424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5" y="424"/>
                    <a:pt x="425" y="424"/>
                    <a:pt x="425" y="424"/>
                  </a:cubicBezTo>
                  <a:close/>
                  <a:moveTo>
                    <a:pt x="1686" y="419"/>
                  </a:moveTo>
                  <a:cubicBezTo>
                    <a:pt x="1683" y="419"/>
                    <a:pt x="1683" y="419"/>
                    <a:pt x="1683" y="419"/>
                  </a:cubicBezTo>
                  <a:cubicBezTo>
                    <a:pt x="1683" y="419"/>
                    <a:pt x="1683" y="419"/>
                    <a:pt x="1683" y="419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6" y="419"/>
                    <a:pt x="1686" y="419"/>
                    <a:pt x="1686" y="419"/>
                  </a:cubicBezTo>
                  <a:close/>
                  <a:moveTo>
                    <a:pt x="573" y="412"/>
                  </a:moveTo>
                  <a:cubicBezTo>
                    <a:pt x="574" y="413"/>
                    <a:pt x="574" y="413"/>
                    <a:pt x="574" y="413"/>
                  </a:cubicBezTo>
                  <a:cubicBezTo>
                    <a:pt x="574" y="413"/>
                    <a:pt x="574" y="413"/>
                    <a:pt x="574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66" y="20"/>
                    <a:pt x="566" y="20"/>
                    <a:pt x="566" y="20"/>
                  </a:cubicBezTo>
                  <a:cubicBezTo>
                    <a:pt x="561" y="19"/>
                    <a:pt x="561" y="19"/>
                    <a:pt x="561" y="19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412"/>
                    <a:pt x="571" y="412"/>
                    <a:pt x="571" y="412"/>
                  </a:cubicBezTo>
                  <a:lnTo>
                    <a:pt x="573" y="412"/>
                  </a:lnTo>
                  <a:close/>
                  <a:moveTo>
                    <a:pt x="1446" y="406"/>
                  </a:moveTo>
                  <a:cubicBezTo>
                    <a:pt x="1469" y="399"/>
                    <a:pt x="1469" y="399"/>
                    <a:pt x="1469" y="399"/>
                  </a:cubicBezTo>
                  <a:cubicBezTo>
                    <a:pt x="1469" y="399"/>
                    <a:pt x="1469" y="399"/>
                    <a:pt x="1469" y="399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590" y="251"/>
                    <a:pt x="1590" y="251"/>
                    <a:pt x="1590" y="251"/>
                  </a:cubicBezTo>
                  <a:cubicBezTo>
                    <a:pt x="1586" y="249"/>
                    <a:pt x="1586" y="249"/>
                    <a:pt x="1586" y="249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38"/>
                    <a:pt x="1607" y="134"/>
                    <a:pt x="1607" y="131"/>
                  </a:cubicBezTo>
                  <a:cubicBezTo>
                    <a:pt x="1607" y="131"/>
                    <a:pt x="1607" y="131"/>
                    <a:pt x="1607" y="131"/>
                  </a:cubicBezTo>
                  <a:cubicBezTo>
                    <a:pt x="1605" y="123"/>
                    <a:pt x="1605" y="122"/>
                    <a:pt x="1601" y="114"/>
                  </a:cubicBezTo>
                  <a:cubicBezTo>
                    <a:pt x="1601" y="114"/>
                    <a:pt x="1601" y="114"/>
                    <a:pt x="1601" y="114"/>
                  </a:cubicBezTo>
                  <a:cubicBezTo>
                    <a:pt x="1599" y="112"/>
                    <a:pt x="1597" y="109"/>
                    <a:pt x="1595" y="106"/>
                  </a:cubicBezTo>
                  <a:cubicBezTo>
                    <a:pt x="1595" y="106"/>
                    <a:pt x="1595" y="106"/>
                    <a:pt x="1595" y="106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4" y="80"/>
                    <a:pt x="1554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6" y="120"/>
                    <a:pt x="1566" y="125"/>
                    <a:pt x="1567" y="130"/>
                  </a:cubicBezTo>
                  <a:cubicBezTo>
                    <a:pt x="1567" y="130"/>
                    <a:pt x="1567" y="130"/>
                    <a:pt x="1567" y="130"/>
                  </a:cubicBezTo>
                  <a:cubicBezTo>
                    <a:pt x="1571" y="145"/>
                    <a:pt x="1574" y="143"/>
                    <a:pt x="1572" y="160"/>
                  </a:cubicBezTo>
                  <a:cubicBezTo>
                    <a:pt x="1572" y="160"/>
                    <a:pt x="1572" y="160"/>
                    <a:pt x="1572" y="160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2" y="406"/>
                    <a:pt x="1442" y="406"/>
                    <a:pt x="1442" y="406"/>
                  </a:cubicBezTo>
                  <a:lnTo>
                    <a:pt x="1446" y="406"/>
                  </a:lnTo>
                  <a:close/>
                  <a:moveTo>
                    <a:pt x="303" y="401"/>
                  </a:moveTo>
                  <a:cubicBezTo>
                    <a:pt x="312" y="401"/>
                    <a:pt x="312" y="401"/>
                    <a:pt x="312" y="401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3" y="401"/>
                    <a:pt x="303" y="401"/>
                    <a:pt x="303" y="401"/>
                  </a:cubicBezTo>
                  <a:close/>
                  <a:moveTo>
                    <a:pt x="1278" y="393"/>
                  </a:moveTo>
                  <a:cubicBezTo>
                    <a:pt x="1278" y="392"/>
                    <a:pt x="1278" y="392"/>
                    <a:pt x="1278" y="392"/>
                  </a:cubicBezTo>
                  <a:cubicBezTo>
                    <a:pt x="1278" y="392"/>
                    <a:pt x="1278" y="392"/>
                    <a:pt x="1278" y="392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8" y="393"/>
                    <a:pt x="1278" y="393"/>
                    <a:pt x="1278" y="393"/>
                  </a:cubicBezTo>
                  <a:close/>
                  <a:moveTo>
                    <a:pt x="1179" y="386"/>
                  </a:moveTo>
                  <a:cubicBezTo>
                    <a:pt x="1179" y="386"/>
                    <a:pt x="1179" y="386"/>
                    <a:pt x="1179" y="386"/>
                  </a:cubicBezTo>
                  <a:cubicBezTo>
                    <a:pt x="1179" y="386"/>
                    <a:pt x="1179" y="386"/>
                    <a:pt x="1179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9" y="386"/>
                    <a:pt x="1179" y="386"/>
                    <a:pt x="1179" y="386"/>
                  </a:cubicBezTo>
                  <a:close/>
                  <a:moveTo>
                    <a:pt x="778" y="381"/>
                  </a:moveTo>
                  <a:cubicBezTo>
                    <a:pt x="728" y="357"/>
                    <a:pt x="728" y="357"/>
                    <a:pt x="728" y="357"/>
                  </a:cubicBezTo>
                  <a:cubicBezTo>
                    <a:pt x="728" y="357"/>
                    <a:pt x="728" y="357"/>
                    <a:pt x="728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5" y="349"/>
                    <a:pt x="864" y="349"/>
                    <a:pt x="864" y="350"/>
                  </a:cubicBezTo>
                  <a:cubicBezTo>
                    <a:pt x="864" y="350"/>
                    <a:pt x="864" y="350"/>
                    <a:pt x="864" y="350"/>
                  </a:cubicBezTo>
                  <a:cubicBezTo>
                    <a:pt x="860" y="352"/>
                    <a:pt x="859" y="351"/>
                    <a:pt x="855" y="353"/>
                  </a:cubicBezTo>
                  <a:cubicBezTo>
                    <a:pt x="855" y="353"/>
                    <a:pt x="855" y="353"/>
                    <a:pt x="855" y="353"/>
                  </a:cubicBezTo>
                  <a:cubicBezTo>
                    <a:pt x="855" y="353"/>
                    <a:pt x="854" y="353"/>
                    <a:pt x="853" y="353"/>
                  </a:cubicBezTo>
                  <a:cubicBezTo>
                    <a:pt x="853" y="354"/>
                    <a:pt x="852" y="355"/>
                    <a:pt x="851" y="355"/>
                  </a:cubicBezTo>
                  <a:cubicBezTo>
                    <a:pt x="850" y="356"/>
                    <a:pt x="850" y="357"/>
                    <a:pt x="849" y="358"/>
                  </a:cubicBezTo>
                  <a:cubicBezTo>
                    <a:pt x="849" y="358"/>
                    <a:pt x="849" y="358"/>
                    <a:pt x="849" y="358"/>
                  </a:cubicBezTo>
                  <a:cubicBezTo>
                    <a:pt x="848" y="358"/>
                    <a:pt x="848" y="358"/>
                    <a:pt x="847" y="358"/>
                  </a:cubicBezTo>
                  <a:cubicBezTo>
                    <a:pt x="847" y="358"/>
                    <a:pt x="847" y="358"/>
                    <a:pt x="847" y="358"/>
                  </a:cubicBezTo>
                  <a:cubicBezTo>
                    <a:pt x="844" y="359"/>
                    <a:pt x="842" y="359"/>
                    <a:pt x="839" y="360"/>
                  </a:cubicBezTo>
                  <a:cubicBezTo>
                    <a:pt x="839" y="360"/>
                    <a:pt x="839" y="360"/>
                    <a:pt x="839" y="360"/>
                  </a:cubicBezTo>
                  <a:cubicBezTo>
                    <a:pt x="838" y="360"/>
                    <a:pt x="836" y="360"/>
                    <a:pt x="835" y="360"/>
                  </a:cubicBezTo>
                  <a:cubicBezTo>
                    <a:pt x="835" y="360"/>
                    <a:pt x="835" y="360"/>
                    <a:pt x="835" y="360"/>
                  </a:cubicBezTo>
                  <a:cubicBezTo>
                    <a:pt x="835" y="360"/>
                    <a:pt x="834" y="361"/>
                    <a:pt x="833" y="361"/>
                  </a:cubicBezTo>
                  <a:cubicBezTo>
                    <a:pt x="833" y="361"/>
                    <a:pt x="833" y="361"/>
                    <a:pt x="833" y="361"/>
                  </a:cubicBezTo>
                  <a:cubicBezTo>
                    <a:pt x="833" y="361"/>
                    <a:pt x="833" y="361"/>
                    <a:pt x="832" y="362"/>
                  </a:cubicBezTo>
                  <a:cubicBezTo>
                    <a:pt x="832" y="362"/>
                    <a:pt x="832" y="362"/>
                    <a:pt x="832" y="362"/>
                  </a:cubicBezTo>
                  <a:cubicBezTo>
                    <a:pt x="831" y="362"/>
                    <a:pt x="830" y="363"/>
                    <a:pt x="829" y="364"/>
                  </a:cubicBezTo>
                  <a:cubicBezTo>
                    <a:pt x="829" y="364"/>
                    <a:pt x="829" y="364"/>
                    <a:pt x="829" y="364"/>
                  </a:cubicBezTo>
                  <a:cubicBezTo>
                    <a:pt x="829" y="364"/>
                    <a:pt x="828" y="364"/>
                    <a:pt x="828" y="364"/>
                  </a:cubicBezTo>
                  <a:cubicBezTo>
                    <a:pt x="828" y="364"/>
                    <a:pt x="828" y="364"/>
                    <a:pt x="828" y="364"/>
                  </a:cubicBezTo>
                  <a:cubicBezTo>
                    <a:pt x="825" y="364"/>
                    <a:pt x="822" y="365"/>
                    <a:pt x="820" y="365"/>
                  </a:cubicBezTo>
                  <a:cubicBezTo>
                    <a:pt x="820" y="365"/>
                    <a:pt x="820" y="365"/>
                    <a:pt x="820" y="365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1" y="381"/>
                    <a:pt x="781" y="381"/>
                    <a:pt x="781" y="381"/>
                  </a:cubicBezTo>
                  <a:lnTo>
                    <a:pt x="778" y="381"/>
                  </a:lnTo>
                  <a:close/>
                  <a:moveTo>
                    <a:pt x="200" y="359"/>
                  </a:moveTo>
                  <a:cubicBezTo>
                    <a:pt x="204" y="360"/>
                    <a:pt x="204" y="360"/>
                    <a:pt x="204" y="360"/>
                  </a:cubicBezTo>
                  <a:cubicBezTo>
                    <a:pt x="204" y="360"/>
                    <a:pt x="204" y="360"/>
                    <a:pt x="204" y="360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5" y="347"/>
                    <a:pt x="226" y="346"/>
                    <a:pt x="227" y="345"/>
                  </a:cubicBezTo>
                  <a:cubicBezTo>
                    <a:pt x="227" y="345"/>
                    <a:pt x="227" y="345"/>
                    <a:pt x="227" y="345"/>
                  </a:cubicBezTo>
                  <a:cubicBezTo>
                    <a:pt x="227" y="344"/>
                    <a:pt x="227" y="343"/>
                    <a:pt x="227" y="342"/>
                  </a:cubicBezTo>
                  <a:cubicBezTo>
                    <a:pt x="227" y="342"/>
                    <a:pt x="227" y="342"/>
                    <a:pt x="227" y="342"/>
                  </a:cubicBezTo>
                  <a:cubicBezTo>
                    <a:pt x="227" y="341"/>
                    <a:pt x="227" y="340"/>
                    <a:pt x="227" y="339"/>
                  </a:cubicBezTo>
                  <a:cubicBezTo>
                    <a:pt x="227" y="339"/>
                    <a:pt x="227" y="339"/>
                    <a:pt x="227" y="339"/>
                  </a:cubicBezTo>
                  <a:cubicBezTo>
                    <a:pt x="227" y="338"/>
                    <a:pt x="227" y="338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6"/>
                    <a:pt x="228" y="335"/>
                    <a:pt x="229" y="334"/>
                  </a:cubicBezTo>
                  <a:cubicBezTo>
                    <a:pt x="229" y="334"/>
                    <a:pt x="229" y="334"/>
                    <a:pt x="229" y="334"/>
                  </a:cubicBezTo>
                  <a:cubicBezTo>
                    <a:pt x="229" y="333"/>
                    <a:pt x="229" y="332"/>
                    <a:pt x="229" y="331"/>
                  </a:cubicBezTo>
                  <a:cubicBezTo>
                    <a:pt x="229" y="331"/>
                    <a:pt x="229" y="331"/>
                    <a:pt x="229" y="331"/>
                  </a:cubicBezTo>
                  <a:cubicBezTo>
                    <a:pt x="229" y="330"/>
                    <a:pt x="229" y="329"/>
                    <a:pt x="230" y="328"/>
                  </a:cubicBezTo>
                  <a:cubicBezTo>
                    <a:pt x="230" y="328"/>
                    <a:pt x="230" y="328"/>
                    <a:pt x="230" y="328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4"/>
                    <a:pt x="229" y="324"/>
                    <a:pt x="229" y="323"/>
                  </a:cubicBezTo>
                  <a:cubicBezTo>
                    <a:pt x="229" y="323"/>
                    <a:pt x="229" y="323"/>
                    <a:pt x="229" y="323"/>
                  </a:cubicBezTo>
                  <a:cubicBezTo>
                    <a:pt x="228" y="323"/>
                    <a:pt x="227" y="323"/>
                    <a:pt x="225" y="324"/>
                  </a:cubicBezTo>
                  <a:cubicBezTo>
                    <a:pt x="225" y="324"/>
                    <a:pt x="225" y="324"/>
                    <a:pt x="225" y="324"/>
                  </a:cubicBezTo>
                  <a:cubicBezTo>
                    <a:pt x="225" y="324"/>
                    <a:pt x="224" y="324"/>
                    <a:pt x="224" y="324"/>
                  </a:cubicBezTo>
                  <a:cubicBezTo>
                    <a:pt x="224" y="324"/>
                    <a:pt x="224" y="324"/>
                    <a:pt x="224" y="324"/>
                  </a:cubicBezTo>
                  <a:cubicBezTo>
                    <a:pt x="223" y="324"/>
                    <a:pt x="221" y="324"/>
                    <a:pt x="220" y="324"/>
                  </a:cubicBezTo>
                  <a:cubicBezTo>
                    <a:pt x="220" y="324"/>
                    <a:pt x="220" y="324"/>
                    <a:pt x="220" y="324"/>
                  </a:cubicBezTo>
                  <a:cubicBezTo>
                    <a:pt x="220" y="324"/>
                    <a:pt x="219" y="324"/>
                    <a:pt x="218" y="324"/>
                  </a:cubicBezTo>
                  <a:cubicBezTo>
                    <a:pt x="218" y="324"/>
                    <a:pt x="218" y="324"/>
                    <a:pt x="218" y="324"/>
                  </a:cubicBezTo>
                  <a:cubicBezTo>
                    <a:pt x="217" y="325"/>
                    <a:pt x="216" y="325"/>
                    <a:pt x="215" y="325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4" y="325"/>
                    <a:pt x="214" y="325"/>
                    <a:pt x="213" y="325"/>
                  </a:cubicBezTo>
                  <a:cubicBezTo>
                    <a:pt x="213" y="325"/>
                    <a:pt x="213" y="325"/>
                    <a:pt x="213" y="325"/>
                  </a:cubicBezTo>
                  <a:cubicBezTo>
                    <a:pt x="212" y="325"/>
                    <a:pt x="211" y="325"/>
                    <a:pt x="211" y="325"/>
                  </a:cubicBezTo>
                  <a:cubicBezTo>
                    <a:pt x="211" y="325"/>
                    <a:pt x="211" y="325"/>
                    <a:pt x="211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4"/>
                    <a:pt x="209" y="323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1"/>
                    <a:pt x="210" y="321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19"/>
                    <a:pt x="210" y="319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3" y="316"/>
                    <a:pt x="213" y="316"/>
                  </a:cubicBezTo>
                  <a:cubicBezTo>
                    <a:pt x="213" y="316"/>
                    <a:pt x="213" y="316"/>
                    <a:pt x="213" y="316"/>
                  </a:cubicBezTo>
                  <a:cubicBezTo>
                    <a:pt x="213" y="316"/>
                    <a:pt x="214" y="316"/>
                    <a:pt x="214" y="316"/>
                  </a:cubicBezTo>
                  <a:cubicBezTo>
                    <a:pt x="214" y="316"/>
                    <a:pt x="214" y="316"/>
                    <a:pt x="214" y="316"/>
                  </a:cubicBezTo>
                  <a:cubicBezTo>
                    <a:pt x="215" y="316"/>
                    <a:pt x="215" y="316"/>
                    <a:pt x="216" y="315"/>
                  </a:cubicBezTo>
                  <a:cubicBezTo>
                    <a:pt x="216" y="315"/>
                    <a:pt x="216" y="315"/>
                    <a:pt x="216" y="315"/>
                  </a:cubicBezTo>
                  <a:cubicBezTo>
                    <a:pt x="217" y="315"/>
                    <a:pt x="218" y="315"/>
                    <a:pt x="218" y="315"/>
                  </a:cubicBezTo>
                  <a:cubicBezTo>
                    <a:pt x="218" y="315"/>
                    <a:pt x="218" y="315"/>
                    <a:pt x="218" y="315"/>
                  </a:cubicBezTo>
                  <a:cubicBezTo>
                    <a:pt x="219" y="315"/>
                    <a:pt x="220" y="314"/>
                    <a:pt x="220" y="313"/>
                  </a:cubicBezTo>
                  <a:cubicBezTo>
                    <a:pt x="220" y="313"/>
                    <a:pt x="220" y="313"/>
                    <a:pt x="220" y="313"/>
                  </a:cubicBezTo>
                  <a:cubicBezTo>
                    <a:pt x="221" y="313"/>
                    <a:pt x="221" y="313"/>
                    <a:pt x="221" y="312"/>
                  </a:cubicBezTo>
                  <a:cubicBezTo>
                    <a:pt x="221" y="312"/>
                    <a:pt x="221" y="312"/>
                    <a:pt x="221" y="312"/>
                  </a:cubicBezTo>
                  <a:cubicBezTo>
                    <a:pt x="223" y="312"/>
                    <a:pt x="224" y="312"/>
                    <a:pt x="225" y="311"/>
                  </a:cubicBezTo>
                  <a:cubicBezTo>
                    <a:pt x="225" y="311"/>
                    <a:pt x="225" y="311"/>
                    <a:pt x="225" y="311"/>
                  </a:cubicBezTo>
                  <a:cubicBezTo>
                    <a:pt x="225" y="311"/>
                    <a:pt x="225" y="311"/>
                    <a:pt x="225" y="310"/>
                  </a:cubicBezTo>
                  <a:cubicBezTo>
                    <a:pt x="225" y="310"/>
                    <a:pt x="225" y="310"/>
                    <a:pt x="225" y="310"/>
                  </a:cubicBezTo>
                  <a:cubicBezTo>
                    <a:pt x="227" y="310"/>
                    <a:pt x="228" y="309"/>
                    <a:pt x="229" y="309"/>
                  </a:cubicBezTo>
                  <a:cubicBezTo>
                    <a:pt x="229" y="309"/>
                    <a:pt x="229" y="309"/>
                    <a:pt x="229" y="309"/>
                  </a:cubicBezTo>
                  <a:cubicBezTo>
                    <a:pt x="229" y="308"/>
                    <a:pt x="229" y="307"/>
                    <a:pt x="229" y="307"/>
                  </a:cubicBezTo>
                  <a:cubicBezTo>
                    <a:pt x="229" y="307"/>
                    <a:pt x="229" y="307"/>
                    <a:pt x="229" y="307"/>
                  </a:cubicBezTo>
                  <a:cubicBezTo>
                    <a:pt x="229" y="306"/>
                    <a:pt x="229" y="306"/>
                    <a:pt x="230" y="305"/>
                  </a:cubicBezTo>
                  <a:cubicBezTo>
                    <a:pt x="230" y="305"/>
                    <a:pt x="230" y="305"/>
                    <a:pt x="230" y="305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09" y="302"/>
                    <a:pt x="208" y="302"/>
                    <a:pt x="208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6" y="302"/>
                    <a:pt x="206" y="302"/>
                    <a:pt x="206" y="301"/>
                  </a:cubicBezTo>
                  <a:cubicBezTo>
                    <a:pt x="206" y="301"/>
                    <a:pt x="206" y="301"/>
                    <a:pt x="206" y="301"/>
                  </a:cubicBezTo>
                  <a:cubicBezTo>
                    <a:pt x="206" y="301"/>
                    <a:pt x="206" y="300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8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6"/>
                    <a:pt x="206" y="295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207" y="294"/>
                    <a:pt x="208" y="292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1" y="292"/>
                    <a:pt x="200" y="293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8" y="295"/>
                    <a:pt x="197" y="296"/>
                    <a:pt x="195" y="297"/>
                  </a:cubicBezTo>
                  <a:cubicBezTo>
                    <a:pt x="195" y="297"/>
                    <a:pt x="195" y="297"/>
                    <a:pt x="195" y="297"/>
                  </a:cubicBezTo>
                  <a:cubicBezTo>
                    <a:pt x="194" y="299"/>
                    <a:pt x="194" y="300"/>
                    <a:pt x="193" y="301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92" y="304"/>
                    <a:pt x="192" y="307"/>
                    <a:pt x="191" y="310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1" y="312"/>
                    <a:pt x="190" y="315"/>
                    <a:pt x="190" y="317"/>
                  </a:cubicBezTo>
                  <a:cubicBezTo>
                    <a:pt x="190" y="317"/>
                    <a:pt x="190" y="317"/>
                    <a:pt x="190" y="317"/>
                  </a:cubicBezTo>
                  <a:cubicBezTo>
                    <a:pt x="189" y="320"/>
                    <a:pt x="189" y="322"/>
                    <a:pt x="189" y="324"/>
                  </a:cubicBezTo>
                  <a:cubicBezTo>
                    <a:pt x="189" y="324"/>
                    <a:pt x="189" y="324"/>
                    <a:pt x="189" y="324"/>
                  </a:cubicBezTo>
                  <a:cubicBezTo>
                    <a:pt x="189" y="327"/>
                    <a:pt x="189" y="330"/>
                    <a:pt x="190" y="332"/>
                  </a:cubicBezTo>
                  <a:cubicBezTo>
                    <a:pt x="190" y="332"/>
                    <a:pt x="190" y="332"/>
                    <a:pt x="190" y="332"/>
                  </a:cubicBezTo>
                  <a:cubicBezTo>
                    <a:pt x="190" y="335"/>
                    <a:pt x="190" y="337"/>
                    <a:pt x="190" y="339"/>
                  </a:cubicBezTo>
                  <a:cubicBezTo>
                    <a:pt x="190" y="339"/>
                    <a:pt x="190" y="339"/>
                    <a:pt x="190" y="339"/>
                  </a:cubicBezTo>
                  <a:cubicBezTo>
                    <a:pt x="191" y="342"/>
                    <a:pt x="192" y="344"/>
                    <a:pt x="193" y="346"/>
                  </a:cubicBezTo>
                  <a:cubicBezTo>
                    <a:pt x="193" y="346"/>
                    <a:pt x="193" y="346"/>
                    <a:pt x="193" y="346"/>
                  </a:cubicBezTo>
                  <a:cubicBezTo>
                    <a:pt x="194" y="349"/>
                    <a:pt x="194" y="351"/>
                    <a:pt x="195" y="353"/>
                  </a:cubicBezTo>
                  <a:cubicBezTo>
                    <a:pt x="195" y="353"/>
                    <a:pt x="195" y="353"/>
                    <a:pt x="195" y="353"/>
                  </a:cubicBezTo>
                  <a:cubicBezTo>
                    <a:pt x="200" y="359"/>
                    <a:pt x="200" y="359"/>
                    <a:pt x="200" y="359"/>
                  </a:cubicBezTo>
                  <a:close/>
                  <a:moveTo>
                    <a:pt x="634" y="347"/>
                  </a:moveTo>
                  <a:cubicBezTo>
                    <a:pt x="633" y="347"/>
                    <a:pt x="633" y="347"/>
                    <a:pt x="633" y="347"/>
                  </a:cubicBezTo>
                  <a:cubicBezTo>
                    <a:pt x="633" y="347"/>
                    <a:pt x="633" y="347"/>
                    <a:pt x="633" y="347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5" y="347"/>
                    <a:pt x="635" y="347"/>
                    <a:pt x="635" y="347"/>
                  </a:cubicBezTo>
                  <a:lnTo>
                    <a:pt x="634" y="347"/>
                  </a:lnTo>
                  <a:close/>
                  <a:moveTo>
                    <a:pt x="137" y="267"/>
                  </a:moveTo>
                  <a:cubicBezTo>
                    <a:pt x="181" y="255"/>
                    <a:pt x="181" y="255"/>
                    <a:pt x="181" y="255"/>
                  </a:cubicBezTo>
                  <a:cubicBezTo>
                    <a:pt x="181" y="255"/>
                    <a:pt x="181" y="255"/>
                    <a:pt x="181" y="255"/>
                  </a:cubicBezTo>
                  <a:cubicBezTo>
                    <a:pt x="186" y="253"/>
                    <a:pt x="191" y="251"/>
                    <a:pt x="196" y="250"/>
                  </a:cubicBezTo>
                  <a:cubicBezTo>
                    <a:pt x="196" y="250"/>
                    <a:pt x="196" y="250"/>
                    <a:pt x="196" y="250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4" y="256"/>
                    <a:pt x="133" y="258"/>
                    <a:pt x="132" y="260"/>
                  </a:cubicBezTo>
                  <a:cubicBezTo>
                    <a:pt x="132" y="260"/>
                    <a:pt x="132" y="260"/>
                    <a:pt x="132" y="260"/>
                  </a:cubicBezTo>
                  <a:cubicBezTo>
                    <a:pt x="132" y="262"/>
                    <a:pt x="131" y="263"/>
                    <a:pt x="131" y="265"/>
                  </a:cubicBezTo>
                  <a:cubicBezTo>
                    <a:pt x="131" y="265"/>
                    <a:pt x="131" y="265"/>
                    <a:pt x="131" y="265"/>
                  </a:cubicBezTo>
                  <a:cubicBezTo>
                    <a:pt x="133" y="265"/>
                    <a:pt x="135" y="266"/>
                    <a:pt x="137" y="267"/>
                  </a:cubicBezTo>
                  <a:close/>
                  <a:moveTo>
                    <a:pt x="576" y="207"/>
                  </a:moveTo>
                  <a:cubicBezTo>
                    <a:pt x="581" y="167"/>
                    <a:pt x="581" y="167"/>
                    <a:pt x="581" y="167"/>
                  </a:cubicBezTo>
                  <a:cubicBezTo>
                    <a:pt x="581" y="167"/>
                    <a:pt x="581" y="167"/>
                    <a:pt x="581" y="167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6" y="207"/>
                    <a:pt x="576" y="207"/>
                    <a:pt x="576" y="207"/>
                  </a:cubicBezTo>
                  <a:close/>
                  <a:moveTo>
                    <a:pt x="1844" y="194"/>
                  </a:moveTo>
                  <a:cubicBezTo>
                    <a:pt x="1845" y="193"/>
                    <a:pt x="1845" y="193"/>
                    <a:pt x="1845" y="193"/>
                  </a:cubicBezTo>
                  <a:cubicBezTo>
                    <a:pt x="1845" y="193"/>
                    <a:pt x="1845" y="193"/>
                    <a:pt x="1845" y="193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2" y="194"/>
                    <a:pt x="1842" y="194"/>
                    <a:pt x="1842" y="194"/>
                  </a:cubicBezTo>
                  <a:lnTo>
                    <a:pt x="1844" y="194"/>
                  </a:lnTo>
                  <a:close/>
                  <a:moveTo>
                    <a:pt x="1916" y="194"/>
                  </a:moveTo>
                  <a:cubicBezTo>
                    <a:pt x="1918" y="191"/>
                    <a:pt x="1918" y="191"/>
                    <a:pt x="1918" y="191"/>
                  </a:cubicBezTo>
                  <a:cubicBezTo>
                    <a:pt x="1918" y="191"/>
                    <a:pt x="1918" y="191"/>
                    <a:pt x="1918" y="191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4" y="194"/>
                    <a:pt x="1914" y="194"/>
                    <a:pt x="1914" y="194"/>
                  </a:cubicBezTo>
                  <a:lnTo>
                    <a:pt x="1916" y="194"/>
                  </a:lnTo>
                  <a:close/>
                  <a:moveTo>
                    <a:pt x="1879" y="168"/>
                  </a:moveTo>
                  <a:cubicBezTo>
                    <a:pt x="1881" y="168"/>
                    <a:pt x="1881" y="168"/>
                    <a:pt x="1881" y="168"/>
                  </a:cubicBezTo>
                  <a:cubicBezTo>
                    <a:pt x="1881" y="168"/>
                    <a:pt x="1881" y="168"/>
                    <a:pt x="1881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7" y="168"/>
                    <a:pt x="1877" y="168"/>
                    <a:pt x="1877" y="168"/>
                  </a:cubicBezTo>
                  <a:lnTo>
                    <a:pt x="1879" y="168"/>
                  </a:lnTo>
                  <a:close/>
                  <a:moveTo>
                    <a:pt x="583" y="131"/>
                  </a:moveTo>
                  <a:cubicBezTo>
                    <a:pt x="583" y="130"/>
                    <a:pt x="583" y="130"/>
                    <a:pt x="583" y="130"/>
                  </a:cubicBezTo>
                  <a:cubicBezTo>
                    <a:pt x="583" y="130"/>
                    <a:pt x="583" y="130"/>
                    <a:pt x="583" y="130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4" y="131"/>
                    <a:pt x="584" y="131"/>
                    <a:pt x="584" y="131"/>
                  </a:cubicBezTo>
                  <a:lnTo>
                    <a:pt x="583" y="131"/>
                  </a:lnTo>
                  <a:close/>
                  <a:moveTo>
                    <a:pt x="1853" y="121"/>
                  </a:moveTo>
                  <a:cubicBezTo>
                    <a:pt x="1854" y="121"/>
                    <a:pt x="1854" y="121"/>
                    <a:pt x="1854" y="121"/>
                  </a:cubicBezTo>
                  <a:lnTo>
                    <a:pt x="1853" y="121"/>
                  </a:lnTo>
                  <a:close/>
                  <a:moveTo>
                    <a:pt x="196" y="69"/>
                  </a:moveTo>
                  <a:cubicBezTo>
                    <a:pt x="202" y="68"/>
                    <a:pt x="202" y="68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8"/>
                    <a:pt x="196" y="68"/>
                    <a:pt x="196" y="68"/>
                  </a:cubicBezTo>
                  <a:cubicBezTo>
                    <a:pt x="196" y="68"/>
                    <a:pt x="196" y="68"/>
                    <a:pt x="196" y="68"/>
                  </a:cubicBezTo>
                  <a:lnTo>
                    <a:pt x="19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ṧlíḓê">
              <a:extLst>
                <a:ext uri="{FF2B5EF4-FFF2-40B4-BE49-F238E27FC236}">
                  <a16:creationId xmlns:a16="http://schemas.microsoft.com/office/drawing/2014/main" id="{D53BCC1A-F483-4AC4-9718-69B24E64997F}"/>
                </a:ext>
              </a:extLst>
            </p:cNvPr>
            <p:cNvSpPr/>
            <p:nvPr userDrawn="1"/>
          </p:nvSpPr>
          <p:spPr bwMode="auto">
            <a:xfrm>
              <a:off x="4816081" y="4076932"/>
              <a:ext cx="4728471" cy="131499"/>
            </a:xfrm>
            <a:custGeom>
              <a:avLst/>
              <a:gdLst>
                <a:gd name="T0" fmla="*/ 28 w 2078"/>
                <a:gd name="T1" fmla="*/ 9 h 58"/>
                <a:gd name="T2" fmla="*/ 38 w 2078"/>
                <a:gd name="T3" fmla="*/ 57 h 58"/>
                <a:gd name="T4" fmla="*/ 111 w 2078"/>
                <a:gd name="T5" fmla="*/ 2 h 58"/>
                <a:gd name="T6" fmla="*/ 87 w 2078"/>
                <a:gd name="T7" fmla="*/ 2 h 58"/>
                <a:gd name="T8" fmla="*/ 111 w 2078"/>
                <a:gd name="T9" fmla="*/ 2 h 58"/>
                <a:gd name="T10" fmla="*/ 176 w 2078"/>
                <a:gd name="T11" fmla="*/ 2 h 58"/>
                <a:gd name="T12" fmla="*/ 169 w 2078"/>
                <a:gd name="T13" fmla="*/ 12 h 58"/>
                <a:gd name="T14" fmla="*/ 253 w 2078"/>
                <a:gd name="T15" fmla="*/ 45 h 58"/>
                <a:gd name="T16" fmla="*/ 226 w 2078"/>
                <a:gd name="T17" fmla="*/ 11 h 58"/>
                <a:gd name="T18" fmla="*/ 324 w 2078"/>
                <a:gd name="T19" fmla="*/ 48 h 58"/>
                <a:gd name="T20" fmla="*/ 311 w 2078"/>
                <a:gd name="T21" fmla="*/ 0 h 58"/>
                <a:gd name="T22" fmla="*/ 314 w 2078"/>
                <a:gd name="T23" fmla="*/ 27 h 58"/>
                <a:gd name="T24" fmla="*/ 395 w 2078"/>
                <a:gd name="T25" fmla="*/ 48 h 58"/>
                <a:gd name="T26" fmla="*/ 396 w 2078"/>
                <a:gd name="T27" fmla="*/ 2 h 58"/>
                <a:gd name="T28" fmla="*/ 443 w 2078"/>
                <a:gd name="T29" fmla="*/ 30 h 58"/>
                <a:gd name="T30" fmla="*/ 470 w 2078"/>
                <a:gd name="T31" fmla="*/ 9 h 58"/>
                <a:gd name="T32" fmla="*/ 535 w 2078"/>
                <a:gd name="T33" fmla="*/ 2 h 58"/>
                <a:gd name="T34" fmla="*/ 550 w 2078"/>
                <a:gd name="T35" fmla="*/ 57 h 58"/>
                <a:gd name="T36" fmla="*/ 600 w 2078"/>
                <a:gd name="T37" fmla="*/ 30 h 58"/>
                <a:gd name="T38" fmla="*/ 614 w 2078"/>
                <a:gd name="T39" fmla="*/ 58 h 58"/>
                <a:gd name="T40" fmla="*/ 627 w 2078"/>
                <a:gd name="T41" fmla="*/ 37 h 58"/>
                <a:gd name="T42" fmla="*/ 692 w 2078"/>
                <a:gd name="T43" fmla="*/ 32 h 58"/>
                <a:gd name="T44" fmla="*/ 728 w 2078"/>
                <a:gd name="T45" fmla="*/ 2 h 58"/>
                <a:gd name="T46" fmla="*/ 790 w 2078"/>
                <a:gd name="T47" fmla="*/ 45 h 58"/>
                <a:gd name="T48" fmla="*/ 763 w 2078"/>
                <a:gd name="T49" fmla="*/ 11 h 58"/>
                <a:gd name="T50" fmla="*/ 836 w 2078"/>
                <a:gd name="T51" fmla="*/ 57 h 58"/>
                <a:gd name="T52" fmla="*/ 882 w 2078"/>
                <a:gd name="T53" fmla="*/ 45 h 58"/>
                <a:gd name="T54" fmla="*/ 964 w 2078"/>
                <a:gd name="T55" fmla="*/ 57 h 58"/>
                <a:gd name="T56" fmla="*/ 939 w 2078"/>
                <a:gd name="T57" fmla="*/ 24 h 58"/>
                <a:gd name="T58" fmla="*/ 998 w 2078"/>
                <a:gd name="T59" fmla="*/ 11 h 58"/>
                <a:gd name="T60" fmla="*/ 998 w 2078"/>
                <a:gd name="T61" fmla="*/ 35 h 58"/>
                <a:gd name="T62" fmla="*/ 1027 w 2078"/>
                <a:gd name="T63" fmla="*/ 42 h 58"/>
                <a:gd name="T64" fmla="*/ 987 w 2078"/>
                <a:gd name="T65" fmla="*/ 57 h 58"/>
                <a:gd name="T66" fmla="*/ 1068 w 2078"/>
                <a:gd name="T67" fmla="*/ 34 h 58"/>
                <a:gd name="T68" fmla="*/ 1070 w 2078"/>
                <a:gd name="T69" fmla="*/ 58 h 58"/>
                <a:gd name="T70" fmla="*/ 1080 w 2078"/>
                <a:gd name="T71" fmla="*/ 18 h 58"/>
                <a:gd name="T72" fmla="*/ 1127 w 2078"/>
                <a:gd name="T73" fmla="*/ 2 h 58"/>
                <a:gd name="T74" fmla="*/ 1190 w 2078"/>
                <a:gd name="T75" fmla="*/ 11 h 58"/>
                <a:gd name="T76" fmla="*/ 1236 w 2078"/>
                <a:gd name="T77" fmla="*/ 39 h 58"/>
                <a:gd name="T78" fmla="*/ 1224 w 2078"/>
                <a:gd name="T79" fmla="*/ 39 h 58"/>
                <a:gd name="T80" fmla="*/ 1315 w 2078"/>
                <a:gd name="T81" fmla="*/ 58 h 58"/>
                <a:gd name="T82" fmla="*/ 1375 w 2078"/>
                <a:gd name="T83" fmla="*/ 57 h 58"/>
                <a:gd name="T84" fmla="*/ 1399 w 2078"/>
                <a:gd name="T85" fmla="*/ 11 h 58"/>
                <a:gd name="T86" fmla="*/ 1448 w 2078"/>
                <a:gd name="T87" fmla="*/ 11 h 58"/>
                <a:gd name="T88" fmla="*/ 1431 w 2078"/>
                <a:gd name="T89" fmla="*/ 2 h 58"/>
                <a:gd name="T90" fmla="*/ 1507 w 2078"/>
                <a:gd name="T91" fmla="*/ 33 h 58"/>
                <a:gd name="T92" fmla="*/ 1531 w 2078"/>
                <a:gd name="T93" fmla="*/ 2 h 58"/>
                <a:gd name="T94" fmla="*/ 1576 w 2078"/>
                <a:gd name="T95" fmla="*/ 58 h 58"/>
                <a:gd name="T96" fmla="*/ 1586 w 2078"/>
                <a:gd name="T97" fmla="*/ 20 h 58"/>
                <a:gd name="T98" fmla="*/ 1664 w 2078"/>
                <a:gd name="T99" fmla="*/ 57 h 58"/>
                <a:gd name="T100" fmla="*/ 1620 w 2078"/>
                <a:gd name="T101" fmla="*/ 2 h 58"/>
                <a:gd name="T102" fmla="*/ 1726 w 2078"/>
                <a:gd name="T103" fmla="*/ 45 h 58"/>
                <a:gd name="T104" fmla="*/ 1698 w 2078"/>
                <a:gd name="T105" fmla="*/ 11 h 58"/>
                <a:gd name="T106" fmla="*/ 1784 w 2078"/>
                <a:gd name="T107" fmla="*/ 0 h 58"/>
                <a:gd name="T108" fmla="*/ 1771 w 2078"/>
                <a:gd name="T109" fmla="*/ 30 h 58"/>
                <a:gd name="T110" fmla="*/ 1833 w 2078"/>
                <a:gd name="T111" fmla="*/ 2 h 58"/>
                <a:gd name="T112" fmla="*/ 1886 w 2078"/>
                <a:gd name="T113" fmla="*/ 30 h 58"/>
                <a:gd name="T114" fmla="*/ 1913 w 2078"/>
                <a:gd name="T115" fmla="*/ 9 h 58"/>
                <a:gd name="T116" fmla="*/ 1986 w 2078"/>
                <a:gd name="T117" fmla="*/ 9 h 58"/>
                <a:gd name="T118" fmla="*/ 1997 w 2078"/>
                <a:gd name="T119" fmla="*/ 57 h 58"/>
                <a:gd name="T120" fmla="*/ 2048 w 2078"/>
                <a:gd name="T121" fmla="*/ 57 h 58"/>
                <a:gd name="T122" fmla="*/ 2043 w 2078"/>
                <a:gd name="T123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78" h="58">
                  <a:moveTo>
                    <a:pt x="38" y="37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8" y="48"/>
                  </a:cubicBezTo>
                  <a:cubicBezTo>
                    <a:pt x="34" y="49"/>
                    <a:pt x="30" y="50"/>
                    <a:pt x="28" y="50"/>
                  </a:cubicBezTo>
                  <a:cubicBezTo>
                    <a:pt x="18" y="49"/>
                    <a:pt x="12" y="43"/>
                    <a:pt x="12" y="30"/>
                  </a:cubicBezTo>
                  <a:cubicBezTo>
                    <a:pt x="12" y="16"/>
                    <a:pt x="18" y="9"/>
                    <a:pt x="28" y="9"/>
                  </a:cubicBezTo>
                  <a:cubicBezTo>
                    <a:pt x="35" y="9"/>
                    <a:pt x="38" y="12"/>
                    <a:pt x="3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6"/>
                    <a:pt x="43" y="0"/>
                    <a:pt x="25" y="0"/>
                  </a:cubicBezTo>
                  <a:cubicBezTo>
                    <a:pt x="9" y="2"/>
                    <a:pt x="0" y="11"/>
                    <a:pt x="0" y="30"/>
                  </a:cubicBezTo>
                  <a:cubicBezTo>
                    <a:pt x="0" y="47"/>
                    <a:pt x="9" y="57"/>
                    <a:pt x="25" y="58"/>
                  </a:cubicBezTo>
                  <a:cubicBezTo>
                    <a:pt x="31" y="58"/>
                    <a:pt x="35" y="58"/>
                    <a:pt x="38" y="57"/>
                  </a:cubicBezTo>
                  <a:cubicBezTo>
                    <a:pt x="42" y="57"/>
                    <a:pt x="46" y="57"/>
                    <a:pt x="50" y="5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111" y="2"/>
                  </a:moveTo>
                  <a:cubicBezTo>
                    <a:pt x="111" y="32"/>
                    <a:pt x="111" y="32"/>
                    <a:pt x="111" y="32"/>
                  </a:cubicBezTo>
                  <a:cubicBezTo>
                    <a:pt x="111" y="39"/>
                    <a:pt x="110" y="43"/>
                    <a:pt x="108" y="45"/>
                  </a:cubicBezTo>
                  <a:cubicBezTo>
                    <a:pt x="107" y="48"/>
                    <a:pt x="103" y="50"/>
                    <a:pt x="99" y="50"/>
                  </a:cubicBezTo>
                  <a:cubicBezTo>
                    <a:pt x="94" y="50"/>
                    <a:pt x="91" y="48"/>
                    <a:pt x="89" y="45"/>
                  </a:cubicBezTo>
                  <a:cubicBezTo>
                    <a:pt x="87" y="43"/>
                    <a:pt x="87" y="39"/>
                    <a:pt x="87" y="3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50"/>
                    <a:pt x="83" y="57"/>
                    <a:pt x="99" y="58"/>
                  </a:cubicBezTo>
                  <a:cubicBezTo>
                    <a:pt x="114" y="57"/>
                    <a:pt x="122" y="50"/>
                    <a:pt x="123" y="36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11" y="2"/>
                    <a:pt x="111" y="2"/>
                    <a:pt x="111" y="2"/>
                  </a:cubicBezTo>
                  <a:close/>
                  <a:moveTo>
                    <a:pt x="154" y="57"/>
                  </a:moveTo>
                  <a:cubicBezTo>
                    <a:pt x="158" y="45"/>
                    <a:pt x="158" y="45"/>
                    <a:pt x="158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96" y="57"/>
                    <a:pt x="196" y="57"/>
                    <a:pt x="196" y="57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43" y="57"/>
                    <a:pt x="143" y="57"/>
                    <a:pt x="143" y="57"/>
                  </a:cubicBezTo>
                  <a:cubicBezTo>
                    <a:pt x="154" y="57"/>
                    <a:pt x="154" y="57"/>
                    <a:pt x="154" y="57"/>
                  </a:cubicBezTo>
                  <a:close/>
                  <a:moveTo>
                    <a:pt x="161" y="36"/>
                  </a:moveTo>
                  <a:cubicBezTo>
                    <a:pt x="169" y="12"/>
                    <a:pt x="169" y="12"/>
                    <a:pt x="169" y="12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77" y="36"/>
                    <a:pt x="177" y="36"/>
                    <a:pt x="177" y="36"/>
                  </a:cubicBezTo>
                  <a:cubicBezTo>
                    <a:pt x="161" y="36"/>
                    <a:pt x="161" y="36"/>
                    <a:pt x="161" y="36"/>
                  </a:cubicBezTo>
                  <a:close/>
                  <a:moveTo>
                    <a:pt x="264" y="57"/>
                  </a:moveTo>
                  <a:cubicBezTo>
                    <a:pt x="264" y="2"/>
                    <a:pt x="264" y="2"/>
                    <a:pt x="264" y="2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32" y="2"/>
                    <a:pt x="232" y="2"/>
                    <a:pt x="232" y="2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226" y="57"/>
                    <a:pt x="226" y="57"/>
                    <a:pt x="226" y="57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48" y="57"/>
                    <a:pt x="248" y="57"/>
                    <a:pt x="248" y="57"/>
                  </a:cubicBezTo>
                  <a:cubicBezTo>
                    <a:pt x="264" y="57"/>
                    <a:pt x="264" y="57"/>
                    <a:pt x="264" y="57"/>
                  </a:cubicBezTo>
                  <a:close/>
                  <a:moveTo>
                    <a:pt x="324" y="37"/>
                  </a:moveTo>
                  <a:cubicBezTo>
                    <a:pt x="324" y="48"/>
                    <a:pt x="324" y="48"/>
                    <a:pt x="324" y="48"/>
                  </a:cubicBezTo>
                  <a:cubicBezTo>
                    <a:pt x="324" y="49"/>
                    <a:pt x="323" y="49"/>
                    <a:pt x="324" y="48"/>
                  </a:cubicBezTo>
                  <a:cubicBezTo>
                    <a:pt x="320" y="49"/>
                    <a:pt x="316" y="50"/>
                    <a:pt x="313" y="50"/>
                  </a:cubicBezTo>
                  <a:cubicBezTo>
                    <a:pt x="303" y="49"/>
                    <a:pt x="298" y="43"/>
                    <a:pt x="298" y="30"/>
                  </a:cubicBezTo>
                  <a:cubicBezTo>
                    <a:pt x="298" y="16"/>
                    <a:pt x="303" y="9"/>
                    <a:pt x="313" y="9"/>
                  </a:cubicBezTo>
                  <a:cubicBezTo>
                    <a:pt x="321" y="9"/>
                    <a:pt x="324" y="12"/>
                    <a:pt x="324" y="18"/>
                  </a:cubicBezTo>
                  <a:cubicBezTo>
                    <a:pt x="337" y="18"/>
                    <a:pt x="337" y="18"/>
                    <a:pt x="337" y="18"/>
                  </a:cubicBezTo>
                  <a:cubicBezTo>
                    <a:pt x="337" y="6"/>
                    <a:pt x="328" y="0"/>
                    <a:pt x="311" y="0"/>
                  </a:cubicBezTo>
                  <a:cubicBezTo>
                    <a:pt x="294" y="2"/>
                    <a:pt x="286" y="11"/>
                    <a:pt x="286" y="30"/>
                  </a:cubicBezTo>
                  <a:cubicBezTo>
                    <a:pt x="286" y="47"/>
                    <a:pt x="294" y="57"/>
                    <a:pt x="311" y="58"/>
                  </a:cubicBezTo>
                  <a:cubicBezTo>
                    <a:pt x="316" y="58"/>
                    <a:pt x="320" y="58"/>
                    <a:pt x="324" y="57"/>
                  </a:cubicBezTo>
                  <a:cubicBezTo>
                    <a:pt x="328" y="57"/>
                    <a:pt x="332" y="57"/>
                    <a:pt x="336" y="55"/>
                  </a:cubicBezTo>
                  <a:cubicBezTo>
                    <a:pt x="336" y="27"/>
                    <a:pt x="336" y="27"/>
                    <a:pt x="336" y="27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24" y="37"/>
                    <a:pt x="324" y="37"/>
                    <a:pt x="324" y="37"/>
                  </a:cubicBezTo>
                  <a:close/>
                  <a:moveTo>
                    <a:pt x="388" y="11"/>
                  </a:moveTo>
                  <a:cubicBezTo>
                    <a:pt x="395" y="11"/>
                    <a:pt x="395" y="11"/>
                    <a:pt x="395" y="11"/>
                  </a:cubicBezTo>
                  <a:cubicBezTo>
                    <a:pt x="405" y="11"/>
                    <a:pt x="411" y="17"/>
                    <a:pt x="411" y="30"/>
                  </a:cubicBezTo>
                  <a:cubicBezTo>
                    <a:pt x="411" y="42"/>
                    <a:pt x="405" y="48"/>
                    <a:pt x="395" y="48"/>
                  </a:cubicBezTo>
                  <a:cubicBezTo>
                    <a:pt x="388" y="48"/>
                    <a:pt x="388" y="48"/>
                    <a:pt x="388" y="48"/>
                  </a:cubicBezTo>
                  <a:cubicBezTo>
                    <a:pt x="388" y="11"/>
                    <a:pt x="388" y="11"/>
                    <a:pt x="388" y="11"/>
                  </a:cubicBezTo>
                  <a:close/>
                  <a:moveTo>
                    <a:pt x="377" y="57"/>
                  </a:moveTo>
                  <a:cubicBezTo>
                    <a:pt x="396" y="57"/>
                    <a:pt x="396" y="57"/>
                    <a:pt x="396" y="57"/>
                  </a:cubicBezTo>
                  <a:cubicBezTo>
                    <a:pt x="414" y="57"/>
                    <a:pt x="423" y="48"/>
                    <a:pt x="423" y="30"/>
                  </a:cubicBezTo>
                  <a:cubicBezTo>
                    <a:pt x="423" y="11"/>
                    <a:pt x="414" y="2"/>
                    <a:pt x="396" y="2"/>
                  </a:cubicBezTo>
                  <a:cubicBezTo>
                    <a:pt x="377" y="2"/>
                    <a:pt x="377" y="2"/>
                    <a:pt x="377" y="2"/>
                  </a:cubicBezTo>
                  <a:cubicBezTo>
                    <a:pt x="377" y="57"/>
                    <a:pt x="377" y="57"/>
                    <a:pt x="377" y="57"/>
                  </a:cubicBezTo>
                  <a:close/>
                  <a:moveTo>
                    <a:pt x="470" y="58"/>
                  </a:moveTo>
                  <a:cubicBezTo>
                    <a:pt x="486" y="57"/>
                    <a:pt x="495" y="48"/>
                    <a:pt x="495" y="30"/>
                  </a:cubicBezTo>
                  <a:cubicBezTo>
                    <a:pt x="495" y="11"/>
                    <a:pt x="486" y="1"/>
                    <a:pt x="470" y="0"/>
                  </a:cubicBezTo>
                  <a:cubicBezTo>
                    <a:pt x="453" y="1"/>
                    <a:pt x="444" y="11"/>
                    <a:pt x="443" y="30"/>
                  </a:cubicBezTo>
                  <a:cubicBezTo>
                    <a:pt x="444" y="48"/>
                    <a:pt x="452" y="57"/>
                    <a:pt x="470" y="58"/>
                  </a:cubicBezTo>
                  <a:close/>
                  <a:moveTo>
                    <a:pt x="470" y="9"/>
                  </a:moveTo>
                  <a:cubicBezTo>
                    <a:pt x="479" y="9"/>
                    <a:pt x="483" y="16"/>
                    <a:pt x="483" y="30"/>
                  </a:cubicBezTo>
                  <a:cubicBezTo>
                    <a:pt x="483" y="43"/>
                    <a:pt x="479" y="50"/>
                    <a:pt x="470" y="50"/>
                  </a:cubicBezTo>
                  <a:cubicBezTo>
                    <a:pt x="460" y="50"/>
                    <a:pt x="456" y="43"/>
                    <a:pt x="456" y="30"/>
                  </a:cubicBezTo>
                  <a:cubicBezTo>
                    <a:pt x="456" y="16"/>
                    <a:pt x="460" y="9"/>
                    <a:pt x="470" y="9"/>
                  </a:cubicBezTo>
                  <a:close/>
                  <a:moveTo>
                    <a:pt x="567" y="57"/>
                  </a:moveTo>
                  <a:cubicBezTo>
                    <a:pt x="567" y="2"/>
                    <a:pt x="567" y="2"/>
                    <a:pt x="567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528" y="57"/>
                    <a:pt x="528" y="57"/>
                    <a:pt x="528" y="57"/>
                  </a:cubicBezTo>
                  <a:cubicBezTo>
                    <a:pt x="528" y="11"/>
                    <a:pt x="528" y="11"/>
                    <a:pt x="528" y="11"/>
                  </a:cubicBezTo>
                  <a:cubicBezTo>
                    <a:pt x="529" y="11"/>
                    <a:pt x="529" y="11"/>
                    <a:pt x="529" y="11"/>
                  </a:cubicBezTo>
                  <a:cubicBezTo>
                    <a:pt x="550" y="57"/>
                    <a:pt x="550" y="57"/>
                    <a:pt x="550" y="57"/>
                  </a:cubicBezTo>
                  <a:cubicBezTo>
                    <a:pt x="567" y="57"/>
                    <a:pt x="567" y="57"/>
                    <a:pt x="567" y="57"/>
                  </a:cubicBezTo>
                  <a:close/>
                  <a:moveTo>
                    <a:pt x="627" y="37"/>
                  </a:moveTo>
                  <a:cubicBezTo>
                    <a:pt x="627" y="48"/>
                    <a:pt x="627" y="48"/>
                    <a:pt x="627" y="48"/>
                  </a:cubicBezTo>
                  <a:cubicBezTo>
                    <a:pt x="626" y="49"/>
                    <a:pt x="626" y="49"/>
                    <a:pt x="626" y="48"/>
                  </a:cubicBezTo>
                  <a:cubicBezTo>
                    <a:pt x="622" y="49"/>
                    <a:pt x="619" y="50"/>
                    <a:pt x="616" y="50"/>
                  </a:cubicBezTo>
                  <a:cubicBezTo>
                    <a:pt x="606" y="49"/>
                    <a:pt x="601" y="43"/>
                    <a:pt x="600" y="30"/>
                  </a:cubicBezTo>
                  <a:cubicBezTo>
                    <a:pt x="601" y="16"/>
                    <a:pt x="606" y="9"/>
                    <a:pt x="616" y="9"/>
                  </a:cubicBezTo>
                  <a:cubicBezTo>
                    <a:pt x="623" y="9"/>
                    <a:pt x="627" y="12"/>
                    <a:pt x="627" y="18"/>
                  </a:cubicBezTo>
                  <a:cubicBezTo>
                    <a:pt x="639" y="18"/>
                    <a:pt x="639" y="18"/>
                    <a:pt x="639" y="18"/>
                  </a:cubicBezTo>
                  <a:cubicBezTo>
                    <a:pt x="639" y="6"/>
                    <a:pt x="631" y="0"/>
                    <a:pt x="614" y="0"/>
                  </a:cubicBezTo>
                  <a:cubicBezTo>
                    <a:pt x="597" y="2"/>
                    <a:pt x="588" y="11"/>
                    <a:pt x="588" y="30"/>
                  </a:cubicBezTo>
                  <a:cubicBezTo>
                    <a:pt x="588" y="47"/>
                    <a:pt x="597" y="57"/>
                    <a:pt x="614" y="58"/>
                  </a:cubicBezTo>
                  <a:cubicBezTo>
                    <a:pt x="619" y="58"/>
                    <a:pt x="623" y="58"/>
                    <a:pt x="626" y="57"/>
                  </a:cubicBezTo>
                  <a:cubicBezTo>
                    <a:pt x="630" y="57"/>
                    <a:pt x="634" y="57"/>
                    <a:pt x="638" y="55"/>
                  </a:cubicBezTo>
                  <a:cubicBezTo>
                    <a:pt x="638" y="27"/>
                    <a:pt x="638" y="27"/>
                    <a:pt x="638" y="27"/>
                  </a:cubicBezTo>
                  <a:cubicBezTo>
                    <a:pt x="616" y="27"/>
                    <a:pt x="616" y="27"/>
                    <a:pt x="616" y="27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27" y="37"/>
                    <a:pt x="627" y="37"/>
                    <a:pt x="627" y="37"/>
                  </a:cubicBezTo>
                  <a:close/>
                  <a:moveTo>
                    <a:pt x="716" y="2"/>
                  </a:moveTo>
                  <a:cubicBezTo>
                    <a:pt x="716" y="32"/>
                    <a:pt x="716" y="32"/>
                    <a:pt x="716" y="32"/>
                  </a:cubicBezTo>
                  <a:cubicBezTo>
                    <a:pt x="716" y="39"/>
                    <a:pt x="715" y="43"/>
                    <a:pt x="713" y="45"/>
                  </a:cubicBezTo>
                  <a:cubicBezTo>
                    <a:pt x="712" y="48"/>
                    <a:pt x="708" y="50"/>
                    <a:pt x="704" y="50"/>
                  </a:cubicBezTo>
                  <a:cubicBezTo>
                    <a:pt x="699" y="50"/>
                    <a:pt x="696" y="48"/>
                    <a:pt x="694" y="45"/>
                  </a:cubicBezTo>
                  <a:cubicBezTo>
                    <a:pt x="692" y="43"/>
                    <a:pt x="692" y="39"/>
                    <a:pt x="692" y="32"/>
                  </a:cubicBezTo>
                  <a:cubicBezTo>
                    <a:pt x="692" y="2"/>
                    <a:pt x="692" y="2"/>
                    <a:pt x="692" y="2"/>
                  </a:cubicBezTo>
                  <a:cubicBezTo>
                    <a:pt x="680" y="2"/>
                    <a:pt x="680" y="2"/>
                    <a:pt x="680" y="2"/>
                  </a:cubicBezTo>
                  <a:cubicBezTo>
                    <a:pt x="680" y="36"/>
                    <a:pt x="680" y="36"/>
                    <a:pt x="680" y="36"/>
                  </a:cubicBezTo>
                  <a:cubicBezTo>
                    <a:pt x="680" y="50"/>
                    <a:pt x="688" y="57"/>
                    <a:pt x="704" y="58"/>
                  </a:cubicBezTo>
                  <a:cubicBezTo>
                    <a:pt x="719" y="57"/>
                    <a:pt x="727" y="50"/>
                    <a:pt x="728" y="36"/>
                  </a:cubicBezTo>
                  <a:cubicBezTo>
                    <a:pt x="728" y="2"/>
                    <a:pt x="728" y="2"/>
                    <a:pt x="728" y="2"/>
                  </a:cubicBezTo>
                  <a:cubicBezTo>
                    <a:pt x="716" y="2"/>
                    <a:pt x="716" y="2"/>
                    <a:pt x="716" y="2"/>
                  </a:cubicBezTo>
                  <a:close/>
                  <a:moveTo>
                    <a:pt x="801" y="57"/>
                  </a:moveTo>
                  <a:cubicBezTo>
                    <a:pt x="801" y="2"/>
                    <a:pt x="801" y="2"/>
                    <a:pt x="801" y="2"/>
                  </a:cubicBezTo>
                  <a:cubicBezTo>
                    <a:pt x="790" y="2"/>
                    <a:pt x="790" y="2"/>
                    <a:pt x="790" y="2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52" y="2"/>
                    <a:pt x="752" y="2"/>
                    <a:pt x="752" y="2"/>
                  </a:cubicBezTo>
                  <a:cubicBezTo>
                    <a:pt x="752" y="57"/>
                    <a:pt x="752" y="57"/>
                    <a:pt x="752" y="57"/>
                  </a:cubicBezTo>
                  <a:cubicBezTo>
                    <a:pt x="763" y="57"/>
                    <a:pt x="763" y="57"/>
                    <a:pt x="763" y="57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84" y="57"/>
                    <a:pt x="784" y="57"/>
                    <a:pt x="784" y="57"/>
                  </a:cubicBezTo>
                  <a:cubicBezTo>
                    <a:pt x="801" y="57"/>
                    <a:pt x="801" y="57"/>
                    <a:pt x="801" y="57"/>
                  </a:cubicBezTo>
                  <a:close/>
                  <a:moveTo>
                    <a:pt x="836" y="2"/>
                  </a:moveTo>
                  <a:cubicBezTo>
                    <a:pt x="824" y="2"/>
                    <a:pt x="824" y="2"/>
                    <a:pt x="824" y="2"/>
                  </a:cubicBezTo>
                  <a:cubicBezTo>
                    <a:pt x="824" y="57"/>
                    <a:pt x="824" y="57"/>
                    <a:pt x="824" y="57"/>
                  </a:cubicBezTo>
                  <a:cubicBezTo>
                    <a:pt x="836" y="57"/>
                    <a:pt x="836" y="57"/>
                    <a:pt x="836" y="57"/>
                  </a:cubicBezTo>
                  <a:cubicBezTo>
                    <a:pt x="836" y="2"/>
                    <a:pt x="836" y="2"/>
                    <a:pt x="836" y="2"/>
                  </a:cubicBezTo>
                  <a:close/>
                  <a:moveTo>
                    <a:pt x="875" y="57"/>
                  </a:moveTo>
                  <a:cubicBezTo>
                    <a:pt x="888" y="57"/>
                    <a:pt x="888" y="57"/>
                    <a:pt x="888" y="57"/>
                  </a:cubicBezTo>
                  <a:cubicBezTo>
                    <a:pt x="908" y="2"/>
                    <a:pt x="908" y="2"/>
                    <a:pt x="908" y="2"/>
                  </a:cubicBezTo>
                  <a:cubicBezTo>
                    <a:pt x="896" y="2"/>
                    <a:pt x="896" y="2"/>
                    <a:pt x="896" y="2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68" y="2"/>
                    <a:pt x="868" y="2"/>
                    <a:pt x="868" y="2"/>
                  </a:cubicBezTo>
                  <a:cubicBezTo>
                    <a:pt x="855" y="2"/>
                    <a:pt x="855" y="2"/>
                    <a:pt x="855" y="2"/>
                  </a:cubicBezTo>
                  <a:cubicBezTo>
                    <a:pt x="875" y="57"/>
                    <a:pt x="875" y="57"/>
                    <a:pt x="875" y="57"/>
                  </a:cubicBezTo>
                  <a:close/>
                  <a:moveTo>
                    <a:pt x="927" y="57"/>
                  </a:moveTo>
                  <a:cubicBezTo>
                    <a:pt x="964" y="57"/>
                    <a:pt x="964" y="57"/>
                    <a:pt x="964" y="57"/>
                  </a:cubicBezTo>
                  <a:cubicBezTo>
                    <a:pt x="964" y="48"/>
                    <a:pt x="964" y="48"/>
                    <a:pt x="964" y="48"/>
                  </a:cubicBezTo>
                  <a:cubicBezTo>
                    <a:pt x="939" y="48"/>
                    <a:pt x="939" y="48"/>
                    <a:pt x="939" y="48"/>
                  </a:cubicBezTo>
                  <a:cubicBezTo>
                    <a:pt x="939" y="33"/>
                    <a:pt x="939" y="33"/>
                    <a:pt x="939" y="33"/>
                  </a:cubicBezTo>
                  <a:cubicBezTo>
                    <a:pt x="962" y="33"/>
                    <a:pt x="962" y="33"/>
                    <a:pt x="962" y="33"/>
                  </a:cubicBezTo>
                  <a:cubicBezTo>
                    <a:pt x="962" y="24"/>
                    <a:pt x="962" y="24"/>
                    <a:pt x="962" y="24"/>
                  </a:cubicBezTo>
                  <a:cubicBezTo>
                    <a:pt x="939" y="24"/>
                    <a:pt x="939" y="24"/>
                    <a:pt x="939" y="24"/>
                  </a:cubicBezTo>
                  <a:cubicBezTo>
                    <a:pt x="939" y="11"/>
                    <a:pt x="939" y="11"/>
                    <a:pt x="939" y="11"/>
                  </a:cubicBezTo>
                  <a:cubicBezTo>
                    <a:pt x="963" y="11"/>
                    <a:pt x="963" y="11"/>
                    <a:pt x="963" y="11"/>
                  </a:cubicBezTo>
                  <a:cubicBezTo>
                    <a:pt x="963" y="2"/>
                    <a:pt x="963" y="2"/>
                    <a:pt x="963" y="2"/>
                  </a:cubicBezTo>
                  <a:cubicBezTo>
                    <a:pt x="927" y="2"/>
                    <a:pt x="927" y="2"/>
                    <a:pt x="927" y="2"/>
                  </a:cubicBezTo>
                  <a:cubicBezTo>
                    <a:pt x="927" y="57"/>
                    <a:pt x="927" y="57"/>
                    <a:pt x="927" y="57"/>
                  </a:cubicBezTo>
                  <a:close/>
                  <a:moveTo>
                    <a:pt x="998" y="11"/>
                  </a:moveTo>
                  <a:cubicBezTo>
                    <a:pt x="1008" y="11"/>
                    <a:pt x="1008" y="11"/>
                    <a:pt x="1008" y="11"/>
                  </a:cubicBezTo>
                  <a:cubicBezTo>
                    <a:pt x="1014" y="11"/>
                    <a:pt x="1016" y="13"/>
                    <a:pt x="1016" y="18"/>
                  </a:cubicBezTo>
                  <a:cubicBezTo>
                    <a:pt x="1016" y="23"/>
                    <a:pt x="1014" y="26"/>
                    <a:pt x="1008" y="26"/>
                  </a:cubicBezTo>
                  <a:cubicBezTo>
                    <a:pt x="998" y="26"/>
                    <a:pt x="998" y="26"/>
                    <a:pt x="998" y="26"/>
                  </a:cubicBezTo>
                  <a:cubicBezTo>
                    <a:pt x="998" y="11"/>
                    <a:pt x="998" y="11"/>
                    <a:pt x="998" y="11"/>
                  </a:cubicBezTo>
                  <a:close/>
                  <a:moveTo>
                    <a:pt x="998" y="35"/>
                  </a:moveTo>
                  <a:cubicBezTo>
                    <a:pt x="1011" y="35"/>
                    <a:pt x="1011" y="35"/>
                    <a:pt x="1011" y="35"/>
                  </a:cubicBezTo>
                  <a:cubicBezTo>
                    <a:pt x="1014" y="35"/>
                    <a:pt x="1015" y="37"/>
                    <a:pt x="1016" y="42"/>
                  </a:cubicBezTo>
                  <a:cubicBezTo>
                    <a:pt x="1016" y="47"/>
                    <a:pt x="1017" y="52"/>
                    <a:pt x="1018" y="57"/>
                  </a:cubicBezTo>
                  <a:cubicBezTo>
                    <a:pt x="1031" y="57"/>
                    <a:pt x="1031" y="57"/>
                    <a:pt x="1031" y="57"/>
                  </a:cubicBezTo>
                  <a:cubicBezTo>
                    <a:pt x="1029" y="55"/>
                    <a:pt x="1028" y="51"/>
                    <a:pt x="1028" y="44"/>
                  </a:cubicBezTo>
                  <a:cubicBezTo>
                    <a:pt x="1028" y="44"/>
                    <a:pt x="1028" y="43"/>
                    <a:pt x="1027" y="42"/>
                  </a:cubicBezTo>
                  <a:cubicBezTo>
                    <a:pt x="1027" y="34"/>
                    <a:pt x="1024" y="30"/>
                    <a:pt x="1018" y="30"/>
                  </a:cubicBezTo>
                  <a:cubicBezTo>
                    <a:pt x="1018" y="30"/>
                    <a:pt x="1018" y="30"/>
                    <a:pt x="1018" y="30"/>
                  </a:cubicBezTo>
                  <a:cubicBezTo>
                    <a:pt x="1025" y="28"/>
                    <a:pt x="1029" y="23"/>
                    <a:pt x="1029" y="16"/>
                  </a:cubicBezTo>
                  <a:cubicBezTo>
                    <a:pt x="1029" y="7"/>
                    <a:pt x="1022" y="2"/>
                    <a:pt x="1010" y="2"/>
                  </a:cubicBezTo>
                  <a:cubicBezTo>
                    <a:pt x="987" y="2"/>
                    <a:pt x="987" y="2"/>
                    <a:pt x="987" y="2"/>
                  </a:cubicBezTo>
                  <a:cubicBezTo>
                    <a:pt x="987" y="57"/>
                    <a:pt x="987" y="57"/>
                    <a:pt x="987" y="57"/>
                  </a:cubicBezTo>
                  <a:cubicBezTo>
                    <a:pt x="998" y="57"/>
                    <a:pt x="998" y="57"/>
                    <a:pt x="998" y="57"/>
                  </a:cubicBezTo>
                  <a:cubicBezTo>
                    <a:pt x="998" y="35"/>
                    <a:pt x="998" y="35"/>
                    <a:pt x="998" y="35"/>
                  </a:cubicBezTo>
                  <a:close/>
                  <a:moveTo>
                    <a:pt x="1092" y="18"/>
                  </a:moveTo>
                  <a:cubicBezTo>
                    <a:pt x="1091" y="7"/>
                    <a:pt x="1085" y="1"/>
                    <a:pt x="1073" y="0"/>
                  </a:cubicBezTo>
                  <a:cubicBezTo>
                    <a:pt x="1059" y="1"/>
                    <a:pt x="1051" y="7"/>
                    <a:pt x="1050" y="19"/>
                  </a:cubicBezTo>
                  <a:cubicBezTo>
                    <a:pt x="1050" y="26"/>
                    <a:pt x="1056" y="31"/>
                    <a:pt x="1068" y="34"/>
                  </a:cubicBezTo>
                  <a:cubicBezTo>
                    <a:pt x="1069" y="34"/>
                    <a:pt x="1069" y="34"/>
                    <a:pt x="1070" y="35"/>
                  </a:cubicBezTo>
                  <a:cubicBezTo>
                    <a:pt x="1077" y="36"/>
                    <a:pt x="1081" y="39"/>
                    <a:pt x="1081" y="42"/>
                  </a:cubicBezTo>
                  <a:cubicBezTo>
                    <a:pt x="1081" y="47"/>
                    <a:pt x="1077" y="49"/>
                    <a:pt x="1070" y="50"/>
                  </a:cubicBezTo>
                  <a:cubicBezTo>
                    <a:pt x="1064" y="49"/>
                    <a:pt x="1061" y="46"/>
                    <a:pt x="1061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52"/>
                    <a:pt x="1056" y="58"/>
                    <a:pt x="1070" y="58"/>
                  </a:cubicBezTo>
                  <a:cubicBezTo>
                    <a:pt x="1085" y="57"/>
                    <a:pt x="1093" y="51"/>
                    <a:pt x="1093" y="40"/>
                  </a:cubicBezTo>
                  <a:cubicBezTo>
                    <a:pt x="1093" y="32"/>
                    <a:pt x="1087" y="27"/>
                    <a:pt x="1074" y="24"/>
                  </a:cubicBezTo>
                  <a:cubicBezTo>
                    <a:pt x="1073" y="24"/>
                    <a:pt x="1073" y="24"/>
                    <a:pt x="1073" y="24"/>
                  </a:cubicBezTo>
                  <a:cubicBezTo>
                    <a:pt x="1066" y="23"/>
                    <a:pt x="1062" y="21"/>
                    <a:pt x="1063" y="16"/>
                  </a:cubicBezTo>
                  <a:cubicBezTo>
                    <a:pt x="1063" y="12"/>
                    <a:pt x="1066" y="10"/>
                    <a:pt x="1072" y="9"/>
                  </a:cubicBezTo>
                  <a:cubicBezTo>
                    <a:pt x="1077" y="9"/>
                    <a:pt x="1080" y="12"/>
                    <a:pt x="1080" y="18"/>
                  </a:cubicBezTo>
                  <a:cubicBezTo>
                    <a:pt x="1092" y="18"/>
                    <a:pt x="1092" y="18"/>
                    <a:pt x="1092" y="18"/>
                  </a:cubicBezTo>
                  <a:close/>
                  <a:moveTo>
                    <a:pt x="1127" y="2"/>
                  </a:moveTo>
                  <a:cubicBezTo>
                    <a:pt x="1115" y="2"/>
                    <a:pt x="1115" y="2"/>
                    <a:pt x="1115" y="2"/>
                  </a:cubicBezTo>
                  <a:cubicBezTo>
                    <a:pt x="1115" y="57"/>
                    <a:pt x="1115" y="57"/>
                    <a:pt x="1115" y="57"/>
                  </a:cubicBezTo>
                  <a:cubicBezTo>
                    <a:pt x="1127" y="57"/>
                    <a:pt x="1127" y="57"/>
                    <a:pt x="1127" y="57"/>
                  </a:cubicBezTo>
                  <a:cubicBezTo>
                    <a:pt x="1127" y="2"/>
                    <a:pt x="1127" y="2"/>
                    <a:pt x="1127" y="2"/>
                  </a:cubicBezTo>
                  <a:close/>
                  <a:moveTo>
                    <a:pt x="1146" y="11"/>
                  </a:moveTo>
                  <a:cubicBezTo>
                    <a:pt x="1162" y="11"/>
                    <a:pt x="1162" y="11"/>
                    <a:pt x="1162" y="11"/>
                  </a:cubicBezTo>
                  <a:cubicBezTo>
                    <a:pt x="1162" y="57"/>
                    <a:pt x="1162" y="57"/>
                    <a:pt x="1162" y="57"/>
                  </a:cubicBezTo>
                  <a:cubicBezTo>
                    <a:pt x="1174" y="57"/>
                    <a:pt x="1174" y="57"/>
                    <a:pt x="1174" y="57"/>
                  </a:cubicBezTo>
                  <a:cubicBezTo>
                    <a:pt x="1174" y="11"/>
                    <a:pt x="1174" y="11"/>
                    <a:pt x="1174" y="11"/>
                  </a:cubicBezTo>
                  <a:cubicBezTo>
                    <a:pt x="1190" y="11"/>
                    <a:pt x="1190" y="11"/>
                    <a:pt x="1190" y="11"/>
                  </a:cubicBezTo>
                  <a:cubicBezTo>
                    <a:pt x="1190" y="2"/>
                    <a:pt x="1190" y="2"/>
                    <a:pt x="1190" y="2"/>
                  </a:cubicBezTo>
                  <a:cubicBezTo>
                    <a:pt x="1146" y="2"/>
                    <a:pt x="1146" y="2"/>
                    <a:pt x="1146" y="2"/>
                  </a:cubicBezTo>
                  <a:cubicBezTo>
                    <a:pt x="1146" y="11"/>
                    <a:pt x="1146" y="11"/>
                    <a:pt x="1146" y="11"/>
                  </a:cubicBezTo>
                  <a:close/>
                  <a:moveTo>
                    <a:pt x="1224" y="57"/>
                  </a:moveTo>
                  <a:cubicBezTo>
                    <a:pt x="1236" y="57"/>
                    <a:pt x="1236" y="57"/>
                    <a:pt x="1236" y="57"/>
                  </a:cubicBezTo>
                  <a:cubicBezTo>
                    <a:pt x="1236" y="39"/>
                    <a:pt x="1236" y="39"/>
                    <a:pt x="1236" y="39"/>
                  </a:cubicBezTo>
                  <a:cubicBezTo>
                    <a:pt x="1254" y="2"/>
                    <a:pt x="1254" y="2"/>
                    <a:pt x="1254" y="2"/>
                  </a:cubicBezTo>
                  <a:cubicBezTo>
                    <a:pt x="1242" y="2"/>
                    <a:pt x="1242" y="2"/>
                    <a:pt x="1242" y="2"/>
                  </a:cubicBezTo>
                  <a:cubicBezTo>
                    <a:pt x="1231" y="27"/>
                    <a:pt x="1231" y="27"/>
                    <a:pt x="1231" y="27"/>
                  </a:cubicBezTo>
                  <a:cubicBezTo>
                    <a:pt x="1220" y="2"/>
                    <a:pt x="1220" y="2"/>
                    <a:pt x="1220" y="2"/>
                  </a:cubicBezTo>
                  <a:cubicBezTo>
                    <a:pt x="1206" y="2"/>
                    <a:pt x="1206" y="2"/>
                    <a:pt x="1206" y="2"/>
                  </a:cubicBezTo>
                  <a:cubicBezTo>
                    <a:pt x="1224" y="39"/>
                    <a:pt x="1224" y="39"/>
                    <a:pt x="1224" y="39"/>
                  </a:cubicBezTo>
                  <a:cubicBezTo>
                    <a:pt x="1224" y="57"/>
                    <a:pt x="1224" y="57"/>
                    <a:pt x="1224" y="57"/>
                  </a:cubicBezTo>
                  <a:close/>
                  <a:moveTo>
                    <a:pt x="1315" y="58"/>
                  </a:moveTo>
                  <a:cubicBezTo>
                    <a:pt x="1332" y="57"/>
                    <a:pt x="1340" y="48"/>
                    <a:pt x="1341" y="30"/>
                  </a:cubicBezTo>
                  <a:cubicBezTo>
                    <a:pt x="1340" y="11"/>
                    <a:pt x="1332" y="1"/>
                    <a:pt x="1315" y="0"/>
                  </a:cubicBezTo>
                  <a:cubicBezTo>
                    <a:pt x="1298" y="1"/>
                    <a:pt x="1289" y="11"/>
                    <a:pt x="1289" y="30"/>
                  </a:cubicBezTo>
                  <a:cubicBezTo>
                    <a:pt x="1289" y="48"/>
                    <a:pt x="1298" y="57"/>
                    <a:pt x="1315" y="58"/>
                  </a:cubicBezTo>
                  <a:close/>
                  <a:moveTo>
                    <a:pt x="1315" y="9"/>
                  </a:moveTo>
                  <a:cubicBezTo>
                    <a:pt x="1324" y="9"/>
                    <a:pt x="1329" y="16"/>
                    <a:pt x="1329" y="30"/>
                  </a:cubicBezTo>
                  <a:cubicBezTo>
                    <a:pt x="1329" y="43"/>
                    <a:pt x="1324" y="50"/>
                    <a:pt x="1315" y="50"/>
                  </a:cubicBezTo>
                  <a:cubicBezTo>
                    <a:pt x="1306" y="50"/>
                    <a:pt x="1301" y="43"/>
                    <a:pt x="1301" y="30"/>
                  </a:cubicBezTo>
                  <a:cubicBezTo>
                    <a:pt x="1301" y="16"/>
                    <a:pt x="1306" y="9"/>
                    <a:pt x="1315" y="9"/>
                  </a:cubicBezTo>
                  <a:close/>
                  <a:moveTo>
                    <a:pt x="1375" y="57"/>
                  </a:moveTo>
                  <a:cubicBezTo>
                    <a:pt x="1375" y="33"/>
                    <a:pt x="1375" y="33"/>
                    <a:pt x="1375" y="33"/>
                  </a:cubicBezTo>
                  <a:cubicBezTo>
                    <a:pt x="1397" y="33"/>
                    <a:pt x="1397" y="33"/>
                    <a:pt x="1397" y="33"/>
                  </a:cubicBezTo>
                  <a:cubicBezTo>
                    <a:pt x="1397" y="24"/>
                    <a:pt x="1397" y="24"/>
                    <a:pt x="1397" y="24"/>
                  </a:cubicBezTo>
                  <a:cubicBezTo>
                    <a:pt x="1375" y="24"/>
                    <a:pt x="1375" y="24"/>
                    <a:pt x="1375" y="24"/>
                  </a:cubicBezTo>
                  <a:cubicBezTo>
                    <a:pt x="1375" y="11"/>
                    <a:pt x="1375" y="11"/>
                    <a:pt x="1375" y="11"/>
                  </a:cubicBezTo>
                  <a:cubicBezTo>
                    <a:pt x="1399" y="11"/>
                    <a:pt x="1399" y="11"/>
                    <a:pt x="1399" y="11"/>
                  </a:cubicBezTo>
                  <a:cubicBezTo>
                    <a:pt x="1399" y="2"/>
                    <a:pt x="1399" y="2"/>
                    <a:pt x="1399" y="2"/>
                  </a:cubicBezTo>
                  <a:cubicBezTo>
                    <a:pt x="1363" y="2"/>
                    <a:pt x="1363" y="2"/>
                    <a:pt x="1363" y="2"/>
                  </a:cubicBezTo>
                  <a:cubicBezTo>
                    <a:pt x="1363" y="57"/>
                    <a:pt x="1363" y="57"/>
                    <a:pt x="1363" y="57"/>
                  </a:cubicBezTo>
                  <a:cubicBezTo>
                    <a:pt x="1375" y="57"/>
                    <a:pt x="1375" y="57"/>
                    <a:pt x="1375" y="57"/>
                  </a:cubicBezTo>
                  <a:close/>
                  <a:moveTo>
                    <a:pt x="1431" y="11"/>
                  </a:moveTo>
                  <a:cubicBezTo>
                    <a:pt x="1448" y="11"/>
                    <a:pt x="1448" y="11"/>
                    <a:pt x="1448" y="11"/>
                  </a:cubicBezTo>
                  <a:cubicBezTo>
                    <a:pt x="1448" y="57"/>
                    <a:pt x="1448" y="57"/>
                    <a:pt x="1448" y="57"/>
                  </a:cubicBezTo>
                  <a:cubicBezTo>
                    <a:pt x="1459" y="57"/>
                    <a:pt x="1459" y="57"/>
                    <a:pt x="1459" y="57"/>
                  </a:cubicBezTo>
                  <a:cubicBezTo>
                    <a:pt x="1459" y="11"/>
                    <a:pt x="1459" y="11"/>
                    <a:pt x="1459" y="11"/>
                  </a:cubicBezTo>
                  <a:cubicBezTo>
                    <a:pt x="1476" y="11"/>
                    <a:pt x="1476" y="11"/>
                    <a:pt x="1476" y="11"/>
                  </a:cubicBezTo>
                  <a:cubicBezTo>
                    <a:pt x="1476" y="2"/>
                    <a:pt x="1476" y="2"/>
                    <a:pt x="1476" y="2"/>
                  </a:cubicBezTo>
                  <a:cubicBezTo>
                    <a:pt x="1431" y="2"/>
                    <a:pt x="1431" y="2"/>
                    <a:pt x="1431" y="2"/>
                  </a:cubicBezTo>
                  <a:cubicBezTo>
                    <a:pt x="1431" y="11"/>
                    <a:pt x="1431" y="11"/>
                    <a:pt x="1431" y="11"/>
                  </a:cubicBezTo>
                  <a:close/>
                  <a:moveTo>
                    <a:pt x="1495" y="57"/>
                  </a:moveTo>
                  <a:cubicBezTo>
                    <a:pt x="1532" y="57"/>
                    <a:pt x="1532" y="57"/>
                    <a:pt x="1532" y="57"/>
                  </a:cubicBezTo>
                  <a:cubicBezTo>
                    <a:pt x="1532" y="48"/>
                    <a:pt x="1532" y="48"/>
                    <a:pt x="1532" y="48"/>
                  </a:cubicBezTo>
                  <a:cubicBezTo>
                    <a:pt x="1507" y="48"/>
                    <a:pt x="1507" y="48"/>
                    <a:pt x="1507" y="48"/>
                  </a:cubicBezTo>
                  <a:cubicBezTo>
                    <a:pt x="1507" y="33"/>
                    <a:pt x="1507" y="33"/>
                    <a:pt x="1507" y="33"/>
                  </a:cubicBezTo>
                  <a:cubicBezTo>
                    <a:pt x="1530" y="33"/>
                    <a:pt x="1530" y="33"/>
                    <a:pt x="1530" y="33"/>
                  </a:cubicBezTo>
                  <a:cubicBezTo>
                    <a:pt x="1530" y="24"/>
                    <a:pt x="1530" y="24"/>
                    <a:pt x="1530" y="24"/>
                  </a:cubicBezTo>
                  <a:cubicBezTo>
                    <a:pt x="1507" y="24"/>
                    <a:pt x="1507" y="24"/>
                    <a:pt x="1507" y="24"/>
                  </a:cubicBezTo>
                  <a:cubicBezTo>
                    <a:pt x="1507" y="11"/>
                    <a:pt x="1507" y="11"/>
                    <a:pt x="1507" y="11"/>
                  </a:cubicBezTo>
                  <a:cubicBezTo>
                    <a:pt x="1531" y="11"/>
                    <a:pt x="1531" y="11"/>
                    <a:pt x="1531" y="11"/>
                  </a:cubicBezTo>
                  <a:cubicBezTo>
                    <a:pt x="1531" y="2"/>
                    <a:pt x="1531" y="2"/>
                    <a:pt x="1531" y="2"/>
                  </a:cubicBezTo>
                  <a:cubicBezTo>
                    <a:pt x="1495" y="2"/>
                    <a:pt x="1495" y="2"/>
                    <a:pt x="1495" y="2"/>
                  </a:cubicBezTo>
                  <a:cubicBezTo>
                    <a:pt x="1495" y="57"/>
                    <a:pt x="1495" y="57"/>
                    <a:pt x="1495" y="57"/>
                  </a:cubicBezTo>
                  <a:close/>
                  <a:moveTo>
                    <a:pt x="1599" y="20"/>
                  </a:moveTo>
                  <a:cubicBezTo>
                    <a:pt x="1598" y="7"/>
                    <a:pt x="1590" y="1"/>
                    <a:pt x="1576" y="0"/>
                  </a:cubicBezTo>
                  <a:cubicBezTo>
                    <a:pt x="1561" y="1"/>
                    <a:pt x="1553" y="11"/>
                    <a:pt x="1553" y="30"/>
                  </a:cubicBezTo>
                  <a:cubicBezTo>
                    <a:pt x="1553" y="48"/>
                    <a:pt x="1561" y="57"/>
                    <a:pt x="1576" y="58"/>
                  </a:cubicBezTo>
                  <a:cubicBezTo>
                    <a:pt x="1590" y="58"/>
                    <a:pt x="1598" y="51"/>
                    <a:pt x="1599" y="39"/>
                  </a:cubicBezTo>
                  <a:cubicBezTo>
                    <a:pt x="1586" y="39"/>
                    <a:pt x="1586" y="39"/>
                    <a:pt x="1586" y="39"/>
                  </a:cubicBezTo>
                  <a:cubicBezTo>
                    <a:pt x="1586" y="46"/>
                    <a:pt x="1583" y="49"/>
                    <a:pt x="1576" y="50"/>
                  </a:cubicBezTo>
                  <a:cubicBezTo>
                    <a:pt x="1569" y="49"/>
                    <a:pt x="1566" y="43"/>
                    <a:pt x="1565" y="30"/>
                  </a:cubicBezTo>
                  <a:cubicBezTo>
                    <a:pt x="1566" y="16"/>
                    <a:pt x="1569" y="10"/>
                    <a:pt x="1576" y="9"/>
                  </a:cubicBezTo>
                  <a:cubicBezTo>
                    <a:pt x="1582" y="9"/>
                    <a:pt x="1586" y="13"/>
                    <a:pt x="1586" y="20"/>
                  </a:cubicBezTo>
                  <a:cubicBezTo>
                    <a:pt x="1599" y="20"/>
                    <a:pt x="1599" y="20"/>
                    <a:pt x="1599" y="20"/>
                  </a:cubicBezTo>
                  <a:close/>
                  <a:moveTo>
                    <a:pt x="1631" y="57"/>
                  </a:moveTo>
                  <a:cubicBezTo>
                    <a:pt x="1631" y="33"/>
                    <a:pt x="1631" y="33"/>
                    <a:pt x="1631" y="33"/>
                  </a:cubicBezTo>
                  <a:cubicBezTo>
                    <a:pt x="1652" y="33"/>
                    <a:pt x="1652" y="33"/>
                    <a:pt x="1652" y="33"/>
                  </a:cubicBezTo>
                  <a:cubicBezTo>
                    <a:pt x="1652" y="57"/>
                    <a:pt x="1652" y="57"/>
                    <a:pt x="1652" y="57"/>
                  </a:cubicBezTo>
                  <a:cubicBezTo>
                    <a:pt x="1664" y="57"/>
                    <a:pt x="1664" y="57"/>
                    <a:pt x="1664" y="57"/>
                  </a:cubicBezTo>
                  <a:cubicBezTo>
                    <a:pt x="1664" y="2"/>
                    <a:pt x="1664" y="2"/>
                    <a:pt x="1664" y="2"/>
                  </a:cubicBezTo>
                  <a:cubicBezTo>
                    <a:pt x="1652" y="2"/>
                    <a:pt x="1652" y="2"/>
                    <a:pt x="1652" y="2"/>
                  </a:cubicBezTo>
                  <a:cubicBezTo>
                    <a:pt x="1652" y="24"/>
                    <a:pt x="1652" y="24"/>
                    <a:pt x="1652" y="24"/>
                  </a:cubicBezTo>
                  <a:cubicBezTo>
                    <a:pt x="1631" y="24"/>
                    <a:pt x="1631" y="24"/>
                    <a:pt x="1631" y="24"/>
                  </a:cubicBezTo>
                  <a:cubicBezTo>
                    <a:pt x="1631" y="2"/>
                    <a:pt x="1631" y="2"/>
                    <a:pt x="1631" y="2"/>
                  </a:cubicBezTo>
                  <a:cubicBezTo>
                    <a:pt x="1620" y="2"/>
                    <a:pt x="1620" y="2"/>
                    <a:pt x="1620" y="2"/>
                  </a:cubicBezTo>
                  <a:cubicBezTo>
                    <a:pt x="1620" y="57"/>
                    <a:pt x="1620" y="57"/>
                    <a:pt x="1620" y="57"/>
                  </a:cubicBezTo>
                  <a:cubicBezTo>
                    <a:pt x="1631" y="57"/>
                    <a:pt x="1631" y="57"/>
                    <a:pt x="1631" y="57"/>
                  </a:cubicBezTo>
                  <a:close/>
                  <a:moveTo>
                    <a:pt x="1737" y="57"/>
                  </a:moveTo>
                  <a:cubicBezTo>
                    <a:pt x="1737" y="2"/>
                    <a:pt x="1737" y="2"/>
                    <a:pt x="1737" y="2"/>
                  </a:cubicBezTo>
                  <a:cubicBezTo>
                    <a:pt x="1726" y="2"/>
                    <a:pt x="1726" y="2"/>
                    <a:pt x="1726" y="2"/>
                  </a:cubicBezTo>
                  <a:cubicBezTo>
                    <a:pt x="1726" y="45"/>
                    <a:pt x="1726" y="45"/>
                    <a:pt x="1726" y="45"/>
                  </a:cubicBezTo>
                  <a:cubicBezTo>
                    <a:pt x="1725" y="45"/>
                    <a:pt x="1725" y="45"/>
                    <a:pt x="1725" y="45"/>
                  </a:cubicBezTo>
                  <a:cubicBezTo>
                    <a:pt x="1705" y="2"/>
                    <a:pt x="1705" y="2"/>
                    <a:pt x="1705" y="2"/>
                  </a:cubicBezTo>
                  <a:cubicBezTo>
                    <a:pt x="1687" y="2"/>
                    <a:pt x="1687" y="2"/>
                    <a:pt x="1687" y="2"/>
                  </a:cubicBezTo>
                  <a:cubicBezTo>
                    <a:pt x="1687" y="57"/>
                    <a:pt x="1687" y="57"/>
                    <a:pt x="1687" y="57"/>
                  </a:cubicBezTo>
                  <a:cubicBezTo>
                    <a:pt x="1698" y="57"/>
                    <a:pt x="1698" y="57"/>
                    <a:pt x="1698" y="57"/>
                  </a:cubicBezTo>
                  <a:cubicBezTo>
                    <a:pt x="1698" y="11"/>
                    <a:pt x="1698" y="11"/>
                    <a:pt x="1698" y="11"/>
                  </a:cubicBezTo>
                  <a:cubicBezTo>
                    <a:pt x="1699" y="11"/>
                    <a:pt x="1699" y="11"/>
                    <a:pt x="1699" y="11"/>
                  </a:cubicBezTo>
                  <a:cubicBezTo>
                    <a:pt x="1720" y="57"/>
                    <a:pt x="1720" y="57"/>
                    <a:pt x="1720" y="57"/>
                  </a:cubicBezTo>
                  <a:cubicBezTo>
                    <a:pt x="1737" y="57"/>
                    <a:pt x="1737" y="57"/>
                    <a:pt x="1737" y="57"/>
                  </a:cubicBezTo>
                  <a:close/>
                  <a:moveTo>
                    <a:pt x="1784" y="58"/>
                  </a:moveTo>
                  <a:cubicBezTo>
                    <a:pt x="1801" y="57"/>
                    <a:pt x="1810" y="48"/>
                    <a:pt x="1810" y="30"/>
                  </a:cubicBezTo>
                  <a:cubicBezTo>
                    <a:pt x="1810" y="11"/>
                    <a:pt x="1801" y="1"/>
                    <a:pt x="1784" y="0"/>
                  </a:cubicBezTo>
                  <a:cubicBezTo>
                    <a:pt x="1767" y="1"/>
                    <a:pt x="1759" y="11"/>
                    <a:pt x="1758" y="30"/>
                  </a:cubicBezTo>
                  <a:cubicBezTo>
                    <a:pt x="1759" y="48"/>
                    <a:pt x="1767" y="57"/>
                    <a:pt x="1784" y="58"/>
                  </a:cubicBezTo>
                  <a:close/>
                  <a:moveTo>
                    <a:pt x="1784" y="9"/>
                  </a:moveTo>
                  <a:cubicBezTo>
                    <a:pt x="1793" y="9"/>
                    <a:pt x="1798" y="16"/>
                    <a:pt x="1798" y="30"/>
                  </a:cubicBezTo>
                  <a:cubicBezTo>
                    <a:pt x="1798" y="43"/>
                    <a:pt x="1793" y="50"/>
                    <a:pt x="1784" y="50"/>
                  </a:cubicBezTo>
                  <a:cubicBezTo>
                    <a:pt x="1775" y="50"/>
                    <a:pt x="1771" y="43"/>
                    <a:pt x="1771" y="30"/>
                  </a:cubicBezTo>
                  <a:cubicBezTo>
                    <a:pt x="1771" y="16"/>
                    <a:pt x="1775" y="9"/>
                    <a:pt x="1784" y="9"/>
                  </a:cubicBezTo>
                  <a:close/>
                  <a:moveTo>
                    <a:pt x="1868" y="57"/>
                  </a:moveTo>
                  <a:cubicBezTo>
                    <a:pt x="1868" y="48"/>
                    <a:pt x="1868" y="48"/>
                    <a:pt x="1868" y="48"/>
                  </a:cubicBezTo>
                  <a:cubicBezTo>
                    <a:pt x="1844" y="48"/>
                    <a:pt x="1844" y="48"/>
                    <a:pt x="1844" y="48"/>
                  </a:cubicBezTo>
                  <a:cubicBezTo>
                    <a:pt x="1844" y="2"/>
                    <a:pt x="1844" y="2"/>
                    <a:pt x="1844" y="2"/>
                  </a:cubicBezTo>
                  <a:cubicBezTo>
                    <a:pt x="1833" y="2"/>
                    <a:pt x="1833" y="2"/>
                    <a:pt x="1833" y="2"/>
                  </a:cubicBezTo>
                  <a:cubicBezTo>
                    <a:pt x="1833" y="57"/>
                    <a:pt x="1833" y="57"/>
                    <a:pt x="1833" y="57"/>
                  </a:cubicBezTo>
                  <a:cubicBezTo>
                    <a:pt x="1868" y="57"/>
                    <a:pt x="1868" y="57"/>
                    <a:pt x="1868" y="57"/>
                  </a:cubicBezTo>
                  <a:close/>
                  <a:moveTo>
                    <a:pt x="1913" y="58"/>
                  </a:moveTo>
                  <a:cubicBezTo>
                    <a:pt x="1929" y="57"/>
                    <a:pt x="1938" y="48"/>
                    <a:pt x="1939" y="30"/>
                  </a:cubicBezTo>
                  <a:cubicBezTo>
                    <a:pt x="1938" y="11"/>
                    <a:pt x="1929" y="1"/>
                    <a:pt x="1913" y="0"/>
                  </a:cubicBezTo>
                  <a:cubicBezTo>
                    <a:pt x="1896" y="1"/>
                    <a:pt x="1887" y="11"/>
                    <a:pt x="1886" y="30"/>
                  </a:cubicBezTo>
                  <a:cubicBezTo>
                    <a:pt x="1887" y="48"/>
                    <a:pt x="1896" y="57"/>
                    <a:pt x="1913" y="58"/>
                  </a:cubicBezTo>
                  <a:close/>
                  <a:moveTo>
                    <a:pt x="1913" y="9"/>
                  </a:moveTo>
                  <a:cubicBezTo>
                    <a:pt x="1922" y="9"/>
                    <a:pt x="1926" y="16"/>
                    <a:pt x="1926" y="30"/>
                  </a:cubicBezTo>
                  <a:cubicBezTo>
                    <a:pt x="1926" y="43"/>
                    <a:pt x="1922" y="50"/>
                    <a:pt x="1913" y="50"/>
                  </a:cubicBezTo>
                  <a:cubicBezTo>
                    <a:pt x="1903" y="50"/>
                    <a:pt x="1899" y="43"/>
                    <a:pt x="1899" y="30"/>
                  </a:cubicBezTo>
                  <a:cubicBezTo>
                    <a:pt x="1899" y="16"/>
                    <a:pt x="1903" y="9"/>
                    <a:pt x="1913" y="9"/>
                  </a:cubicBezTo>
                  <a:close/>
                  <a:moveTo>
                    <a:pt x="1997" y="37"/>
                  </a:moveTo>
                  <a:cubicBezTo>
                    <a:pt x="1997" y="48"/>
                    <a:pt x="1997" y="48"/>
                    <a:pt x="1997" y="48"/>
                  </a:cubicBezTo>
                  <a:cubicBezTo>
                    <a:pt x="1997" y="49"/>
                    <a:pt x="1997" y="49"/>
                    <a:pt x="1997" y="48"/>
                  </a:cubicBezTo>
                  <a:cubicBezTo>
                    <a:pt x="1993" y="49"/>
                    <a:pt x="1989" y="50"/>
                    <a:pt x="1986" y="50"/>
                  </a:cubicBezTo>
                  <a:cubicBezTo>
                    <a:pt x="1976" y="49"/>
                    <a:pt x="1971" y="43"/>
                    <a:pt x="1971" y="30"/>
                  </a:cubicBezTo>
                  <a:cubicBezTo>
                    <a:pt x="1971" y="16"/>
                    <a:pt x="1976" y="9"/>
                    <a:pt x="1986" y="9"/>
                  </a:cubicBezTo>
                  <a:cubicBezTo>
                    <a:pt x="1994" y="9"/>
                    <a:pt x="1997" y="12"/>
                    <a:pt x="1997" y="18"/>
                  </a:cubicBezTo>
                  <a:cubicBezTo>
                    <a:pt x="2010" y="18"/>
                    <a:pt x="2010" y="18"/>
                    <a:pt x="2010" y="18"/>
                  </a:cubicBezTo>
                  <a:cubicBezTo>
                    <a:pt x="2010" y="6"/>
                    <a:pt x="2001" y="0"/>
                    <a:pt x="1984" y="0"/>
                  </a:cubicBezTo>
                  <a:cubicBezTo>
                    <a:pt x="1968" y="2"/>
                    <a:pt x="1959" y="11"/>
                    <a:pt x="1959" y="30"/>
                  </a:cubicBezTo>
                  <a:cubicBezTo>
                    <a:pt x="1959" y="47"/>
                    <a:pt x="1968" y="57"/>
                    <a:pt x="1984" y="58"/>
                  </a:cubicBezTo>
                  <a:cubicBezTo>
                    <a:pt x="1989" y="58"/>
                    <a:pt x="1994" y="58"/>
                    <a:pt x="1997" y="57"/>
                  </a:cubicBezTo>
                  <a:cubicBezTo>
                    <a:pt x="2001" y="57"/>
                    <a:pt x="2005" y="57"/>
                    <a:pt x="2009" y="55"/>
                  </a:cubicBezTo>
                  <a:cubicBezTo>
                    <a:pt x="2009" y="27"/>
                    <a:pt x="2009" y="27"/>
                    <a:pt x="2009" y="27"/>
                  </a:cubicBezTo>
                  <a:cubicBezTo>
                    <a:pt x="1987" y="27"/>
                    <a:pt x="1987" y="27"/>
                    <a:pt x="1987" y="27"/>
                  </a:cubicBezTo>
                  <a:cubicBezTo>
                    <a:pt x="1987" y="37"/>
                    <a:pt x="1987" y="37"/>
                    <a:pt x="1987" y="37"/>
                  </a:cubicBezTo>
                  <a:cubicBezTo>
                    <a:pt x="1997" y="37"/>
                    <a:pt x="1997" y="37"/>
                    <a:pt x="1997" y="37"/>
                  </a:cubicBezTo>
                  <a:close/>
                  <a:moveTo>
                    <a:pt x="2048" y="57"/>
                  </a:moveTo>
                  <a:cubicBezTo>
                    <a:pt x="2059" y="57"/>
                    <a:pt x="2059" y="57"/>
                    <a:pt x="2059" y="57"/>
                  </a:cubicBezTo>
                  <a:cubicBezTo>
                    <a:pt x="2059" y="39"/>
                    <a:pt x="2059" y="39"/>
                    <a:pt x="2059" y="39"/>
                  </a:cubicBezTo>
                  <a:cubicBezTo>
                    <a:pt x="2078" y="2"/>
                    <a:pt x="2078" y="2"/>
                    <a:pt x="2078" y="2"/>
                  </a:cubicBezTo>
                  <a:cubicBezTo>
                    <a:pt x="2066" y="2"/>
                    <a:pt x="2066" y="2"/>
                    <a:pt x="2066" y="2"/>
                  </a:cubicBezTo>
                  <a:cubicBezTo>
                    <a:pt x="2054" y="27"/>
                    <a:pt x="2054" y="27"/>
                    <a:pt x="2054" y="27"/>
                  </a:cubicBezTo>
                  <a:cubicBezTo>
                    <a:pt x="2043" y="2"/>
                    <a:pt x="2043" y="2"/>
                    <a:pt x="2043" y="2"/>
                  </a:cubicBezTo>
                  <a:cubicBezTo>
                    <a:pt x="2029" y="2"/>
                    <a:pt x="2029" y="2"/>
                    <a:pt x="2029" y="2"/>
                  </a:cubicBezTo>
                  <a:cubicBezTo>
                    <a:pt x="2048" y="39"/>
                    <a:pt x="2048" y="39"/>
                    <a:pt x="2048" y="39"/>
                  </a:cubicBezTo>
                  <a:lnTo>
                    <a:pt x="204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ṩḻïḓé">
              <a:extLst>
                <a:ext uri="{FF2B5EF4-FFF2-40B4-BE49-F238E27FC236}">
                  <a16:creationId xmlns:a16="http://schemas.microsoft.com/office/drawing/2014/main" id="{42C6042F-F693-4F51-82A1-64E76ED6BEF7}"/>
                </a:ext>
              </a:extLst>
            </p:cNvPr>
            <p:cNvSpPr/>
            <p:nvPr userDrawn="1"/>
          </p:nvSpPr>
          <p:spPr bwMode="auto">
            <a:xfrm>
              <a:off x="2647449" y="2492374"/>
              <a:ext cx="1838789" cy="1871663"/>
            </a:xfrm>
            <a:custGeom>
              <a:avLst/>
              <a:gdLst>
                <a:gd name="T0" fmla="*/ 606 w 808"/>
                <a:gd name="T1" fmla="*/ 701 h 821"/>
                <a:gd name="T2" fmla="*/ 597 w 808"/>
                <a:gd name="T3" fmla="*/ 703 h 821"/>
                <a:gd name="T4" fmla="*/ 597 w 808"/>
                <a:gd name="T5" fmla="*/ 684 h 821"/>
                <a:gd name="T6" fmla="*/ 620 w 808"/>
                <a:gd name="T7" fmla="*/ 651 h 821"/>
                <a:gd name="T8" fmla="*/ 606 w 808"/>
                <a:gd name="T9" fmla="*/ 661 h 821"/>
                <a:gd name="T10" fmla="*/ 584 w 808"/>
                <a:gd name="T11" fmla="*/ 659 h 821"/>
                <a:gd name="T12" fmla="*/ 591 w 808"/>
                <a:gd name="T13" fmla="*/ 642 h 821"/>
                <a:gd name="T14" fmla="*/ 597 w 808"/>
                <a:gd name="T15" fmla="*/ 649 h 821"/>
                <a:gd name="T16" fmla="*/ 620 w 808"/>
                <a:gd name="T17" fmla="*/ 619 h 821"/>
                <a:gd name="T18" fmla="*/ 636 w 808"/>
                <a:gd name="T19" fmla="*/ 634 h 821"/>
                <a:gd name="T20" fmla="*/ 623 w 808"/>
                <a:gd name="T21" fmla="*/ 679 h 821"/>
                <a:gd name="T22" fmla="*/ 620 w 808"/>
                <a:gd name="T23" fmla="*/ 692 h 821"/>
                <a:gd name="T24" fmla="*/ 177 w 808"/>
                <a:gd name="T25" fmla="*/ 710 h 821"/>
                <a:gd name="T26" fmla="*/ 216 w 808"/>
                <a:gd name="T27" fmla="*/ 643 h 821"/>
                <a:gd name="T28" fmla="*/ 233 w 808"/>
                <a:gd name="T29" fmla="*/ 632 h 821"/>
                <a:gd name="T30" fmla="*/ 209 w 808"/>
                <a:gd name="T31" fmla="*/ 667 h 821"/>
                <a:gd name="T32" fmla="*/ 245 w 808"/>
                <a:gd name="T33" fmla="*/ 647 h 821"/>
                <a:gd name="T34" fmla="*/ 246 w 808"/>
                <a:gd name="T35" fmla="*/ 676 h 821"/>
                <a:gd name="T36" fmla="*/ 228 w 808"/>
                <a:gd name="T37" fmla="*/ 694 h 821"/>
                <a:gd name="T38" fmla="*/ 203 w 808"/>
                <a:gd name="T39" fmla="*/ 719 h 821"/>
                <a:gd name="T40" fmla="*/ 207 w 808"/>
                <a:gd name="T41" fmla="*/ 683 h 821"/>
                <a:gd name="T42" fmla="*/ 446 w 808"/>
                <a:gd name="T43" fmla="*/ 698 h 821"/>
                <a:gd name="T44" fmla="*/ 444 w 808"/>
                <a:gd name="T45" fmla="*/ 686 h 821"/>
                <a:gd name="T46" fmla="*/ 445 w 808"/>
                <a:gd name="T47" fmla="*/ 674 h 821"/>
                <a:gd name="T48" fmla="*/ 434 w 808"/>
                <a:gd name="T49" fmla="*/ 668 h 821"/>
                <a:gd name="T50" fmla="*/ 438 w 808"/>
                <a:gd name="T51" fmla="*/ 651 h 821"/>
                <a:gd name="T52" fmla="*/ 456 w 808"/>
                <a:gd name="T53" fmla="*/ 644 h 821"/>
                <a:gd name="T54" fmla="*/ 465 w 808"/>
                <a:gd name="T55" fmla="*/ 643 h 821"/>
                <a:gd name="T56" fmla="*/ 457 w 808"/>
                <a:gd name="T57" fmla="*/ 675 h 821"/>
                <a:gd name="T58" fmla="*/ 455 w 808"/>
                <a:gd name="T59" fmla="*/ 690 h 821"/>
                <a:gd name="T60" fmla="*/ 265 w 808"/>
                <a:gd name="T61" fmla="*/ 713 h 821"/>
                <a:gd name="T62" fmla="*/ 562 w 808"/>
                <a:gd name="T63" fmla="*/ 715 h 821"/>
                <a:gd name="T64" fmla="*/ 292 w 808"/>
                <a:gd name="T65" fmla="*/ 705 h 821"/>
                <a:gd name="T66" fmla="*/ 300 w 808"/>
                <a:gd name="T67" fmla="*/ 666 h 821"/>
                <a:gd name="T68" fmla="*/ 285 w 808"/>
                <a:gd name="T69" fmla="*/ 672 h 821"/>
                <a:gd name="T70" fmla="*/ 302 w 808"/>
                <a:gd name="T71" fmla="*/ 650 h 821"/>
                <a:gd name="T72" fmla="*/ 307 w 808"/>
                <a:gd name="T73" fmla="*/ 637 h 821"/>
                <a:gd name="T74" fmla="*/ 319 w 808"/>
                <a:gd name="T75" fmla="*/ 648 h 821"/>
                <a:gd name="T76" fmla="*/ 305 w 808"/>
                <a:gd name="T77" fmla="*/ 696 h 821"/>
                <a:gd name="T78" fmla="*/ 511 w 808"/>
                <a:gd name="T79" fmla="*/ 689 h 821"/>
                <a:gd name="T80" fmla="*/ 538 w 808"/>
                <a:gd name="T81" fmla="*/ 638 h 821"/>
                <a:gd name="T82" fmla="*/ 529 w 808"/>
                <a:gd name="T83" fmla="*/ 700 h 821"/>
                <a:gd name="T84" fmla="*/ 241 w 808"/>
                <a:gd name="T85" fmla="*/ 701 h 821"/>
                <a:gd name="T86" fmla="*/ 469 w 808"/>
                <a:gd name="T87" fmla="*/ 701 h 821"/>
                <a:gd name="T88" fmla="*/ 447 w 808"/>
                <a:gd name="T89" fmla="*/ 705 h 821"/>
                <a:gd name="T90" fmla="*/ 349 w 808"/>
                <a:gd name="T91" fmla="*/ 697 h 821"/>
                <a:gd name="T92" fmla="*/ 371 w 808"/>
                <a:gd name="T93" fmla="*/ 665 h 821"/>
                <a:gd name="T94" fmla="*/ 400 w 808"/>
                <a:gd name="T95" fmla="*/ 667 h 821"/>
                <a:gd name="T96" fmla="*/ 375 w 808"/>
                <a:gd name="T97" fmla="*/ 697 h 821"/>
                <a:gd name="T98" fmla="*/ 220 w 808"/>
                <a:gd name="T99" fmla="*/ 683 h 821"/>
                <a:gd name="T100" fmla="*/ 223 w 808"/>
                <a:gd name="T101" fmla="*/ 690 h 821"/>
                <a:gd name="T102" fmla="*/ 318 w 808"/>
                <a:gd name="T103" fmla="*/ 697 h 821"/>
                <a:gd name="T104" fmla="*/ 206 w 808"/>
                <a:gd name="T105" fmla="*/ 674 h 821"/>
                <a:gd name="T106" fmla="*/ 311 w 808"/>
                <a:gd name="T107" fmla="*/ 660 h 821"/>
                <a:gd name="T108" fmla="*/ 614 w 808"/>
                <a:gd name="T109" fmla="*/ 661 h 821"/>
                <a:gd name="T110" fmla="*/ 607 w 808"/>
                <a:gd name="T111" fmla="*/ 650 h 821"/>
                <a:gd name="T112" fmla="*/ 217 w 808"/>
                <a:gd name="T113" fmla="*/ 627 h 821"/>
                <a:gd name="T114" fmla="*/ 161 w 808"/>
                <a:gd name="T115" fmla="*/ 585 h 821"/>
                <a:gd name="T116" fmla="*/ 114 w 808"/>
                <a:gd name="T117" fmla="*/ 372 h 821"/>
                <a:gd name="T118" fmla="*/ 243 w 808"/>
                <a:gd name="T119" fmla="*/ 205 h 821"/>
                <a:gd name="T120" fmla="*/ 433 w 808"/>
                <a:gd name="T121" fmla="*/ 152 h 821"/>
                <a:gd name="T122" fmla="*/ 653 w 808"/>
                <a:gd name="T123" fmla="*/ 325 h 821"/>
                <a:gd name="T124" fmla="*/ 664 w 808"/>
                <a:gd name="T125" fmla="*/ 50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8" h="821">
                  <a:moveTo>
                    <a:pt x="404" y="821"/>
                  </a:moveTo>
                  <a:cubicBezTo>
                    <a:pt x="626" y="821"/>
                    <a:pt x="808" y="637"/>
                    <a:pt x="808" y="411"/>
                  </a:cubicBezTo>
                  <a:cubicBezTo>
                    <a:pt x="808" y="185"/>
                    <a:pt x="626" y="0"/>
                    <a:pt x="404" y="0"/>
                  </a:cubicBezTo>
                  <a:cubicBezTo>
                    <a:pt x="181" y="0"/>
                    <a:pt x="0" y="185"/>
                    <a:pt x="0" y="411"/>
                  </a:cubicBezTo>
                  <a:cubicBezTo>
                    <a:pt x="0" y="637"/>
                    <a:pt x="181" y="821"/>
                    <a:pt x="404" y="821"/>
                  </a:cubicBezTo>
                  <a:close/>
                  <a:moveTo>
                    <a:pt x="404" y="3"/>
                  </a:moveTo>
                  <a:cubicBezTo>
                    <a:pt x="474" y="48"/>
                    <a:pt x="616" y="90"/>
                    <a:pt x="583" y="158"/>
                  </a:cubicBezTo>
                  <a:cubicBezTo>
                    <a:pt x="638" y="106"/>
                    <a:pt x="721" y="230"/>
                    <a:pt x="785" y="285"/>
                  </a:cubicBezTo>
                  <a:cubicBezTo>
                    <a:pt x="765" y="362"/>
                    <a:pt x="769" y="520"/>
                    <a:pt x="693" y="507"/>
                  </a:cubicBezTo>
                  <a:cubicBezTo>
                    <a:pt x="761" y="544"/>
                    <a:pt x="669" y="666"/>
                    <a:pt x="644" y="734"/>
                  </a:cubicBezTo>
                  <a:cubicBezTo>
                    <a:pt x="567" y="740"/>
                    <a:pt x="412" y="799"/>
                    <a:pt x="405" y="723"/>
                  </a:cubicBezTo>
                  <a:cubicBezTo>
                    <a:pt x="392" y="797"/>
                    <a:pt x="241" y="737"/>
                    <a:pt x="161" y="732"/>
                  </a:cubicBezTo>
                  <a:cubicBezTo>
                    <a:pt x="134" y="658"/>
                    <a:pt x="46" y="545"/>
                    <a:pt x="113" y="509"/>
                  </a:cubicBezTo>
                  <a:cubicBezTo>
                    <a:pt x="35" y="520"/>
                    <a:pt x="47" y="364"/>
                    <a:pt x="23" y="284"/>
                  </a:cubicBezTo>
                  <a:cubicBezTo>
                    <a:pt x="90" y="245"/>
                    <a:pt x="172" y="105"/>
                    <a:pt x="229" y="159"/>
                  </a:cubicBezTo>
                  <a:cubicBezTo>
                    <a:pt x="197" y="85"/>
                    <a:pt x="340" y="46"/>
                    <a:pt x="404" y="3"/>
                  </a:cubicBezTo>
                  <a:close/>
                  <a:moveTo>
                    <a:pt x="609" y="729"/>
                  </a:move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1" y="628"/>
                    <a:pt x="621" y="628"/>
                    <a:pt x="621" y="628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09" y="729"/>
                    <a:pt x="609" y="729"/>
                    <a:pt x="609" y="729"/>
                  </a:cubicBezTo>
                  <a:close/>
                  <a:moveTo>
                    <a:pt x="176" y="724"/>
                  </a:move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3"/>
                    <a:pt x="194" y="683"/>
                    <a:pt x="195" y="683"/>
                  </a:cubicBezTo>
                  <a:cubicBezTo>
                    <a:pt x="195" y="683"/>
                    <a:pt x="195" y="683"/>
                    <a:pt x="195" y="683"/>
                  </a:cubicBezTo>
                  <a:cubicBezTo>
                    <a:pt x="195" y="683"/>
                    <a:pt x="195" y="682"/>
                    <a:pt x="196" y="682"/>
                  </a:cubicBezTo>
                  <a:cubicBezTo>
                    <a:pt x="196" y="682"/>
                    <a:pt x="196" y="682"/>
                    <a:pt x="196" y="682"/>
                  </a:cubicBezTo>
                  <a:cubicBezTo>
                    <a:pt x="196" y="682"/>
                    <a:pt x="196" y="682"/>
                    <a:pt x="196" y="681"/>
                  </a:cubicBezTo>
                  <a:cubicBezTo>
                    <a:pt x="196" y="681"/>
                    <a:pt x="196" y="681"/>
                    <a:pt x="196" y="681"/>
                  </a:cubicBezTo>
                  <a:cubicBezTo>
                    <a:pt x="196" y="681"/>
                    <a:pt x="196" y="681"/>
                    <a:pt x="197" y="681"/>
                  </a:cubicBezTo>
                  <a:cubicBezTo>
                    <a:pt x="197" y="681"/>
                    <a:pt x="197" y="681"/>
                    <a:pt x="197" y="681"/>
                  </a:cubicBezTo>
                  <a:cubicBezTo>
                    <a:pt x="198" y="679"/>
                    <a:pt x="199" y="677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15" y="706"/>
                    <a:pt x="215" y="706"/>
                    <a:pt x="215" y="706"/>
                  </a:cubicBezTo>
                  <a:cubicBezTo>
                    <a:pt x="214" y="707"/>
                    <a:pt x="214" y="707"/>
                    <a:pt x="214" y="707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8"/>
                    <a:pt x="214" y="698"/>
                  </a:cubicBezTo>
                  <a:cubicBezTo>
                    <a:pt x="214" y="698"/>
                    <a:pt x="214" y="698"/>
                    <a:pt x="214" y="698"/>
                  </a:cubicBezTo>
                  <a:cubicBezTo>
                    <a:pt x="213" y="698"/>
                    <a:pt x="213" y="698"/>
                    <a:pt x="213" y="697"/>
                  </a:cubicBezTo>
                  <a:cubicBezTo>
                    <a:pt x="213" y="697"/>
                    <a:pt x="213" y="697"/>
                    <a:pt x="213" y="697"/>
                  </a:cubicBezTo>
                  <a:cubicBezTo>
                    <a:pt x="213" y="696"/>
                    <a:pt x="213" y="696"/>
                    <a:pt x="213" y="695"/>
                  </a:cubicBezTo>
                  <a:cubicBezTo>
                    <a:pt x="213" y="695"/>
                    <a:pt x="213" y="695"/>
                    <a:pt x="213" y="695"/>
                  </a:cubicBezTo>
                  <a:cubicBezTo>
                    <a:pt x="213" y="693"/>
                    <a:pt x="213" y="691"/>
                    <a:pt x="213" y="689"/>
                  </a:cubicBezTo>
                  <a:cubicBezTo>
                    <a:pt x="213" y="689"/>
                    <a:pt x="213" y="689"/>
                    <a:pt x="213" y="689"/>
                  </a:cubicBezTo>
                  <a:cubicBezTo>
                    <a:pt x="213" y="688"/>
                    <a:pt x="213" y="688"/>
                    <a:pt x="214" y="687"/>
                  </a:cubicBezTo>
                  <a:cubicBezTo>
                    <a:pt x="214" y="687"/>
                    <a:pt x="214" y="687"/>
                    <a:pt x="214" y="687"/>
                  </a:cubicBezTo>
                  <a:cubicBezTo>
                    <a:pt x="214" y="686"/>
                    <a:pt x="214" y="685"/>
                    <a:pt x="215" y="684"/>
                  </a:cubicBezTo>
                  <a:cubicBezTo>
                    <a:pt x="215" y="684"/>
                    <a:pt x="215" y="684"/>
                    <a:pt x="215" y="684"/>
                  </a:cubicBezTo>
                  <a:cubicBezTo>
                    <a:pt x="215" y="684"/>
                    <a:pt x="216" y="683"/>
                    <a:pt x="216" y="682"/>
                  </a:cubicBezTo>
                  <a:cubicBezTo>
                    <a:pt x="216" y="682"/>
                    <a:pt x="216" y="682"/>
                    <a:pt x="216" y="682"/>
                  </a:cubicBezTo>
                  <a:cubicBezTo>
                    <a:pt x="217" y="681"/>
                    <a:pt x="217" y="680"/>
                    <a:pt x="218" y="679"/>
                  </a:cubicBezTo>
                  <a:cubicBezTo>
                    <a:pt x="218" y="679"/>
                    <a:pt x="218" y="679"/>
                    <a:pt x="218" y="679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6" y="679"/>
                    <a:pt x="213" y="681"/>
                    <a:pt x="210" y="683"/>
                  </a:cubicBezTo>
                  <a:cubicBezTo>
                    <a:pt x="210" y="683"/>
                    <a:pt x="210" y="683"/>
                    <a:pt x="210" y="683"/>
                  </a:cubicBezTo>
                  <a:cubicBezTo>
                    <a:pt x="209" y="684"/>
                    <a:pt x="208" y="684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79"/>
                  </a:cubicBezTo>
                  <a:cubicBezTo>
                    <a:pt x="202" y="679"/>
                    <a:pt x="202" y="679"/>
                    <a:pt x="202" y="679"/>
                  </a:cubicBezTo>
                  <a:cubicBezTo>
                    <a:pt x="202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0" y="680"/>
                    <a:pt x="200" y="680"/>
                  </a:cubicBezTo>
                  <a:cubicBezTo>
                    <a:pt x="200" y="680"/>
                    <a:pt x="200" y="680"/>
                    <a:pt x="200" y="680"/>
                  </a:cubicBezTo>
                  <a:cubicBezTo>
                    <a:pt x="200" y="680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76" y="724"/>
                    <a:pt x="176" y="724"/>
                    <a:pt x="176" y="724"/>
                  </a:cubicBezTo>
                  <a:close/>
                  <a:moveTo>
                    <a:pt x="425" y="723"/>
                  </a:move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4" y="668"/>
                    <a:pt x="454" y="668"/>
                  </a:cubicBezTo>
                  <a:cubicBezTo>
                    <a:pt x="454" y="668"/>
                    <a:pt x="454" y="668"/>
                    <a:pt x="454" y="668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0"/>
                    <a:pt x="445" y="640"/>
                    <a:pt x="445" y="640"/>
                  </a:cubicBezTo>
                  <a:cubicBezTo>
                    <a:pt x="445" y="639"/>
                    <a:pt x="445" y="639"/>
                    <a:pt x="445" y="639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0" y="670"/>
                    <a:pt x="458" y="671"/>
                    <a:pt x="458" y="671"/>
                  </a:cubicBezTo>
                  <a:cubicBezTo>
                    <a:pt x="458" y="671"/>
                    <a:pt x="458" y="671"/>
                    <a:pt x="458" y="671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6" y="723"/>
                    <a:pt x="426" y="723"/>
                    <a:pt x="426" y="723"/>
                  </a:cubicBezTo>
                  <a:lnTo>
                    <a:pt x="425" y="723"/>
                  </a:lnTo>
                  <a:close/>
                  <a:moveTo>
                    <a:pt x="270" y="716"/>
                  </a:move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lose/>
                  <a:moveTo>
                    <a:pt x="562" y="715"/>
                  </a:moveTo>
                  <a:cubicBezTo>
                    <a:pt x="562" y="715"/>
                    <a:pt x="562" y="715"/>
                    <a:pt x="562" y="715"/>
                  </a:cubicBezTo>
                  <a:cubicBezTo>
                    <a:pt x="562" y="715"/>
                    <a:pt x="562" y="715"/>
                    <a:pt x="562" y="715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2" y="715"/>
                    <a:pt x="562" y="715"/>
                    <a:pt x="562" y="715"/>
                  </a:cubicBezTo>
                  <a:close/>
                  <a:moveTo>
                    <a:pt x="304" y="713"/>
                  </a:moveTo>
                  <a:cubicBezTo>
                    <a:pt x="302" y="712"/>
                    <a:pt x="302" y="712"/>
                    <a:pt x="302" y="712"/>
                  </a:cubicBezTo>
                  <a:cubicBezTo>
                    <a:pt x="302" y="712"/>
                    <a:pt x="302" y="712"/>
                    <a:pt x="302" y="712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1"/>
                    <a:pt x="302" y="621"/>
                    <a:pt x="302" y="621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lose/>
                  <a:moveTo>
                    <a:pt x="506" y="712"/>
                  </a:moveTo>
                  <a:cubicBezTo>
                    <a:pt x="506" y="710"/>
                    <a:pt x="506" y="710"/>
                    <a:pt x="506" y="710"/>
                  </a:cubicBezTo>
                  <a:cubicBezTo>
                    <a:pt x="506" y="710"/>
                    <a:pt x="506" y="710"/>
                    <a:pt x="506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0"/>
                    <a:pt x="536" y="650"/>
                    <a:pt x="535" y="647"/>
                  </a:cubicBezTo>
                  <a:cubicBezTo>
                    <a:pt x="535" y="647"/>
                    <a:pt x="535" y="647"/>
                    <a:pt x="535" y="647"/>
                  </a:cubicBezTo>
                  <a:cubicBezTo>
                    <a:pt x="535" y="645"/>
                    <a:pt x="534" y="644"/>
                    <a:pt x="534" y="643"/>
                  </a:cubicBezTo>
                  <a:cubicBezTo>
                    <a:pt x="534" y="643"/>
                    <a:pt x="534" y="643"/>
                    <a:pt x="534" y="643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2" y="642"/>
                    <a:pt x="542" y="642"/>
                    <a:pt x="543" y="643"/>
                  </a:cubicBezTo>
                  <a:cubicBezTo>
                    <a:pt x="543" y="643"/>
                    <a:pt x="543" y="643"/>
                    <a:pt x="543" y="643"/>
                  </a:cubicBezTo>
                  <a:cubicBezTo>
                    <a:pt x="544" y="645"/>
                    <a:pt x="544" y="645"/>
                    <a:pt x="544" y="647"/>
                  </a:cubicBezTo>
                  <a:cubicBezTo>
                    <a:pt x="544" y="647"/>
                    <a:pt x="544" y="647"/>
                    <a:pt x="544" y="647"/>
                  </a:cubicBezTo>
                  <a:cubicBezTo>
                    <a:pt x="544" y="648"/>
                    <a:pt x="544" y="648"/>
                    <a:pt x="544" y="649"/>
                  </a:cubicBezTo>
                  <a:cubicBezTo>
                    <a:pt x="544" y="649"/>
                    <a:pt x="544" y="649"/>
                    <a:pt x="544" y="649"/>
                  </a:cubicBezTo>
                  <a:cubicBezTo>
                    <a:pt x="539" y="675"/>
                    <a:pt x="539" y="675"/>
                    <a:pt x="539" y="675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07" y="712"/>
                    <a:pt x="507" y="712"/>
                    <a:pt x="507" y="712"/>
                  </a:cubicBezTo>
                  <a:lnTo>
                    <a:pt x="506" y="712"/>
                  </a:lnTo>
                  <a:close/>
                  <a:moveTo>
                    <a:pt x="242" y="710"/>
                  </a:move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2" y="710"/>
                    <a:pt x="242" y="710"/>
                    <a:pt x="242" y="710"/>
                  </a:cubicBezTo>
                  <a:close/>
                  <a:moveTo>
                    <a:pt x="468" y="708"/>
                  </a:moveTo>
                  <a:cubicBezTo>
                    <a:pt x="467" y="707"/>
                    <a:pt x="467" y="707"/>
                    <a:pt x="467" y="707"/>
                  </a:cubicBezTo>
                  <a:cubicBezTo>
                    <a:pt x="467" y="707"/>
                    <a:pt x="467" y="707"/>
                    <a:pt x="467" y="707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lose/>
                  <a:moveTo>
                    <a:pt x="445" y="707"/>
                  </a:move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lose/>
                  <a:moveTo>
                    <a:pt x="352" y="706"/>
                  </a:move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1" y="699"/>
                    <a:pt x="371" y="699"/>
                    <a:pt x="370" y="699"/>
                  </a:cubicBezTo>
                  <a:cubicBezTo>
                    <a:pt x="370" y="699"/>
                    <a:pt x="370" y="699"/>
                    <a:pt x="370" y="699"/>
                  </a:cubicBezTo>
                  <a:cubicBezTo>
                    <a:pt x="370" y="699"/>
                    <a:pt x="369" y="699"/>
                    <a:pt x="369" y="699"/>
                  </a:cubicBezTo>
                  <a:cubicBezTo>
                    <a:pt x="369" y="699"/>
                    <a:pt x="369" y="700"/>
                    <a:pt x="369" y="700"/>
                  </a:cubicBezTo>
                  <a:cubicBezTo>
                    <a:pt x="369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7" y="701"/>
                    <a:pt x="367" y="701"/>
                    <a:pt x="366" y="701"/>
                  </a:cubicBezTo>
                  <a:cubicBezTo>
                    <a:pt x="366" y="701"/>
                    <a:pt x="366" y="701"/>
                    <a:pt x="366" y="701"/>
                  </a:cubicBezTo>
                  <a:cubicBezTo>
                    <a:pt x="366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2"/>
                  </a:cubicBezTo>
                  <a:cubicBezTo>
                    <a:pt x="364" y="702"/>
                    <a:pt x="364" y="702"/>
                    <a:pt x="364" y="702"/>
                  </a:cubicBezTo>
                  <a:cubicBezTo>
                    <a:pt x="364" y="702"/>
                    <a:pt x="363" y="702"/>
                    <a:pt x="363" y="702"/>
                  </a:cubicBezTo>
                  <a:cubicBezTo>
                    <a:pt x="363" y="702"/>
                    <a:pt x="363" y="702"/>
                    <a:pt x="363" y="702"/>
                  </a:cubicBezTo>
                  <a:cubicBezTo>
                    <a:pt x="363" y="702"/>
                    <a:pt x="362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2" y="706"/>
                    <a:pt x="352" y="706"/>
                    <a:pt x="352" y="706"/>
                  </a:cubicBezTo>
                  <a:close/>
                  <a:moveTo>
                    <a:pt x="218" y="701"/>
                  </a:move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6" y="698"/>
                    <a:pt x="216" y="697"/>
                  </a:cubicBezTo>
                  <a:cubicBezTo>
                    <a:pt x="216" y="697"/>
                    <a:pt x="216" y="697"/>
                    <a:pt x="216" y="697"/>
                  </a:cubicBezTo>
                  <a:cubicBezTo>
                    <a:pt x="216" y="697"/>
                    <a:pt x="216" y="696"/>
                    <a:pt x="215" y="696"/>
                  </a:cubicBezTo>
                  <a:cubicBezTo>
                    <a:pt x="215" y="696"/>
                    <a:pt x="215" y="696"/>
                    <a:pt x="215" y="696"/>
                  </a:cubicBezTo>
                  <a:cubicBezTo>
                    <a:pt x="215" y="695"/>
                    <a:pt x="215" y="695"/>
                    <a:pt x="215" y="694"/>
                  </a:cubicBezTo>
                  <a:cubicBezTo>
                    <a:pt x="215" y="694"/>
                    <a:pt x="215" y="694"/>
                    <a:pt x="215" y="694"/>
                  </a:cubicBezTo>
                  <a:cubicBezTo>
                    <a:pt x="215" y="694"/>
                    <a:pt x="215" y="693"/>
                    <a:pt x="215" y="692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15" y="692"/>
                    <a:pt x="215" y="691"/>
                    <a:pt x="215" y="691"/>
                  </a:cubicBezTo>
                  <a:cubicBezTo>
                    <a:pt x="215" y="691"/>
                    <a:pt x="215" y="691"/>
                    <a:pt x="215" y="691"/>
                  </a:cubicBezTo>
                  <a:cubicBezTo>
                    <a:pt x="216" y="690"/>
                    <a:pt x="216" y="689"/>
                    <a:pt x="216" y="689"/>
                  </a:cubicBezTo>
                  <a:cubicBezTo>
                    <a:pt x="216" y="689"/>
                    <a:pt x="216" y="689"/>
                    <a:pt x="216" y="689"/>
                  </a:cubicBezTo>
                  <a:cubicBezTo>
                    <a:pt x="216" y="688"/>
                    <a:pt x="216" y="688"/>
                    <a:pt x="216" y="687"/>
                  </a:cubicBezTo>
                  <a:cubicBezTo>
                    <a:pt x="216" y="687"/>
                    <a:pt x="216" y="687"/>
                    <a:pt x="216" y="687"/>
                  </a:cubicBezTo>
                  <a:cubicBezTo>
                    <a:pt x="216" y="687"/>
                    <a:pt x="217" y="686"/>
                    <a:pt x="217" y="686"/>
                  </a:cubicBezTo>
                  <a:cubicBezTo>
                    <a:pt x="217" y="686"/>
                    <a:pt x="217" y="686"/>
                    <a:pt x="217" y="686"/>
                  </a:cubicBezTo>
                  <a:cubicBezTo>
                    <a:pt x="217" y="686"/>
                    <a:pt x="217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19" y="685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4" y="688"/>
                  </a:cubicBezTo>
                  <a:cubicBezTo>
                    <a:pt x="224" y="688"/>
                    <a:pt x="224" y="688"/>
                    <a:pt x="224" y="688"/>
                  </a:cubicBezTo>
                  <a:cubicBezTo>
                    <a:pt x="224" y="688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3" y="689"/>
                    <a:pt x="223" y="689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2" y="693"/>
                    <a:pt x="222" y="692"/>
                    <a:pt x="222" y="692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2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3"/>
                  </a:cubicBezTo>
                  <a:cubicBezTo>
                    <a:pt x="224" y="693"/>
                    <a:pt x="224" y="693"/>
                    <a:pt x="224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4"/>
                    <a:pt x="225" y="694"/>
                    <a:pt x="224" y="694"/>
                  </a:cubicBezTo>
                  <a:cubicBezTo>
                    <a:pt x="224" y="694"/>
                    <a:pt x="224" y="694"/>
                    <a:pt x="224" y="694"/>
                  </a:cubicBezTo>
                  <a:cubicBezTo>
                    <a:pt x="224" y="694"/>
                    <a:pt x="224" y="694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8"/>
                    <a:pt x="223" y="698"/>
                  </a:cubicBezTo>
                  <a:cubicBezTo>
                    <a:pt x="223" y="698"/>
                    <a:pt x="223" y="698"/>
                    <a:pt x="223" y="698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8" y="701"/>
                    <a:pt x="218" y="701"/>
                    <a:pt x="218" y="701"/>
                  </a:cubicBezTo>
                  <a:close/>
                  <a:moveTo>
                    <a:pt x="318" y="698"/>
                  </a:moveTo>
                  <a:cubicBezTo>
                    <a:pt x="318" y="698"/>
                    <a:pt x="318" y="698"/>
                    <a:pt x="318" y="698"/>
                  </a:cubicBezTo>
                  <a:cubicBezTo>
                    <a:pt x="318" y="698"/>
                    <a:pt x="318" y="698"/>
                    <a:pt x="318" y="698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8"/>
                    <a:pt x="319" y="698"/>
                    <a:pt x="319" y="698"/>
                  </a:cubicBezTo>
                  <a:lnTo>
                    <a:pt x="318" y="698"/>
                  </a:lnTo>
                  <a:close/>
                  <a:moveTo>
                    <a:pt x="203" y="679"/>
                  </a:moveTo>
                  <a:cubicBezTo>
                    <a:pt x="203" y="679"/>
                    <a:pt x="202" y="679"/>
                    <a:pt x="202" y="678"/>
                  </a:cubicBezTo>
                  <a:cubicBezTo>
                    <a:pt x="202" y="678"/>
                    <a:pt x="202" y="678"/>
                    <a:pt x="202" y="678"/>
                  </a:cubicBezTo>
                  <a:cubicBezTo>
                    <a:pt x="202" y="678"/>
                    <a:pt x="202" y="678"/>
                    <a:pt x="202" y="677"/>
                  </a:cubicBezTo>
                  <a:cubicBezTo>
                    <a:pt x="202" y="677"/>
                    <a:pt x="202" y="677"/>
                    <a:pt x="202" y="677"/>
                  </a:cubicBezTo>
                  <a:cubicBezTo>
                    <a:pt x="202" y="677"/>
                    <a:pt x="203" y="676"/>
                    <a:pt x="203" y="676"/>
                  </a:cubicBezTo>
                  <a:cubicBezTo>
                    <a:pt x="203" y="676"/>
                    <a:pt x="203" y="676"/>
                    <a:pt x="203" y="676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6" y="675"/>
                    <a:pt x="215" y="676"/>
                    <a:pt x="214" y="676"/>
                  </a:cubicBezTo>
                  <a:cubicBezTo>
                    <a:pt x="214" y="676"/>
                    <a:pt x="214" y="676"/>
                    <a:pt x="214" y="676"/>
                  </a:cubicBezTo>
                  <a:cubicBezTo>
                    <a:pt x="203" y="679"/>
                    <a:pt x="203" y="679"/>
                    <a:pt x="203" y="679"/>
                  </a:cubicBezTo>
                  <a:close/>
                  <a:moveTo>
                    <a:pt x="305" y="665"/>
                  </a:moveTo>
                  <a:cubicBezTo>
                    <a:pt x="306" y="655"/>
                    <a:pt x="306" y="655"/>
                    <a:pt x="306" y="655"/>
                  </a:cubicBezTo>
                  <a:cubicBezTo>
                    <a:pt x="306" y="655"/>
                    <a:pt x="306" y="655"/>
                    <a:pt x="306" y="655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5" y="665"/>
                    <a:pt x="305" y="665"/>
                    <a:pt x="305" y="665"/>
                  </a:cubicBezTo>
                  <a:close/>
                  <a:moveTo>
                    <a:pt x="598" y="662"/>
                  </a:move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2"/>
                    <a:pt x="599" y="662"/>
                    <a:pt x="599" y="662"/>
                  </a:cubicBezTo>
                  <a:lnTo>
                    <a:pt x="598" y="662"/>
                  </a:lnTo>
                  <a:close/>
                  <a:moveTo>
                    <a:pt x="615" y="662"/>
                  </a:move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2"/>
                    <a:pt x="616" y="662"/>
                    <a:pt x="616" y="662"/>
                  </a:cubicBezTo>
                  <a:lnTo>
                    <a:pt x="615" y="662"/>
                  </a:lnTo>
                  <a:close/>
                  <a:moveTo>
                    <a:pt x="607" y="656"/>
                  </a:moveTo>
                  <a:cubicBezTo>
                    <a:pt x="606" y="656"/>
                    <a:pt x="606" y="656"/>
                    <a:pt x="606" y="656"/>
                  </a:cubicBezTo>
                  <a:cubicBezTo>
                    <a:pt x="606" y="656"/>
                    <a:pt x="606" y="656"/>
                    <a:pt x="606" y="656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lose/>
                  <a:moveTo>
                    <a:pt x="307" y="647"/>
                  </a:moveTo>
                  <a:cubicBezTo>
                    <a:pt x="307" y="647"/>
                    <a:pt x="307" y="647"/>
                    <a:pt x="307" y="647"/>
                  </a:cubicBezTo>
                  <a:cubicBezTo>
                    <a:pt x="307" y="647"/>
                    <a:pt x="307" y="647"/>
                    <a:pt x="307" y="647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7" y="647"/>
                    <a:pt x="307" y="647"/>
                    <a:pt x="307" y="647"/>
                  </a:cubicBezTo>
                  <a:close/>
                  <a:moveTo>
                    <a:pt x="601" y="645"/>
                  </a:moveTo>
                  <a:cubicBezTo>
                    <a:pt x="601" y="645"/>
                    <a:pt x="601" y="645"/>
                    <a:pt x="601" y="645"/>
                  </a:cubicBezTo>
                  <a:close/>
                  <a:moveTo>
                    <a:pt x="217" y="632"/>
                  </a:moveTo>
                  <a:cubicBezTo>
                    <a:pt x="217" y="632"/>
                    <a:pt x="217" y="632"/>
                    <a:pt x="217" y="632"/>
                  </a:cubicBezTo>
                  <a:cubicBezTo>
                    <a:pt x="217" y="632"/>
                    <a:pt x="217" y="632"/>
                    <a:pt x="217" y="632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7" y="632"/>
                    <a:pt x="217" y="632"/>
                    <a:pt x="217" y="632"/>
                  </a:cubicBezTo>
                  <a:close/>
                  <a:moveTo>
                    <a:pt x="179" y="574"/>
                  </a:moveTo>
                  <a:cubicBezTo>
                    <a:pt x="174" y="578"/>
                    <a:pt x="174" y="578"/>
                    <a:pt x="174" y="578"/>
                  </a:cubicBezTo>
                  <a:cubicBezTo>
                    <a:pt x="164" y="563"/>
                    <a:pt x="164" y="563"/>
                    <a:pt x="164" y="563"/>
                  </a:cubicBezTo>
                  <a:cubicBezTo>
                    <a:pt x="181" y="551"/>
                    <a:pt x="181" y="551"/>
                    <a:pt x="181" y="551"/>
                  </a:cubicBezTo>
                  <a:cubicBezTo>
                    <a:pt x="190" y="565"/>
                    <a:pt x="190" y="565"/>
                    <a:pt x="190" y="565"/>
                  </a:cubicBezTo>
                  <a:cubicBezTo>
                    <a:pt x="192" y="567"/>
                    <a:pt x="193" y="569"/>
                    <a:pt x="193" y="571"/>
                  </a:cubicBezTo>
                  <a:cubicBezTo>
                    <a:pt x="194" y="572"/>
                    <a:pt x="194" y="574"/>
                    <a:pt x="194" y="576"/>
                  </a:cubicBezTo>
                  <a:cubicBezTo>
                    <a:pt x="194" y="578"/>
                    <a:pt x="193" y="580"/>
                    <a:pt x="192" y="582"/>
                  </a:cubicBezTo>
                  <a:cubicBezTo>
                    <a:pt x="190" y="585"/>
                    <a:pt x="188" y="586"/>
                    <a:pt x="185" y="588"/>
                  </a:cubicBezTo>
                  <a:cubicBezTo>
                    <a:pt x="180" y="592"/>
                    <a:pt x="176" y="593"/>
                    <a:pt x="172" y="593"/>
                  </a:cubicBezTo>
                  <a:cubicBezTo>
                    <a:pt x="168" y="592"/>
                    <a:pt x="164" y="589"/>
                    <a:pt x="161" y="585"/>
                  </a:cubicBezTo>
                  <a:cubicBezTo>
                    <a:pt x="152" y="571"/>
                    <a:pt x="152" y="571"/>
                    <a:pt x="152" y="571"/>
                  </a:cubicBezTo>
                  <a:cubicBezTo>
                    <a:pt x="157" y="568"/>
                    <a:pt x="157" y="568"/>
                    <a:pt x="157" y="568"/>
                  </a:cubicBezTo>
                  <a:cubicBezTo>
                    <a:pt x="166" y="581"/>
                    <a:pt x="166" y="581"/>
                    <a:pt x="166" y="581"/>
                  </a:cubicBezTo>
                  <a:cubicBezTo>
                    <a:pt x="168" y="584"/>
                    <a:pt x="170" y="585"/>
                    <a:pt x="172" y="585"/>
                  </a:cubicBezTo>
                  <a:cubicBezTo>
                    <a:pt x="174" y="585"/>
                    <a:pt x="177" y="584"/>
                    <a:pt x="181" y="582"/>
                  </a:cubicBezTo>
                  <a:cubicBezTo>
                    <a:pt x="184" y="579"/>
                    <a:pt x="186" y="577"/>
                    <a:pt x="186" y="575"/>
                  </a:cubicBezTo>
                  <a:cubicBezTo>
                    <a:pt x="187" y="573"/>
                    <a:pt x="187" y="571"/>
                    <a:pt x="185" y="568"/>
                  </a:cubicBezTo>
                  <a:cubicBezTo>
                    <a:pt x="180" y="561"/>
                    <a:pt x="180" y="561"/>
                    <a:pt x="180" y="561"/>
                  </a:cubicBezTo>
                  <a:cubicBezTo>
                    <a:pt x="173" y="566"/>
                    <a:pt x="173" y="566"/>
                    <a:pt x="173" y="566"/>
                  </a:cubicBezTo>
                  <a:cubicBezTo>
                    <a:pt x="179" y="574"/>
                    <a:pt x="179" y="574"/>
                    <a:pt x="179" y="574"/>
                  </a:cubicBezTo>
                  <a:close/>
                  <a:moveTo>
                    <a:pt x="143" y="556"/>
                  </a:moveTo>
                  <a:cubicBezTo>
                    <a:pt x="162" y="546"/>
                    <a:pt x="162" y="546"/>
                    <a:pt x="162" y="546"/>
                  </a:cubicBezTo>
                  <a:cubicBezTo>
                    <a:pt x="165" y="545"/>
                    <a:pt x="166" y="543"/>
                    <a:pt x="167" y="541"/>
                  </a:cubicBezTo>
                  <a:cubicBezTo>
                    <a:pt x="168" y="540"/>
                    <a:pt x="167" y="537"/>
                    <a:pt x="166" y="535"/>
                  </a:cubicBezTo>
                  <a:cubicBezTo>
                    <a:pt x="165" y="532"/>
                    <a:pt x="163" y="531"/>
                    <a:pt x="162" y="530"/>
                  </a:cubicBezTo>
                  <a:cubicBezTo>
                    <a:pt x="160" y="530"/>
                    <a:pt x="158" y="530"/>
                    <a:pt x="155" y="532"/>
                  </a:cubicBezTo>
                  <a:cubicBezTo>
                    <a:pt x="136" y="541"/>
                    <a:pt x="136" y="541"/>
                    <a:pt x="136" y="541"/>
                  </a:cubicBezTo>
                  <a:cubicBezTo>
                    <a:pt x="132" y="535"/>
                    <a:pt x="132" y="535"/>
                    <a:pt x="132" y="535"/>
                  </a:cubicBezTo>
                  <a:cubicBezTo>
                    <a:pt x="151" y="525"/>
                    <a:pt x="151" y="525"/>
                    <a:pt x="151" y="525"/>
                  </a:cubicBezTo>
                  <a:cubicBezTo>
                    <a:pt x="154" y="524"/>
                    <a:pt x="155" y="523"/>
                    <a:pt x="157" y="523"/>
                  </a:cubicBezTo>
                  <a:cubicBezTo>
                    <a:pt x="158" y="522"/>
                    <a:pt x="160" y="522"/>
                    <a:pt x="161" y="522"/>
                  </a:cubicBezTo>
                  <a:cubicBezTo>
                    <a:pt x="163" y="523"/>
                    <a:pt x="165" y="524"/>
                    <a:pt x="166" y="526"/>
                  </a:cubicBezTo>
                  <a:cubicBezTo>
                    <a:pt x="168" y="527"/>
                    <a:pt x="170" y="529"/>
                    <a:pt x="171" y="532"/>
                  </a:cubicBezTo>
                  <a:cubicBezTo>
                    <a:pt x="173" y="535"/>
                    <a:pt x="173" y="538"/>
                    <a:pt x="174" y="540"/>
                  </a:cubicBezTo>
                  <a:cubicBezTo>
                    <a:pt x="174" y="542"/>
                    <a:pt x="174" y="544"/>
                    <a:pt x="173" y="546"/>
                  </a:cubicBezTo>
                  <a:cubicBezTo>
                    <a:pt x="172" y="547"/>
                    <a:pt x="172" y="548"/>
                    <a:pt x="170" y="549"/>
                  </a:cubicBezTo>
                  <a:cubicBezTo>
                    <a:pt x="169" y="550"/>
                    <a:pt x="168" y="551"/>
                    <a:pt x="165" y="553"/>
                  </a:cubicBezTo>
                  <a:cubicBezTo>
                    <a:pt x="146" y="562"/>
                    <a:pt x="146" y="562"/>
                    <a:pt x="146" y="562"/>
                  </a:cubicBezTo>
                  <a:cubicBezTo>
                    <a:pt x="143" y="556"/>
                    <a:pt x="143" y="556"/>
                    <a:pt x="143" y="556"/>
                  </a:cubicBezTo>
                  <a:close/>
                  <a:moveTo>
                    <a:pt x="130" y="509"/>
                  </a:moveTo>
                  <a:cubicBezTo>
                    <a:pt x="141" y="499"/>
                    <a:pt x="141" y="499"/>
                    <a:pt x="141" y="499"/>
                  </a:cubicBezTo>
                  <a:cubicBezTo>
                    <a:pt x="145" y="509"/>
                    <a:pt x="145" y="509"/>
                    <a:pt x="145" y="509"/>
                  </a:cubicBezTo>
                  <a:cubicBezTo>
                    <a:pt x="130" y="509"/>
                    <a:pt x="130" y="509"/>
                    <a:pt x="130" y="509"/>
                  </a:cubicBezTo>
                  <a:close/>
                  <a:moveTo>
                    <a:pt x="125" y="514"/>
                  </a:moveTo>
                  <a:cubicBezTo>
                    <a:pt x="122" y="507"/>
                    <a:pt x="122" y="507"/>
                    <a:pt x="122" y="507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47" y="495"/>
                    <a:pt x="147" y="495"/>
                    <a:pt x="147" y="495"/>
                  </a:cubicBezTo>
                  <a:cubicBezTo>
                    <a:pt x="152" y="509"/>
                    <a:pt x="152" y="509"/>
                    <a:pt x="152" y="509"/>
                  </a:cubicBezTo>
                  <a:cubicBezTo>
                    <a:pt x="160" y="510"/>
                    <a:pt x="160" y="510"/>
                    <a:pt x="160" y="510"/>
                  </a:cubicBezTo>
                  <a:cubicBezTo>
                    <a:pt x="163" y="517"/>
                    <a:pt x="163" y="517"/>
                    <a:pt x="163" y="517"/>
                  </a:cubicBezTo>
                  <a:cubicBezTo>
                    <a:pt x="125" y="514"/>
                    <a:pt x="125" y="514"/>
                    <a:pt x="125" y="514"/>
                  </a:cubicBezTo>
                  <a:close/>
                  <a:moveTo>
                    <a:pt x="115" y="485"/>
                  </a:moveTo>
                  <a:cubicBezTo>
                    <a:pt x="113" y="475"/>
                    <a:pt x="113" y="475"/>
                    <a:pt x="113" y="475"/>
                  </a:cubicBezTo>
                  <a:cubicBezTo>
                    <a:pt x="135" y="456"/>
                    <a:pt x="135" y="456"/>
                    <a:pt x="135" y="456"/>
                  </a:cubicBezTo>
                  <a:cubicBezTo>
                    <a:pt x="111" y="461"/>
                    <a:pt x="111" y="461"/>
                    <a:pt x="111" y="461"/>
                  </a:cubicBezTo>
                  <a:cubicBezTo>
                    <a:pt x="109" y="454"/>
                    <a:pt x="109" y="454"/>
                    <a:pt x="109" y="454"/>
                  </a:cubicBezTo>
                  <a:cubicBezTo>
                    <a:pt x="144" y="447"/>
                    <a:pt x="144" y="447"/>
                    <a:pt x="144" y="447"/>
                  </a:cubicBezTo>
                  <a:cubicBezTo>
                    <a:pt x="145" y="456"/>
                    <a:pt x="145" y="456"/>
                    <a:pt x="145" y="456"/>
                  </a:cubicBezTo>
                  <a:cubicBezTo>
                    <a:pt x="122" y="476"/>
                    <a:pt x="122" y="476"/>
                    <a:pt x="122" y="476"/>
                  </a:cubicBezTo>
                  <a:cubicBezTo>
                    <a:pt x="148" y="471"/>
                    <a:pt x="148" y="471"/>
                    <a:pt x="148" y="471"/>
                  </a:cubicBezTo>
                  <a:cubicBezTo>
                    <a:pt x="149" y="478"/>
                    <a:pt x="149" y="478"/>
                    <a:pt x="149" y="478"/>
                  </a:cubicBezTo>
                  <a:cubicBezTo>
                    <a:pt x="115" y="485"/>
                    <a:pt x="115" y="485"/>
                    <a:pt x="115" y="485"/>
                  </a:cubicBezTo>
                  <a:close/>
                  <a:moveTo>
                    <a:pt x="128" y="427"/>
                  </a:moveTo>
                  <a:cubicBezTo>
                    <a:pt x="121" y="427"/>
                    <a:pt x="121" y="427"/>
                    <a:pt x="121" y="427"/>
                  </a:cubicBezTo>
                  <a:cubicBezTo>
                    <a:pt x="121" y="410"/>
                    <a:pt x="121" y="410"/>
                    <a:pt x="121" y="410"/>
                  </a:cubicBezTo>
                  <a:cubicBezTo>
                    <a:pt x="142" y="409"/>
                    <a:pt x="142" y="409"/>
                    <a:pt x="142" y="409"/>
                  </a:cubicBezTo>
                  <a:cubicBezTo>
                    <a:pt x="142" y="425"/>
                    <a:pt x="142" y="425"/>
                    <a:pt x="142" y="425"/>
                  </a:cubicBezTo>
                  <a:cubicBezTo>
                    <a:pt x="142" y="428"/>
                    <a:pt x="142" y="431"/>
                    <a:pt x="142" y="432"/>
                  </a:cubicBezTo>
                  <a:cubicBezTo>
                    <a:pt x="141" y="434"/>
                    <a:pt x="140" y="435"/>
                    <a:pt x="139" y="437"/>
                  </a:cubicBezTo>
                  <a:cubicBezTo>
                    <a:pt x="138" y="439"/>
                    <a:pt x="136" y="440"/>
                    <a:pt x="134" y="441"/>
                  </a:cubicBezTo>
                  <a:cubicBezTo>
                    <a:pt x="132" y="442"/>
                    <a:pt x="129" y="442"/>
                    <a:pt x="126" y="443"/>
                  </a:cubicBezTo>
                  <a:cubicBezTo>
                    <a:pt x="119" y="443"/>
                    <a:pt x="115" y="441"/>
                    <a:pt x="112" y="439"/>
                  </a:cubicBezTo>
                  <a:cubicBezTo>
                    <a:pt x="109" y="436"/>
                    <a:pt x="107" y="432"/>
                    <a:pt x="107" y="426"/>
                  </a:cubicBezTo>
                  <a:cubicBezTo>
                    <a:pt x="107" y="410"/>
                    <a:pt x="107" y="410"/>
                    <a:pt x="107" y="410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113" y="426"/>
                    <a:pt x="113" y="426"/>
                    <a:pt x="113" y="426"/>
                  </a:cubicBezTo>
                  <a:cubicBezTo>
                    <a:pt x="113" y="429"/>
                    <a:pt x="114" y="431"/>
                    <a:pt x="116" y="432"/>
                  </a:cubicBezTo>
                  <a:cubicBezTo>
                    <a:pt x="118" y="434"/>
                    <a:pt x="121" y="434"/>
                    <a:pt x="125" y="434"/>
                  </a:cubicBezTo>
                  <a:cubicBezTo>
                    <a:pt x="129" y="434"/>
                    <a:pt x="132" y="433"/>
                    <a:pt x="133" y="432"/>
                  </a:cubicBezTo>
                  <a:cubicBezTo>
                    <a:pt x="135" y="431"/>
                    <a:pt x="136" y="428"/>
                    <a:pt x="136" y="425"/>
                  </a:cubicBezTo>
                  <a:cubicBezTo>
                    <a:pt x="136" y="417"/>
                    <a:pt x="136" y="417"/>
                    <a:pt x="136" y="417"/>
                  </a:cubicBezTo>
                  <a:cubicBezTo>
                    <a:pt x="127" y="417"/>
                    <a:pt x="127" y="417"/>
                    <a:pt x="127" y="417"/>
                  </a:cubicBezTo>
                  <a:cubicBezTo>
                    <a:pt x="128" y="427"/>
                    <a:pt x="128" y="427"/>
                    <a:pt x="128" y="427"/>
                  </a:cubicBezTo>
                  <a:close/>
                  <a:moveTo>
                    <a:pt x="115" y="385"/>
                  </a:moveTo>
                  <a:cubicBezTo>
                    <a:pt x="115" y="385"/>
                    <a:pt x="115" y="385"/>
                    <a:pt x="115" y="385"/>
                  </a:cubicBezTo>
                  <a:cubicBezTo>
                    <a:pt x="115" y="382"/>
                    <a:pt x="116" y="379"/>
                    <a:pt x="117" y="378"/>
                  </a:cubicBezTo>
                  <a:cubicBezTo>
                    <a:pt x="119" y="377"/>
                    <a:pt x="122" y="377"/>
                    <a:pt x="127" y="377"/>
                  </a:cubicBezTo>
                  <a:cubicBezTo>
                    <a:pt x="131" y="377"/>
                    <a:pt x="134" y="378"/>
                    <a:pt x="135" y="379"/>
                  </a:cubicBezTo>
                  <a:cubicBezTo>
                    <a:pt x="137" y="381"/>
                    <a:pt x="138" y="383"/>
                    <a:pt x="137" y="386"/>
                  </a:cubicBezTo>
                  <a:cubicBezTo>
                    <a:pt x="137" y="395"/>
                    <a:pt x="137" y="395"/>
                    <a:pt x="137" y="395"/>
                  </a:cubicBezTo>
                  <a:cubicBezTo>
                    <a:pt x="114" y="394"/>
                    <a:pt x="114" y="394"/>
                    <a:pt x="114" y="394"/>
                  </a:cubicBezTo>
                  <a:cubicBezTo>
                    <a:pt x="115" y="385"/>
                    <a:pt x="115" y="385"/>
                    <a:pt x="115" y="385"/>
                  </a:cubicBezTo>
                  <a:close/>
                  <a:moveTo>
                    <a:pt x="107" y="401"/>
                  </a:moveTo>
                  <a:cubicBezTo>
                    <a:pt x="108" y="384"/>
                    <a:pt x="108" y="384"/>
                    <a:pt x="108" y="384"/>
                  </a:cubicBezTo>
                  <a:cubicBezTo>
                    <a:pt x="109" y="378"/>
                    <a:pt x="111" y="374"/>
                    <a:pt x="114" y="372"/>
                  </a:cubicBezTo>
                  <a:cubicBezTo>
                    <a:pt x="117" y="369"/>
                    <a:pt x="122" y="368"/>
                    <a:pt x="128" y="369"/>
                  </a:cubicBezTo>
                  <a:cubicBezTo>
                    <a:pt x="131" y="369"/>
                    <a:pt x="134" y="370"/>
                    <a:pt x="136" y="371"/>
                  </a:cubicBezTo>
                  <a:cubicBezTo>
                    <a:pt x="138" y="372"/>
                    <a:pt x="140" y="373"/>
                    <a:pt x="141" y="375"/>
                  </a:cubicBezTo>
                  <a:cubicBezTo>
                    <a:pt x="142" y="377"/>
                    <a:pt x="143" y="378"/>
                    <a:pt x="143" y="380"/>
                  </a:cubicBezTo>
                  <a:cubicBezTo>
                    <a:pt x="144" y="381"/>
                    <a:pt x="144" y="384"/>
                    <a:pt x="144" y="387"/>
                  </a:cubicBezTo>
                  <a:cubicBezTo>
                    <a:pt x="142" y="403"/>
                    <a:pt x="142" y="403"/>
                    <a:pt x="142" y="403"/>
                  </a:cubicBezTo>
                  <a:cubicBezTo>
                    <a:pt x="107" y="401"/>
                    <a:pt x="107" y="401"/>
                    <a:pt x="107" y="401"/>
                  </a:cubicBezTo>
                  <a:close/>
                  <a:moveTo>
                    <a:pt x="128" y="362"/>
                  </a:moveTo>
                  <a:cubicBezTo>
                    <a:pt x="123" y="361"/>
                    <a:pt x="118" y="359"/>
                    <a:pt x="116" y="355"/>
                  </a:cubicBezTo>
                  <a:cubicBezTo>
                    <a:pt x="114" y="351"/>
                    <a:pt x="114" y="347"/>
                    <a:pt x="115" y="341"/>
                  </a:cubicBezTo>
                  <a:cubicBezTo>
                    <a:pt x="116" y="335"/>
                    <a:pt x="119" y="331"/>
                    <a:pt x="122" y="329"/>
                  </a:cubicBezTo>
                  <a:cubicBezTo>
                    <a:pt x="126" y="327"/>
                    <a:pt x="131" y="326"/>
                    <a:pt x="137" y="328"/>
                  </a:cubicBezTo>
                  <a:cubicBezTo>
                    <a:pt x="143" y="329"/>
                    <a:pt x="147" y="332"/>
                    <a:pt x="149" y="335"/>
                  </a:cubicBezTo>
                  <a:cubicBezTo>
                    <a:pt x="152" y="339"/>
                    <a:pt x="152" y="343"/>
                    <a:pt x="151" y="349"/>
                  </a:cubicBezTo>
                  <a:cubicBezTo>
                    <a:pt x="149" y="355"/>
                    <a:pt x="147" y="359"/>
                    <a:pt x="143" y="361"/>
                  </a:cubicBezTo>
                  <a:cubicBezTo>
                    <a:pt x="140" y="364"/>
                    <a:pt x="135" y="364"/>
                    <a:pt x="128" y="362"/>
                  </a:cubicBezTo>
                  <a:close/>
                  <a:moveTo>
                    <a:pt x="121" y="342"/>
                  </a:moveTo>
                  <a:cubicBezTo>
                    <a:pt x="122" y="339"/>
                    <a:pt x="123" y="337"/>
                    <a:pt x="125" y="336"/>
                  </a:cubicBezTo>
                  <a:cubicBezTo>
                    <a:pt x="128" y="335"/>
                    <a:pt x="131" y="335"/>
                    <a:pt x="135" y="336"/>
                  </a:cubicBezTo>
                  <a:cubicBezTo>
                    <a:pt x="139" y="337"/>
                    <a:pt x="142" y="338"/>
                    <a:pt x="143" y="340"/>
                  </a:cubicBezTo>
                  <a:cubicBezTo>
                    <a:pt x="145" y="342"/>
                    <a:pt x="145" y="345"/>
                    <a:pt x="145" y="348"/>
                  </a:cubicBezTo>
                  <a:cubicBezTo>
                    <a:pt x="144" y="351"/>
                    <a:pt x="142" y="353"/>
                    <a:pt x="140" y="354"/>
                  </a:cubicBezTo>
                  <a:cubicBezTo>
                    <a:pt x="138" y="355"/>
                    <a:pt x="135" y="355"/>
                    <a:pt x="130" y="354"/>
                  </a:cubicBezTo>
                  <a:cubicBezTo>
                    <a:pt x="126" y="353"/>
                    <a:pt x="124" y="352"/>
                    <a:pt x="122" y="350"/>
                  </a:cubicBezTo>
                  <a:cubicBezTo>
                    <a:pt x="121" y="348"/>
                    <a:pt x="120" y="345"/>
                    <a:pt x="121" y="342"/>
                  </a:cubicBezTo>
                  <a:close/>
                  <a:moveTo>
                    <a:pt x="124" y="314"/>
                  </a:moveTo>
                  <a:cubicBezTo>
                    <a:pt x="127" y="305"/>
                    <a:pt x="127" y="305"/>
                    <a:pt x="127" y="305"/>
                  </a:cubicBezTo>
                  <a:cubicBezTo>
                    <a:pt x="156" y="301"/>
                    <a:pt x="156" y="301"/>
                    <a:pt x="156" y="301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5" y="284"/>
                    <a:pt x="135" y="284"/>
                    <a:pt x="135" y="284"/>
                  </a:cubicBezTo>
                  <a:cubicBezTo>
                    <a:pt x="168" y="298"/>
                    <a:pt x="168" y="298"/>
                    <a:pt x="168" y="298"/>
                  </a:cubicBezTo>
                  <a:cubicBezTo>
                    <a:pt x="165" y="306"/>
                    <a:pt x="165" y="306"/>
                    <a:pt x="165" y="306"/>
                  </a:cubicBezTo>
                  <a:cubicBezTo>
                    <a:pt x="135" y="310"/>
                    <a:pt x="135" y="310"/>
                    <a:pt x="135" y="310"/>
                  </a:cubicBezTo>
                  <a:cubicBezTo>
                    <a:pt x="159" y="320"/>
                    <a:pt x="159" y="320"/>
                    <a:pt x="159" y="320"/>
                  </a:cubicBezTo>
                  <a:cubicBezTo>
                    <a:pt x="156" y="327"/>
                    <a:pt x="156" y="327"/>
                    <a:pt x="156" y="327"/>
                  </a:cubicBezTo>
                  <a:cubicBezTo>
                    <a:pt x="124" y="314"/>
                    <a:pt x="124" y="314"/>
                    <a:pt x="124" y="314"/>
                  </a:cubicBezTo>
                  <a:close/>
                  <a:moveTo>
                    <a:pt x="166" y="273"/>
                  </a:moveTo>
                  <a:cubicBezTo>
                    <a:pt x="160" y="269"/>
                    <a:pt x="160" y="269"/>
                    <a:pt x="160" y="269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87" y="265"/>
                    <a:pt x="187" y="265"/>
                    <a:pt x="187" y="265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8" y="281"/>
                    <a:pt x="176" y="283"/>
                    <a:pt x="175" y="284"/>
                  </a:cubicBezTo>
                  <a:cubicBezTo>
                    <a:pt x="174" y="286"/>
                    <a:pt x="172" y="286"/>
                    <a:pt x="171" y="287"/>
                  </a:cubicBezTo>
                  <a:cubicBezTo>
                    <a:pt x="168" y="288"/>
                    <a:pt x="166" y="288"/>
                    <a:pt x="164" y="288"/>
                  </a:cubicBezTo>
                  <a:cubicBezTo>
                    <a:pt x="161" y="287"/>
                    <a:pt x="159" y="286"/>
                    <a:pt x="156" y="284"/>
                  </a:cubicBezTo>
                  <a:cubicBezTo>
                    <a:pt x="151" y="281"/>
                    <a:pt x="147" y="278"/>
                    <a:pt x="146" y="274"/>
                  </a:cubicBezTo>
                  <a:cubicBezTo>
                    <a:pt x="145" y="270"/>
                    <a:pt x="146" y="265"/>
                    <a:pt x="149" y="260"/>
                  </a:cubicBezTo>
                  <a:cubicBezTo>
                    <a:pt x="157" y="247"/>
                    <a:pt x="157" y="247"/>
                    <a:pt x="157" y="247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54" y="264"/>
                    <a:pt x="154" y="264"/>
                    <a:pt x="154" y="264"/>
                  </a:cubicBezTo>
                  <a:cubicBezTo>
                    <a:pt x="153" y="266"/>
                    <a:pt x="152" y="268"/>
                    <a:pt x="153" y="271"/>
                  </a:cubicBezTo>
                  <a:cubicBezTo>
                    <a:pt x="154" y="273"/>
                    <a:pt x="156" y="275"/>
                    <a:pt x="160" y="277"/>
                  </a:cubicBezTo>
                  <a:cubicBezTo>
                    <a:pt x="163" y="279"/>
                    <a:pt x="166" y="280"/>
                    <a:pt x="168" y="280"/>
                  </a:cubicBezTo>
                  <a:cubicBezTo>
                    <a:pt x="170" y="279"/>
                    <a:pt x="172" y="278"/>
                    <a:pt x="174" y="276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1" y="264"/>
                    <a:pt x="171" y="264"/>
                    <a:pt x="171" y="264"/>
                  </a:cubicBezTo>
                  <a:cubicBezTo>
                    <a:pt x="166" y="273"/>
                    <a:pt x="166" y="273"/>
                    <a:pt x="166" y="273"/>
                  </a:cubicBezTo>
                  <a:close/>
                  <a:moveTo>
                    <a:pt x="197" y="199"/>
                  </a:moveTo>
                  <a:cubicBezTo>
                    <a:pt x="211" y="215"/>
                    <a:pt x="211" y="215"/>
                    <a:pt x="211" y="215"/>
                  </a:cubicBezTo>
                  <a:cubicBezTo>
                    <a:pt x="213" y="217"/>
                    <a:pt x="215" y="218"/>
                    <a:pt x="217" y="219"/>
                  </a:cubicBezTo>
                  <a:cubicBezTo>
                    <a:pt x="219" y="219"/>
                    <a:pt x="221" y="218"/>
                    <a:pt x="223" y="216"/>
                  </a:cubicBezTo>
                  <a:cubicBezTo>
                    <a:pt x="225" y="214"/>
                    <a:pt x="226" y="212"/>
                    <a:pt x="226" y="210"/>
                  </a:cubicBezTo>
                  <a:cubicBezTo>
                    <a:pt x="226" y="208"/>
                    <a:pt x="225" y="206"/>
                    <a:pt x="223" y="204"/>
                  </a:cubicBezTo>
                  <a:cubicBezTo>
                    <a:pt x="208" y="188"/>
                    <a:pt x="208" y="188"/>
                    <a:pt x="208" y="188"/>
                  </a:cubicBezTo>
                  <a:cubicBezTo>
                    <a:pt x="214" y="183"/>
                    <a:pt x="214" y="183"/>
                    <a:pt x="214" y="183"/>
                  </a:cubicBezTo>
                  <a:cubicBezTo>
                    <a:pt x="228" y="199"/>
                    <a:pt x="228" y="199"/>
                    <a:pt x="228" y="199"/>
                  </a:cubicBezTo>
                  <a:cubicBezTo>
                    <a:pt x="230" y="201"/>
                    <a:pt x="231" y="202"/>
                    <a:pt x="232" y="203"/>
                  </a:cubicBezTo>
                  <a:cubicBezTo>
                    <a:pt x="233" y="205"/>
                    <a:pt x="233" y="206"/>
                    <a:pt x="233" y="207"/>
                  </a:cubicBezTo>
                  <a:cubicBezTo>
                    <a:pt x="233" y="209"/>
                    <a:pt x="233" y="212"/>
                    <a:pt x="232" y="214"/>
                  </a:cubicBezTo>
                  <a:cubicBezTo>
                    <a:pt x="231" y="216"/>
                    <a:pt x="229" y="218"/>
                    <a:pt x="227" y="220"/>
                  </a:cubicBezTo>
                  <a:cubicBezTo>
                    <a:pt x="224" y="222"/>
                    <a:pt x="222" y="224"/>
                    <a:pt x="220" y="225"/>
                  </a:cubicBezTo>
                  <a:cubicBezTo>
                    <a:pt x="218" y="226"/>
                    <a:pt x="216" y="226"/>
                    <a:pt x="214" y="226"/>
                  </a:cubicBezTo>
                  <a:cubicBezTo>
                    <a:pt x="213" y="225"/>
                    <a:pt x="212" y="225"/>
                    <a:pt x="210" y="224"/>
                  </a:cubicBezTo>
                  <a:cubicBezTo>
                    <a:pt x="209" y="223"/>
                    <a:pt x="208" y="222"/>
                    <a:pt x="206" y="22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97" y="199"/>
                    <a:pt x="197" y="199"/>
                    <a:pt x="197" y="199"/>
                  </a:cubicBezTo>
                  <a:close/>
                  <a:moveTo>
                    <a:pt x="222" y="175"/>
                  </a:moveTo>
                  <a:cubicBezTo>
                    <a:pt x="230" y="170"/>
                    <a:pt x="230" y="170"/>
                    <a:pt x="230" y="170"/>
                  </a:cubicBezTo>
                  <a:cubicBezTo>
                    <a:pt x="256" y="183"/>
                    <a:pt x="256" y="183"/>
                    <a:pt x="256" y="183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68" y="187"/>
                    <a:pt x="268" y="187"/>
                    <a:pt x="268" y="187"/>
                  </a:cubicBezTo>
                  <a:cubicBezTo>
                    <a:pt x="261" y="192"/>
                    <a:pt x="261" y="192"/>
                    <a:pt x="261" y="192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49" y="200"/>
                    <a:pt x="249" y="200"/>
                    <a:pt x="249" y="200"/>
                  </a:cubicBezTo>
                  <a:cubicBezTo>
                    <a:pt x="243" y="205"/>
                    <a:pt x="243" y="205"/>
                    <a:pt x="243" y="205"/>
                  </a:cubicBezTo>
                  <a:cubicBezTo>
                    <a:pt x="222" y="175"/>
                    <a:pt x="222" y="175"/>
                    <a:pt x="222" y="175"/>
                  </a:cubicBezTo>
                  <a:close/>
                  <a:moveTo>
                    <a:pt x="282" y="180"/>
                  </a:moveTo>
                  <a:cubicBezTo>
                    <a:pt x="275" y="184"/>
                    <a:pt x="275" y="184"/>
                    <a:pt x="275" y="184"/>
                  </a:cubicBezTo>
                  <a:cubicBezTo>
                    <a:pt x="257" y="153"/>
                    <a:pt x="257" y="153"/>
                    <a:pt x="257" y="153"/>
                  </a:cubicBezTo>
                  <a:cubicBezTo>
                    <a:pt x="264" y="149"/>
                    <a:pt x="264" y="149"/>
                    <a:pt x="264" y="149"/>
                  </a:cubicBezTo>
                  <a:cubicBezTo>
                    <a:pt x="282" y="180"/>
                    <a:pt x="282" y="180"/>
                    <a:pt x="282" y="180"/>
                  </a:cubicBezTo>
                  <a:close/>
                  <a:moveTo>
                    <a:pt x="297" y="172"/>
                  </a:moveTo>
                  <a:cubicBezTo>
                    <a:pt x="268" y="146"/>
                    <a:pt x="268" y="146"/>
                    <a:pt x="268" y="146"/>
                  </a:cubicBezTo>
                  <a:cubicBezTo>
                    <a:pt x="276" y="142"/>
                    <a:pt x="276" y="142"/>
                    <a:pt x="276" y="142"/>
                  </a:cubicBezTo>
                  <a:cubicBezTo>
                    <a:pt x="297" y="162"/>
                    <a:pt x="297" y="162"/>
                    <a:pt x="297" y="162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297" y="172"/>
                    <a:pt x="297" y="172"/>
                    <a:pt x="297" y="172"/>
                  </a:cubicBezTo>
                  <a:close/>
                  <a:moveTo>
                    <a:pt x="325" y="130"/>
                  </a:moveTo>
                  <a:cubicBezTo>
                    <a:pt x="323" y="131"/>
                    <a:pt x="321" y="132"/>
                    <a:pt x="320" y="134"/>
                  </a:cubicBezTo>
                  <a:cubicBezTo>
                    <a:pt x="319" y="136"/>
                    <a:pt x="319" y="138"/>
                    <a:pt x="320" y="141"/>
                  </a:cubicBezTo>
                  <a:cubicBezTo>
                    <a:pt x="339" y="135"/>
                    <a:pt x="339" y="135"/>
                    <a:pt x="339" y="135"/>
                  </a:cubicBezTo>
                  <a:cubicBezTo>
                    <a:pt x="341" y="141"/>
                    <a:pt x="341" y="141"/>
                    <a:pt x="341" y="141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322" y="150"/>
                    <a:pt x="323" y="152"/>
                    <a:pt x="325" y="153"/>
                  </a:cubicBezTo>
                  <a:cubicBezTo>
                    <a:pt x="327" y="154"/>
                    <a:pt x="329" y="154"/>
                    <a:pt x="332" y="153"/>
                  </a:cubicBezTo>
                  <a:cubicBezTo>
                    <a:pt x="344" y="149"/>
                    <a:pt x="344" y="149"/>
                    <a:pt x="344" y="14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33" y="159"/>
                    <a:pt x="333" y="159"/>
                    <a:pt x="333" y="159"/>
                  </a:cubicBezTo>
                  <a:cubicBezTo>
                    <a:pt x="331" y="160"/>
                    <a:pt x="328" y="160"/>
                    <a:pt x="327" y="160"/>
                  </a:cubicBezTo>
                  <a:cubicBezTo>
                    <a:pt x="325" y="160"/>
                    <a:pt x="323" y="160"/>
                    <a:pt x="322" y="159"/>
                  </a:cubicBezTo>
                  <a:cubicBezTo>
                    <a:pt x="320" y="158"/>
                    <a:pt x="318" y="157"/>
                    <a:pt x="316" y="155"/>
                  </a:cubicBezTo>
                  <a:cubicBezTo>
                    <a:pt x="315" y="153"/>
                    <a:pt x="314" y="150"/>
                    <a:pt x="313" y="147"/>
                  </a:cubicBezTo>
                  <a:cubicBezTo>
                    <a:pt x="311" y="141"/>
                    <a:pt x="311" y="136"/>
                    <a:pt x="313" y="132"/>
                  </a:cubicBezTo>
                  <a:cubicBezTo>
                    <a:pt x="315" y="129"/>
                    <a:pt x="318" y="126"/>
                    <a:pt x="324" y="124"/>
                  </a:cubicBezTo>
                  <a:cubicBezTo>
                    <a:pt x="335" y="121"/>
                    <a:pt x="335" y="121"/>
                    <a:pt x="335" y="121"/>
                  </a:cubicBezTo>
                  <a:cubicBezTo>
                    <a:pt x="337" y="127"/>
                    <a:pt x="337" y="127"/>
                    <a:pt x="337" y="127"/>
                  </a:cubicBezTo>
                  <a:cubicBezTo>
                    <a:pt x="325" y="130"/>
                    <a:pt x="325" y="130"/>
                    <a:pt x="325" y="130"/>
                  </a:cubicBezTo>
                  <a:close/>
                  <a:moveTo>
                    <a:pt x="364" y="122"/>
                  </a:moveTo>
                  <a:cubicBezTo>
                    <a:pt x="364" y="122"/>
                    <a:pt x="364" y="122"/>
                    <a:pt x="364" y="122"/>
                  </a:cubicBezTo>
                  <a:cubicBezTo>
                    <a:pt x="367" y="122"/>
                    <a:pt x="368" y="122"/>
                    <a:pt x="369" y="123"/>
                  </a:cubicBezTo>
                  <a:cubicBezTo>
                    <a:pt x="370" y="123"/>
                    <a:pt x="371" y="124"/>
                    <a:pt x="371" y="126"/>
                  </a:cubicBezTo>
                  <a:cubicBezTo>
                    <a:pt x="371" y="128"/>
                    <a:pt x="371" y="129"/>
                    <a:pt x="370" y="130"/>
                  </a:cubicBezTo>
                  <a:cubicBezTo>
                    <a:pt x="369" y="130"/>
                    <a:pt x="368" y="131"/>
                    <a:pt x="365" y="131"/>
                  </a:cubicBezTo>
                  <a:cubicBezTo>
                    <a:pt x="356" y="133"/>
                    <a:pt x="356" y="133"/>
                    <a:pt x="356" y="133"/>
                  </a:cubicBezTo>
                  <a:cubicBezTo>
                    <a:pt x="355" y="124"/>
                    <a:pt x="355" y="124"/>
                    <a:pt x="355" y="124"/>
                  </a:cubicBezTo>
                  <a:cubicBezTo>
                    <a:pt x="364" y="122"/>
                    <a:pt x="364" y="122"/>
                    <a:pt x="364" y="122"/>
                  </a:cubicBezTo>
                  <a:close/>
                  <a:moveTo>
                    <a:pt x="347" y="118"/>
                  </a:moveTo>
                  <a:cubicBezTo>
                    <a:pt x="365" y="116"/>
                    <a:pt x="365" y="116"/>
                    <a:pt x="365" y="116"/>
                  </a:cubicBezTo>
                  <a:cubicBezTo>
                    <a:pt x="369" y="115"/>
                    <a:pt x="372" y="116"/>
                    <a:pt x="375" y="117"/>
                  </a:cubicBezTo>
                  <a:cubicBezTo>
                    <a:pt x="377" y="119"/>
                    <a:pt x="378" y="121"/>
                    <a:pt x="379" y="125"/>
                  </a:cubicBezTo>
                  <a:cubicBezTo>
                    <a:pt x="379" y="128"/>
                    <a:pt x="379" y="130"/>
                    <a:pt x="378" y="132"/>
                  </a:cubicBezTo>
                  <a:cubicBezTo>
                    <a:pt x="377" y="134"/>
                    <a:pt x="375" y="135"/>
                    <a:pt x="373" y="136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76" y="151"/>
                    <a:pt x="376" y="151"/>
                    <a:pt x="376" y="151"/>
                  </a:cubicBezTo>
                  <a:cubicBezTo>
                    <a:pt x="366" y="138"/>
                    <a:pt x="366" y="138"/>
                    <a:pt x="366" y="138"/>
                  </a:cubicBezTo>
                  <a:cubicBezTo>
                    <a:pt x="357" y="139"/>
                    <a:pt x="357" y="139"/>
                    <a:pt x="357" y="139"/>
                  </a:cubicBezTo>
                  <a:cubicBezTo>
                    <a:pt x="359" y="153"/>
                    <a:pt x="359" y="153"/>
                    <a:pt x="359" y="153"/>
                  </a:cubicBezTo>
                  <a:cubicBezTo>
                    <a:pt x="352" y="154"/>
                    <a:pt x="352" y="154"/>
                    <a:pt x="352" y="154"/>
                  </a:cubicBezTo>
                  <a:cubicBezTo>
                    <a:pt x="347" y="118"/>
                    <a:pt x="347" y="118"/>
                    <a:pt x="347" y="118"/>
                  </a:cubicBezTo>
                  <a:close/>
                  <a:moveTo>
                    <a:pt x="419" y="121"/>
                  </a:moveTo>
                  <a:cubicBezTo>
                    <a:pt x="401" y="121"/>
                    <a:pt x="401" y="121"/>
                    <a:pt x="401" y="121"/>
                  </a:cubicBezTo>
                  <a:cubicBezTo>
                    <a:pt x="399" y="121"/>
                    <a:pt x="397" y="121"/>
                    <a:pt x="396" y="122"/>
                  </a:cubicBezTo>
                  <a:cubicBezTo>
                    <a:pt x="395" y="123"/>
                    <a:pt x="395" y="124"/>
                    <a:pt x="395" y="125"/>
                  </a:cubicBezTo>
                  <a:cubicBezTo>
                    <a:pt x="395" y="127"/>
                    <a:pt x="395" y="128"/>
                    <a:pt x="396" y="128"/>
                  </a:cubicBezTo>
                  <a:cubicBezTo>
                    <a:pt x="397" y="129"/>
                    <a:pt x="398" y="129"/>
                    <a:pt x="399" y="129"/>
                  </a:cubicBezTo>
                  <a:cubicBezTo>
                    <a:pt x="409" y="129"/>
                    <a:pt x="409" y="129"/>
                    <a:pt x="409" y="129"/>
                  </a:cubicBezTo>
                  <a:cubicBezTo>
                    <a:pt x="413" y="130"/>
                    <a:pt x="416" y="130"/>
                    <a:pt x="418" y="132"/>
                  </a:cubicBezTo>
                  <a:cubicBezTo>
                    <a:pt x="420" y="134"/>
                    <a:pt x="420" y="136"/>
                    <a:pt x="420" y="140"/>
                  </a:cubicBezTo>
                  <a:cubicBezTo>
                    <a:pt x="420" y="144"/>
                    <a:pt x="419" y="146"/>
                    <a:pt x="417" y="148"/>
                  </a:cubicBezTo>
                  <a:cubicBezTo>
                    <a:pt x="415" y="150"/>
                    <a:pt x="412" y="150"/>
                    <a:pt x="408" y="150"/>
                  </a:cubicBezTo>
                  <a:cubicBezTo>
                    <a:pt x="388" y="150"/>
                    <a:pt x="388" y="150"/>
                    <a:pt x="388" y="150"/>
                  </a:cubicBezTo>
                  <a:cubicBezTo>
                    <a:pt x="388" y="144"/>
                    <a:pt x="388" y="144"/>
                    <a:pt x="388" y="144"/>
                  </a:cubicBezTo>
                  <a:cubicBezTo>
                    <a:pt x="407" y="144"/>
                    <a:pt x="407" y="144"/>
                    <a:pt x="407" y="144"/>
                  </a:cubicBezTo>
                  <a:cubicBezTo>
                    <a:pt x="409" y="144"/>
                    <a:pt x="410" y="144"/>
                    <a:pt x="411" y="143"/>
                  </a:cubicBezTo>
                  <a:cubicBezTo>
                    <a:pt x="412" y="142"/>
                    <a:pt x="413" y="141"/>
                    <a:pt x="413" y="140"/>
                  </a:cubicBezTo>
                  <a:cubicBezTo>
                    <a:pt x="413" y="139"/>
                    <a:pt x="412" y="137"/>
                    <a:pt x="411" y="137"/>
                  </a:cubicBezTo>
                  <a:cubicBezTo>
                    <a:pt x="411" y="136"/>
                    <a:pt x="409" y="136"/>
                    <a:pt x="407" y="136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5" y="136"/>
                    <a:pt x="392" y="135"/>
                    <a:pt x="390" y="133"/>
                  </a:cubicBezTo>
                  <a:cubicBezTo>
                    <a:pt x="388" y="131"/>
                    <a:pt x="387" y="129"/>
                    <a:pt x="387" y="125"/>
                  </a:cubicBezTo>
                  <a:cubicBezTo>
                    <a:pt x="387" y="121"/>
                    <a:pt x="388" y="119"/>
                    <a:pt x="390" y="117"/>
                  </a:cubicBezTo>
                  <a:cubicBezTo>
                    <a:pt x="392" y="115"/>
                    <a:pt x="395" y="114"/>
                    <a:pt x="400" y="114"/>
                  </a:cubicBezTo>
                  <a:cubicBezTo>
                    <a:pt x="419" y="115"/>
                    <a:pt x="419" y="115"/>
                    <a:pt x="419" y="115"/>
                  </a:cubicBezTo>
                  <a:cubicBezTo>
                    <a:pt x="419" y="121"/>
                    <a:pt x="419" y="121"/>
                    <a:pt x="419" y="121"/>
                  </a:cubicBezTo>
                  <a:close/>
                  <a:moveTo>
                    <a:pt x="433" y="152"/>
                  </a:moveTo>
                  <a:cubicBezTo>
                    <a:pt x="426" y="151"/>
                    <a:pt x="426" y="151"/>
                    <a:pt x="426" y="151"/>
                  </a:cubicBezTo>
                  <a:cubicBezTo>
                    <a:pt x="431" y="115"/>
                    <a:pt x="431" y="115"/>
                    <a:pt x="431" y="115"/>
                  </a:cubicBezTo>
                  <a:cubicBezTo>
                    <a:pt x="438" y="117"/>
                    <a:pt x="438" y="117"/>
                    <a:pt x="438" y="117"/>
                  </a:cubicBezTo>
                  <a:cubicBezTo>
                    <a:pt x="433" y="152"/>
                    <a:pt x="433" y="152"/>
                    <a:pt x="433" y="152"/>
                  </a:cubicBezTo>
                  <a:close/>
                  <a:moveTo>
                    <a:pt x="453" y="126"/>
                  </a:moveTo>
                  <a:cubicBezTo>
                    <a:pt x="442" y="124"/>
                    <a:pt x="442" y="124"/>
                    <a:pt x="442" y="124"/>
                  </a:cubicBezTo>
                  <a:cubicBezTo>
                    <a:pt x="443" y="118"/>
                    <a:pt x="443" y="118"/>
                    <a:pt x="443" y="118"/>
                  </a:cubicBezTo>
                  <a:cubicBezTo>
                    <a:pt x="473" y="123"/>
                    <a:pt x="473" y="123"/>
                    <a:pt x="473" y="123"/>
                  </a:cubicBezTo>
                  <a:cubicBezTo>
                    <a:pt x="472" y="129"/>
                    <a:pt x="472" y="129"/>
                    <a:pt x="472" y="129"/>
                  </a:cubicBezTo>
                  <a:cubicBezTo>
                    <a:pt x="461" y="127"/>
                    <a:pt x="461" y="127"/>
                    <a:pt x="461" y="127"/>
                  </a:cubicBezTo>
                  <a:cubicBezTo>
                    <a:pt x="456" y="156"/>
                    <a:pt x="456" y="156"/>
                    <a:pt x="456" y="156"/>
                  </a:cubicBezTo>
                  <a:cubicBezTo>
                    <a:pt x="448" y="155"/>
                    <a:pt x="448" y="155"/>
                    <a:pt x="448" y="155"/>
                  </a:cubicBezTo>
                  <a:cubicBezTo>
                    <a:pt x="453" y="126"/>
                    <a:pt x="453" y="126"/>
                    <a:pt x="453" y="126"/>
                  </a:cubicBezTo>
                  <a:close/>
                  <a:moveTo>
                    <a:pt x="477" y="124"/>
                  </a:moveTo>
                  <a:cubicBezTo>
                    <a:pt x="485" y="127"/>
                    <a:pt x="485" y="127"/>
                    <a:pt x="485" y="127"/>
                  </a:cubicBezTo>
                  <a:cubicBezTo>
                    <a:pt x="488" y="142"/>
                    <a:pt x="488" y="142"/>
                    <a:pt x="488" y="142"/>
                  </a:cubicBezTo>
                  <a:cubicBezTo>
                    <a:pt x="501" y="132"/>
                    <a:pt x="501" y="132"/>
                    <a:pt x="501" y="132"/>
                  </a:cubicBezTo>
                  <a:cubicBezTo>
                    <a:pt x="509" y="135"/>
                    <a:pt x="509" y="135"/>
                    <a:pt x="509" y="135"/>
                  </a:cubicBezTo>
                  <a:cubicBezTo>
                    <a:pt x="490" y="150"/>
                    <a:pt x="490" y="150"/>
                    <a:pt x="490" y="150"/>
                  </a:cubicBezTo>
                  <a:cubicBezTo>
                    <a:pt x="485" y="165"/>
                    <a:pt x="485" y="165"/>
                    <a:pt x="485" y="165"/>
                  </a:cubicBezTo>
                  <a:cubicBezTo>
                    <a:pt x="478" y="162"/>
                    <a:pt x="478" y="162"/>
                    <a:pt x="478" y="162"/>
                  </a:cubicBezTo>
                  <a:cubicBezTo>
                    <a:pt x="483" y="147"/>
                    <a:pt x="483" y="147"/>
                    <a:pt x="483" y="147"/>
                  </a:cubicBezTo>
                  <a:cubicBezTo>
                    <a:pt x="477" y="124"/>
                    <a:pt x="477" y="124"/>
                    <a:pt x="477" y="124"/>
                  </a:cubicBezTo>
                  <a:close/>
                  <a:moveTo>
                    <a:pt x="541" y="171"/>
                  </a:moveTo>
                  <a:cubicBezTo>
                    <a:pt x="545" y="166"/>
                    <a:pt x="548" y="163"/>
                    <a:pt x="552" y="162"/>
                  </a:cubicBezTo>
                  <a:cubicBezTo>
                    <a:pt x="557" y="161"/>
                    <a:pt x="561" y="162"/>
                    <a:pt x="566" y="166"/>
                  </a:cubicBezTo>
                  <a:cubicBezTo>
                    <a:pt x="571" y="169"/>
                    <a:pt x="574" y="173"/>
                    <a:pt x="574" y="177"/>
                  </a:cubicBezTo>
                  <a:cubicBezTo>
                    <a:pt x="575" y="181"/>
                    <a:pt x="574" y="186"/>
                    <a:pt x="570" y="191"/>
                  </a:cubicBezTo>
                  <a:cubicBezTo>
                    <a:pt x="567" y="196"/>
                    <a:pt x="563" y="200"/>
                    <a:pt x="559" y="200"/>
                  </a:cubicBezTo>
                  <a:cubicBezTo>
                    <a:pt x="555" y="201"/>
                    <a:pt x="550" y="200"/>
                    <a:pt x="545" y="197"/>
                  </a:cubicBezTo>
                  <a:cubicBezTo>
                    <a:pt x="540" y="193"/>
                    <a:pt x="538" y="190"/>
                    <a:pt x="537" y="185"/>
                  </a:cubicBezTo>
                  <a:cubicBezTo>
                    <a:pt x="536" y="181"/>
                    <a:pt x="538" y="176"/>
                    <a:pt x="541" y="171"/>
                  </a:cubicBezTo>
                  <a:close/>
                  <a:moveTo>
                    <a:pt x="563" y="171"/>
                  </a:moveTo>
                  <a:cubicBezTo>
                    <a:pt x="565" y="173"/>
                    <a:pt x="567" y="175"/>
                    <a:pt x="567" y="178"/>
                  </a:cubicBezTo>
                  <a:cubicBezTo>
                    <a:pt x="567" y="180"/>
                    <a:pt x="566" y="183"/>
                    <a:pt x="564" y="187"/>
                  </a:cubicBezTo>
                  <a:cubicBezTo>
                    <a:pt x="561" y="190"/>
                    <a:pt x="559" y="192"/>
                    <a:pt x="556" y="193"/>
                  </a:cubicBezTo>
                  <a:cubicBezTo>
                    <a:pt x="554" y="194"/>
                    <a:pt x="551" y="193"/>
                    <a:pt x="549" y="192"/>
                  </a:cubicBezTo>
                  <a:cubicBezTo>
                    <a:pt x="546" y="190"/>
                    <a:pt x="545" y="188"/>
                    <a:pt x="545" y="185"/>
                  </a:cubicBezTo>
                  <a:cubicBezTo>
                    <a:pt x="544" y="182"/>
                    <a:pt x="546" y="179"/>
                    <a:pt x="548" y="176"/>
                  </a:cubicBezTo>
                  <a:cubicBezTo>
                    <a:pt x="550" y="172"/>
                    <a:pt x="553" y="170"/>
                    <a:pt x="555" y="169"/>
                  </a:cubicBezTo>
                  <a:cubicBezTo>
                    <a:pt x="557" y="169"/>
                    <a:pt x="560" y="169"/>
                    <a:pt x="563" y="171"/>
                  </a:cubicBezTo>
                  <a:close/>
                  <a:moveTo>
                    <a:pt x="574" y="198"/>
                  </a:moveTo>
                  <a:cubicBezTo>
                    <a:pt x="577" y="194"/>
                    <a:pt x="580" y="192"/>
                    <a:pt x="581" y="191"/>
                  </a:cubicBezTo>
                  <a:cubicBezTo>
                    <a:pt x="583" y="189"/>
                    <a:pt x="585" y="189"/>
                    <a:pt x="587" y="188"/>
                  </a:cubicBezTo>
                  <a:cubicBezTo>
                    <a:pt x="589" y="188"/>
                    <a:pt x="591" y="189"/>
                    <a:pt x="593" y="190"/>
                  </a:cubicBezTo>
                  <a:cubicBezTo>
                    <a:pt x="595" y="191"/>
                    <a:pt x="597" y="192"/>
                    <a:pt x="600" y="195"/>
                  </a:cubicBezTo>
                  <a:cubicBezTo>
                    <a:pt x="608" y="202"/>
                    <a:pt x="608" y="202"/>
                    <a:pt x="608" y="202"/>
                  </a:cubicBezTo>
                  <a:cubicBezTo>
                    <a:pt x="604" y="207"/>
                    <a:pt x="604" y="207"/>
                    <a:pt x="604" y="207"/>
                  </a:cubicBezTo>
                  <a:cubicBezTo>
                    <a:pt x="595" y="199"/>
                    <a:pt x="595" y="199"/>
                    <a:pt x="595" y="199"/>
                  </a:cubicBezTo>
                  <a:cubicBezTo>
                    <a:pt x="593" y="197"/>
                    <a:pt x="591" y="196"/>
                    <a:pt x="589" y="196"/>
                  </a:cubicBezTo>
                  <a:cubicBezTo>
                    <a:pt x="587" y="196"/>
                    <a:pt x="585" y="197"/>
                    <a:pt x="583" y="199"/>
                  </a:cubicBezTo>
                  <a:cubicBezTo>
                    <a:pt x="599" y="213"/>
                    <a:pt x="599" y="213"/>
                    <a:pt x="599" y="213"/>
                  </a:cubicBezTo>
                  <a:cubicBezTo>
                    <a:pt x="595" y="218"/>
                    <a:pt x="595" y="218"/>
                    <a:pt x="595" y="218"/>
                  </a:cubicBezTo>
                  <a:cubicBezTo>
                    <a:pt x="579" y="204"/>
                    <a:pt x="579" y="204"/>
                    <a:pt x="579" y="204"/>
                  </a:cubicBezTo>
                  <a:cubicBezTo>
                    <a:pt x="569" y="215"/>
                    <a:pt x="569" y="215"/>
                    <a:pt x="569" y="215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74" y="198"/>
                    <a:pt x="574" y="198"/>
                    <a:pt x="574" y="198"/>
                  </a:cubicBezTo>
                  <a:close/>
                  <a:moveTo>
                    <a:pt x="641" y="254"/>
                  </a:moveTo>
                  <a:cubicBezTo>
                    <a:pt x="635" y="244"/>
                    <a:pt x="635" y="244"/>
                    <a:pt x="635" y="244"/>
                  </a:cubicBezTo>
                  <a:cubicBezTo>
                    <a:pt x="640" y="241"/>
                    <a:pt x="640" y="241"/>
                    <a:pt x="640" y="241"/>
                  </a:cubicBezTo>
                  <a:cubicBezTo>
                    <a:pt x="656" y="267"/>
                    <a:pt x="656" y="267"/>
                    <a:pt x="656" y="267"/>
                  </a:cubicBezTo>
                  <a:cubicBezTo>
                    <a:pt x="651" y="270"/>
                    <a:pt x="651" y="270"/>
                    <a:pt x="651" y="270"/>
                  </a:cubicBezTo>
                  <a:cubicBezTo>
                    <a:pt x="645" y="260"/>
                    <a:pt x="645" y="260"/>
                    <a:pt x="645" y="260"/>
                  </a:cubicBezTo>
                  <a:cubicBezTo>
                    <a:pt x="620" y="276"/>
                    <a:pt x="620" y="276"/>
                    <a:pt x="620" y="276"/>
                  </a:cubicBezTo>
                  <a:cubicBezTo>
                    <a:pt x="616" y="269"/>
                    <a:pt x="616" y="269"/>
                    <a:pt x="616" y="269"/>
                  </a:cubicBezTo>
                  <a:cubicBezTo>
                    <a:pt x="641" y="254"/>
                    <a:pt x="641" y="254"/>
                    <a:pt x="641" y="254"/>
                  </a:cubicBezTo>
                  <a:close/>
                  <a:moveTo>
                    <a:pt x="662" y="290"/>
                  </a:moveTo>
                  <a:cubicBezTo>
                    <a:pt x="660" y="287"/>
                    <a:pt x="659" y="286"/>
                    <a:pt x="657" y="285"/>
                  </a:cubicBezTo>
                  <a:cubicBezTo>
                    <a:pt x="655" y="284"/>
                    <a:pt x="653" y="285"/>
                    <a:pt x="651" y="286"/>
                  </a:cubicBezTo>
                  <a:cubicBezTo>
                    <a:pt x="659" y="305"/>
                    <a:pt x="659" y="305"/>
                    <a:pt x="659" y="305"/>
                  </a:cubicBezTo>
                  <a:cubicBezTo>
                    <a:pt x="654" y="307"/>
                    <a:pt x="654" y="307"/>
                    <a:pt x="654" y="307"/>
                  </a:cubicBezTo>
                  <a:cubicBezTo>
                    <a:pt x="645" y="288"/>
                    <a:pt x="645" y="288"/>
                    <a:pt x="645" y="288"/>
                  </a:cubicBezTo>
                  <a:cubicBezTo>
                    <a:pt x="642" y="290"/>
                    <a:pt x="641" y="291"/>
                    <a:pt x="640" y="293"/>
                  </a:cubicBezTo>
                  <a:cubicBezTo>
                    <a:pt x="639" y="295"/>
                    <a:pt x="639" y="297"/>
                    <a:pt x="641" y="300"/>
                  </a:cubicBezTo>
                  <a:cubicBezTo>
                    <a:pt x="646" y="311"/>
                    <a:pt x="646" y="311"/>
                    <a:pt x="646" y="311"/>
                  </a:cubicBezTo>
                  <a:cubicBezTo>
                    <a:pt x="640" y="313"/>
                    <a:pt x="640" y="313"/>
                    <a:pt x="640" y="313"/>
                  </a:cubicBezTo>
                  <a:cubicBezTo>
                    <a:pt x="635" y="302"/>
                    <a:pt x="635" y="302"/>
                    <a:pt x="635" y="302"/>
                  </a:cubicBezTo>
                  <a:cubicBezTo>
                    <a:pt x="634" y="299"/>
                    <a:pt x="633" y="297"/>
                    <a:pt x="633" y="296"/>
                  </a:cubicBezTo>
                  <a:cubicBezTo>
                    <a:pt x="633" y="294"/>
                    <a:pt x="633" y="292"/>
                    <a:pt x="633" y="291"/>
                  </a:cubicBezTo>
                  <a:cubicBezTo>
                    <a:pt x="634" y="288"/>
                    <a:pt x="635" y="286"/>
                    <a:pt x="637" y="284"/>
                  </a:cubicBezTo>
                  <a:cubicBezTo>
                    <a:pt x="638" y="283"/>
                    <a:pt x="641" y="281"/>
                    <a:pt x="644" y="280"/>
                  </a:cubicBezTo>
                  <a:cubicBezTo>
                    <a:pt x="649" y="277"/>
                    <a:pt x="654" y="276"/>
                    <a:pt x="658" y="277"/>
                  </a:cubicBezTo>
                  <a:cubicBezTo>
                    <a:pt x="662" y="279"/>
                    <a:pt x="665" y="282"/>
                    <a:pt x="667" y="287"/>
                  </a:cubicBezTo>
                  <a:cubicBezTo>
                    <a:pt x="672" y="298"/>
                    <a:pt x="672" y="298"/>
                    <a:pt x="672" y="298"/>
                  </a:cubicBezTo>
                  <a:cubicBezTo>
                    <a:pt x="667" y="301"/>
                    <a:pt x="667" y="301"/>
                    <a:pt x="667" y="301"/>
                  </a:cubicBezTo>
                  <a:cubicBezTo>
                    <a:pt x="662" y="290"/>
                    <a:pt x="662" y="290"/>
                    <a:pt x="662" y="290"/>
                  </a:cubicBezTo>
                  <a:close/>
                  <a:moveTo>
                    <a:pt x="675" y="325"/>
                  </a:moveTo>
                  <a:cubicBezTo>
                    <a:pt x="674" y="322"/>
                    <a:pt x="672" y="320"/>
                    <a:pt x="670" y="319"/>
                  </a:cubicBezTo>
                  <a:cubicBezTo>
                    <a:pt x="668" y="319"/>
                    <a:pt x="665" y="319"/>
                    <a:pt x="660" y="320"/>
                  </a:cubicBezTo>
                  <a:cubicBezTo>
                    <a:pt x="657" y="322"/>
                    <a:pt x="654" y="323"/>
                    <a:pt x="653" y="325"/>
                  </a:cubicBezTo>
                  <a:cubicBezTo>
                    <a:pt x="652" y="327"/>
                    <a:pt x="652" y="329"/>
                    <a:pt x="653" y="332"/>
                  </a:cubicBezTo>
                  <a:cubicBezTo>
                    <a:pt x="657" y="344"/>
                    <a:pt x="657" y="344"/>
                    <a:pt x="657" y="344"/>
                  </a:cubicBezTo>
                  <a:cubicBezTo>
                    <a:pt x="651" y="346"/>
                    <a:pt x="651" y="346"/>
                    <a:pt x="651" y="346"/>
                  </a:cubicBezTo>
                  <a:cubicBezTo>
                    <a:pt x="647" y="334"/>
                    <a:pt x="647" y="334"/>
                    <a:pt x="647" y="334"/>
                  </a:cubicBezTo>
                  <a:cubicBezTo>
                    <a:pt x="646" y="331"/>
                    <a:pt x="646" y="329"/>
                    <a:pt x="646" y="327"/>
                  </a:cubicBezTo>
                  <a:cubicBezTo>
                    <a:pt x="646" y="326"/>
                    <a:pt x="646" y="324"/>
                    <a:pt x="647" y="322"/>
                  </a:cubicBezTo>
                  <a:cubicBezTo>
                    <a:pt x="647" y="320"/>
                    <a:pt x="649" y="318"/>
                    <a:pt x="651" y="316"/>
                  </a:cubicBezTo>
                  <a:cubicBezTo>
                    <a:pt x="653" y="315"/>
                    <a:pt x="655" y="314"/>
                    <a:pt x="658" y="313"/>
                  </a:cubicBezTo>
                  <a:cubicBezTo>
                    <a:pt x="664" y="311"/>
                    <a:pt x="669" y="310"/>
                    <a:pt x="673" y="312"/>
                  </a:cubicBezTo>
                  <a:cubicBezTo>
                    <a:pt x="676" y="314"/>
                    <a:pt x="679" y="317"/>
                    <a:pt x="681" y="323"/>
                  </a:cubicBezTo>
                  <a:cubicBezTo>
                    <a:pt x="684" y="335"/>
                    <a:pt x="684" y="335"/>
                    <a:pt x="684" y="335"/>
                  </a:cubicBezTo>
                  <a:cubicBezTo>
                    <a:pt x="679" y="337"/>
                    <a:pt x="679" y="337"/>
                    <a:pt x="679" y="337"/>
                  </a:cubicBezTo>
                  <a:cubicBezTo>
                    <a:pt x="675" y="325"/>
                    <a:pt x="675" y="325"/>
                    <a:pt x="675" y="325"/>
                  </a:cubicBezTo>
                  <a:close/>
                  <a:moveTo>
                    <a:pt x="689" y="352"/>
                  </a:moveTo>
                  <a:cubicBezTo>
                    <a:pt x="675" y="354"/>
                    <a:pt x="675" y="354"/>
                    <a:pt x="675" y="354"/>
                  </a:cubicBezTo>
                  <a:cubicBezTo>
                    <a:pt x="677" y="368"/>
                    <a:pt x="677" y="368"/>
                    <a:pt x="677" y="368"/>
                  </a:cubicBezTo>
                  <a:cubicBezTo>
                    <a:pt x="691" y="365"/>
                    <a:pt x="691" y="365"/>
                    <a:pt x="691" y="365"/>
                  </a:cubicBezTo>
                  <a:cubicBezTo>
                    <a:pt x="692" y="373"/>
                    <a:pt x="692" y="373"/>
                    <a:pt x="692" y="373"/>
                  </a:cubicBezTo>
                  <a:cubicBezTo>
                    <a:pt x="658" y="379"/>
                    <a:pt x="658" y="379"/>
                    <a:pt x="658" y="379"/>
                  </a:cubicBezTo>
                  <a:cubicBezTo>
                    <a:pt x="656" y="372"/>
                    <a:pt x="656" y="372"/>
                    <a:pt x="656" y="372"/>
                  </a:cubicBezTo>
                  <a:cubicBezTo>
                    <a:pt x="671" y="369"/>
                    <a:pt x="671" y="369"/>
                    <a:pt x="671" y="369"/>
                  </a:cubicBezTo>
                  <a:cubicBezTo>
                    <a:pt x="669" y="355"/>
                    <a:pt x="669" y="355"/>
                    <a:pt x="669" y="355"/>
                  </a:cubicBezTo>
                  <a:cubicBezTo>
                    <a:pt x="654" y="358"/>
                    <a:pt x="654" y="358"/>
                    <a:pt x="654" y="358"/>
                  </a:cubicBezTo>
                  <a:cubicBezTo>
                    <a:pt x="653" y="351"/>
                    <a:pt x="653" y="351"/>
                    <a:pt x="653" y="351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9" y="352"/>
                    <a:pt x="689" y="352"/>
                    <a:pt x="689" y="352"/>
                  </a:cubicBezTo>
                  <a:close/>
                  <a:moveTo>
                    <a:pt x="695" y="386"/>
                  </a:moveTo>
                  <a:cubicBezTo>
                    <a:pt x="695" y="396"/>
                    <a:pt x="695" y="396"/>
                    <a:pt x="695" y="396"/>
                  </a:cubicBezTo>
                  <a:cubicBezTo>
                    <a:pt x="670" y="411"/>
                    <a:pt x="670" y="411"/>
                    <a:pt x="670" y="411"/>
                  </a:cubicBezTo>
                  <a:cubicBezTo>
                    <a:pt x="695" y="410"/>
                    <a:pt x="695" y="410"/>
                    <a:pt x="695" y="410"/>
                  </a:cubicBezTo>
                  <a:cubicBezTo>
                    <a:pt x="695" y="418"/>
                    <a:pt x="695" y="418"/>
                    <a:pt x="695" y="418"/>
                  </a:cubicBezTo>
                  <a:cubicBezTo>
                    <a:pt x="660" y="419"/>
                    <a:pt x="660" y="419"/>
                    <a:pt x="660" y="419"/>
                  </a:cubicBezTo>
                  <a:cubicBezTo>
                    <a:pt x="660" y="410"/>
                    <a:pt x="660" y="410"/>
                    <a:pt x="660" y="410"/>
                  </a:cubicBezTo>
                  <a:cubicBezTo>
                    <a:pt x="686" y="394"/>
                    <a:pt x="686" y="394"/>
                    <a:pt x="686" y="394"/>
                  </a:cubicBezTo>
                  <a:cubicBezTo>
                    <a:pt x="660" y="395"/>
                    <a:pt x="660" y="395"/>
                    <a:pt x="660" y="395"/>
                  </a:cubicBezTo>
                  <a:cubicBezTo>
                    <a:pt x="659" y="387"/>
                    <a:pt x="659" y="387"/>
                    <a:pt x="659" y="387"/>
                  </a:cubicBezTo>
                  <a:cubicBezTo>
                    <a:pt x="695" y="386"/>
                    <a:pt x="695" y="386"/>
                    <a:pt x="695" y="386"/>
                  </a:cubicBezTo>
                  <a:close/>
                  <a:moveTo>
                    <a:pt x="677" y="425"/>
                  </a:moveTo>
                  <a:cubicBezTo>
                    <a:pt x="683" y="426"/>
                    <a:pt x="688" y="428"/>
                    <a:pt x="690" y="431"/>
                  </a:cubicBezTo>
                  <a:cubicBezTo>
                    <a:pt x="693" y="434"/>
                    <a:pt x="694" y="439"/>
                    <a:pt x="693" y="445"/>
                  </a:cubicBezTo>
                  <a:cubicBezTo>
                    <a:pt x="692" y="451"/>
                    <a:pt x="690" y="455"/>
                    <a:pt x="687" y="458"/>
                  </a:cubicBezTo>
                  <a:cubicBezTo>
                    <a:pt x="684" y="460"/>
                    <a:pt x="679" y="461"/>
                    <a:pt x="673" y="460"/>
                  </a:cubicBezTo>
                  <a:cubicBezTo>
                    <a:pt x="667" y="459"/>
                    <a:pt x="662" y="457"/>
                    <a:pt x="660" y="454"/>
                  </a:cubicBezTo>
                  <a:cubicBezTo>
                    <a:pt x="657" y="451"/>
                    <a:pt x="656" y="446"/>
                    <a:pt x="657" y="440"/>
                  </a:cubicBezTo>
                  <a:cubicBezTo>
                    <a:pt x="657" y="434"/>
                    <a:pt x="659" y="430"/>
                    <a:pt x="663" y="427"/>
                  </a:cubicBezTo>
                  <a:cubicBezTo>
                    <a:pt x="666" y="425"/>
                    <a:pt x="671" y="424"/>
                    <a:pt x="677" y="425"/>
                  </a:cubicBezTo>
                  <a:close/>
                  <a:moveTo>
                    <a:pt x="687" y="444"/>
                  </a:moveTo>
                  <a:cubicBezTo>
                    <a:pt x="687" y="447"/>
                    <a:pt x="685" y="450"/>
                    <a:pt x="683" y="451"/>
                  </a:cubicBezTo>
                  <a:cubicBezTo>
                    <a:pt x="681" y="452"/>
                    <a:pt x="678" y="453"/>
                    <a:pt x="674" y="452"/>
                  </a:cubicBezTo>
                  <a:cubicBezTo>
                    <a:pt x="670" y="452"/>
                    <a:pt x="667" y="450"/>
                    <a:pt x="665" y="449"/>
                  </a:cubicBezTo>
                  <a:cubicBezTo>
                    <a:pt x="663" y="447"/>
                    <a:pt x="662" y="444"/>
                    <a:pt x="663" y="441"/>
                  </a:cubicBezTo>
                  <a:cubicBezTo>
                    <a:pt x="663" y="438"/>
                    <a:pt x="664" y="435"/>
                    <a:pt x="667" y="434"/>
                  </a:cubicBezTo>
                  <a:cubicBezTo>
                    <a:pt x="669" y="433"/>
                    <a:pt x="672" y="432"/>
                    <a:pt x="676" y="433"/>
                  </a:cubicBezTo>
                  <a:cubicBezTo>
                    <a:pt x="680" y="433"/>
                    <a:pt x="683" y="435"/>
                    <a:pt x="685" y="436"/>
                  </a:cubicBezTo>
                  <a:cubicBezTo>
                    <a:pt x="687" y="438"/>
                    <a:pt x="687" y="441"/>
                    <a:pt x="687" y="444"/>
                  </a:cubicBezTo>
                  <a:close/>
                  <a:moveTo>
                    <a:pt x="651" y="478"/>
                  </a:moveTo>
                  <a:cubicBezTo>
                    <a:pt x="652" y="474"/>
                    <a:pt x="653" y="472"/>
                    <a:pt x="654" y="471"/>
                  </a:cubicBezTo>
                  <a:cubicBezTo>
                    <a:pt x="655" y="469"/>
                    <a:pt x="656" y="468"/>
                    <a:pt x="658" y="467"/>
                  </a:cubicBezTo>
                  <a:cubicBezTo>
                    <a:pt x="659" y="466"/>
                    <a:pt x="661" y="466"/>
                    <a:pt x="662" y="465"/>
                  </a:cubicBezTo>
                  <a:cubicBezTo>
                    <a:pt x="664" y="465"/>
                    <a:pt x="666" y="466"/>
                    <a:pt x="669" y="466"/>
                  </a:cubicBezTo>
                  <a:cubicBezTo>
                    <a:pt x="689" y="471"/>
                    <a:pt x="689" y="471"/>
                    <a:pt x="689" y="471"/>
                  </a:cubicBezTo>
                  <a:cubicBezTo>
                    <a:pt x="687" y="478"/>
                    <a:pt x="687" y="478"/>
                    <a:pt x="687" y="478"/>
                  </a:cubicBezTo>
                  <a:cubicBezTo>
                    <a:pt x="667" y="474"/>
                    <a:pt x="667" y="474"/>
                    <a:pt x="667" y="474"/>
                  </a:cubicBezTo>
                  <a:cubicBezTo>
                    <a:pt x="665" y="473"/>
                    <a:pt x="664" y="473"/>
                    <a:pt x="663" y="473"/>
                  </a:cubicBezTo>
                  <a:cubicBezTo>
                    <a:pt x="662" y="473"/>
                    <a:pt x="661" y="473"/>
                    <a:pt x="661" y="473"/>
                  </a:cubicBezTo>
                  <a:cubicBezTo>
                    <a:pt x="660" y="474"/>
                    <a:pt x="659" y="475"/>
                    <a:pt x="658" y="475"/>
                  </a:cubicBezTo>
                  <a:cubicBezTo>
                    <a:pt x="658" y="476"/>
                    <a:pt x="657" y="478"/>
                    <a:pt x="657" y="480"/>
                  </a:cubicBezTo>
                  <a:cubicBezTo>
                    <a:pt x="655" y="488"/>
                    <a:pt x="655" y="488"/>
                    <a:pt x="655" y="488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651" y="478"/>
                    <a:pt x="651" y="478"/>
                    <a:pt x="651" y="478"/>
                  </a:cubicBezTo>
                  <a:close/>
                  <a:moveTo>
                    <a:pt x="667" y="494"/>
                  </a:moveTo>
                  <a:cubicBezTo>
                    <a:pt x="672" y="496"/>
                    <a:pt x="676" y="499"/>
                    <a:pt x="678" y="503"/>
                  </a:cubicBezTo>
                  <a:cubicBezTo>
                    <a:pt x="679" y="507"/>
                    <a:pt x="679" y="512"/>
                    <a:pt x="677" y="517"/>
                  </a:cubicBezTo>
                  <a:cubicBezTo>
                    <a:pt x="675" y="523"/>
                    <a:pt x="671" y="526"/>
                    <a:pt x="668" y="528"/>
                  </a:cubicBezTo>
                  <a:cubicBezTo>
                    <a:pt x="664" y="529"/>
                    <a:pt x="659" y="529"/>
                    <a:pt x="653" y="527"/>
                  </a:cubicBezTo>
                  <a:cubicBezTo>
                    <a:pt x="647" y="524"/>
                    <a:pt x="644" y="521"/>
                    <a:pt x="642" y="517"/>
                  </a:cubicBezTo>
                  <a:cubicBezTo>
                    <a:pt x="640" y="513"/>
                    <a:pt x="641" y="509"/>
                    <a:pt x="643" y="503"/>
                  </a:cubicBezTo>
                  <a:cubicBezTo>
                    <a:pt x="645" y="497"/>
                    <a:pt x="648" y="494"/>
                    <a:pt x="652" y="492"/>
                  </a:cubicBezTo>
                  <a:cubicBezTo>
                    <a:pt x="656" y="491"/>
                    <a:pt x="661" y="491"/>
                    <a:pt x="667" y="494"/>
                  </a:cubicBezTo>
                  <a:close/>
                  <a:moveTo>
                    <a:pt x="671" y="515"/>
                  </a:moveTo>
                  <a:cubicBezTo>
                    <a:pt x="670" y="518"/>
                    <a:pt x="668" y="520"/>
                    <a:pt x="666" y="520"/>
                  </a:cubicBezTo>
                  <a:cubicBezTo>
                    <a:pt x="663" y="521"/>
                    <a:pt x="660" y="521"/>
                    <a:pt x="656" y="519"/>
                  </a:cubicBezTo>
                  <a:cubicBezTo>
                    <a:pt x="652" y="517"/>
                    <a:pt x="650" y="516"/>
                    <a:pt x="649" y="513"/>
                  </a:cubicBezTo>
                  <a:cubicBezTo>
                    <a:pt x="647" y="511"/>
                    <a:pt x="647" y="508"/>
                    <a:pt x="648" y="505"/>
                  </a:cubicBezTo>
                  <a:cubicBezTo>
                    <a:pt x="650" y="502"/>
                    <a:pt x="651" y="500"/>
                    <a:pt x="654" y="500"/>
                  </a:cubicBezTo>
                  <a:cubicBezTo>
                    <a:pt x="656" y="499"/>
                    <a:pt x="660" y="500"/>
                    <a:pt x="664" y="501"/>
                  </a:cubicBezTo>
                  <a:cubicBezTo>
                    <a:pt x="667" y="503"/>
                    <a:pt x="670" y="505"/>
                    <a:pt x="671" y="507"/>
                  </a:cubicBezTo>
                  <a:cubicBezTo>
                    <a:pt x="672" y="509"/>
                    <a:pt x="672" y="512"/>
                    <a:pt x="671" y="515"/>
                  </a:cubicBezTo>
                  <a:close/>
                  <a:moveTo>
                    <a:pt x="641" y="544"/>
                  </a:moveTo>
                  <a:cubicBezTo>
                    <a:pt x="646" y="547"/>
                    <a:pt x="646" y="547"/>
                    <a:pt x="646" y="547"/>
                  </a:cubicBezTo>
                  <a:cubicBezTo>
                    <a:pt x="637" y="562"/>
                    <a:pt x="637" y="562"/>
                    <a:pt x="637" y="562"/>
                  </a:cubicBezTo>
                  <a:cubicBezTo>
                    <a:pt x="619" y="552"/>
                    <a:pt x="619" y="552"/>
                    <a:pt x="619" y="552"/>
                  </a:cubicBezTo>
                  <a:cubicBezTo>
                    <a:pt x="628" y="538"/>
                    <a:pt x="628" y="538"/>
                    <a:pt x="628" y="538"/>
                  </a:cubicBezTo>
                  <a:cubicBezTo>
                    <a:pt x="629" y="535"/>
                    <a:pt x="631" y="533"/>
                    <a:pt x="632" y="532"/>
                  </a:cubicBezTo>
                  <a:cubicBezTo>
                    <a:pt x="633" y="531"/>
                    <a:pt x="634" y="530"/>
                    <a:pt x="636" y="530"/>
                  </a:cubicBezTo>
                  <a:cubicBezTo>
                    <a:pt x="638" y="529"/>
                    <a:pt x="641" y="529"/>
                    <a:pt x="643" y="529"/>
                  </a:cubicBezTo>
                  <a:cubicBezTo>
                    <a:pt x="645" y="529"/>
                    <a:pt x="648" y="530"/>
                    <a:pt x="651" y="532"/>
                  </a:cubicBezTo>
                  <a:cubicBezTo>
                    <a:pt x="656" y="535"/>
                    <a:pt x="659" y="539"/>
                    <a:pt x="661" y="543"/>
                  </a:cubicBezTo>
                  <a:cubicBezTo>
                    <a:pt x="662" y="547"/>
                    <a:pt x="661" y="551"/>
                    <a:pt x="658" y="556"/>
                  </a:cubicBezTo>
                  <a:cubicBezTo>
                    <a:pt x="650" y="570"/>
                    <a:pt x="650" y="570"/>
                    <a:pt x="650" y="570"/>
                  </a:cubicBezTo>
                  <a:cubicBezTo>
                    <a:pt x="644" y="567"/>
                    <a:pt x="644" y="567"/>
                    <a:pt x="644" y="567"/>
                  </a:cubicBezTo>
                  <a:cubicBezTo>
                    <a:pt x="653" y="553"/>
                    <a:pt x="653" y="553"/>
                    <a:pt x="653" y="553"/>
                  </a:cubicBezTo>
                  <a:cubicBezTo>
                    <a:pt x="654" y="550"/>
                    <a:pt x="654" y="548"/>
                    <a:pt x="654" y="546"/>
                  </a:cubicBezTo>
                  <a:cubicBezTo>
                    <a:pt x="653" y="544"/>
                    <a:pt x="650" y="542"/>
                    <a:pt x="647" y="539"/>
                  </a:cubicBezTo>
                  <a:cubicBezTo>
                    <a:pt x="644" y="537"/>
                    <a:pt x="641" y="537"/>
                    <a:pt x="639" y="537"/>
                  </a:cubicBezTo>
                  <a:cubicBezTo>
                    <a:pt x="636" y="537"/>
                    <a:pt x="635" y="538"/>
                    <a:pt x="633" y="541"/>
                  </a:cubicBezTo>
                  <a:cubicBezTo>
                    <a:pt x="629" y="548"/>
                    <a:pt x="629" y="548"/>
                    <a:pt x="629" y="548"/>
                  </a:cubicBezTo>
                  <a:cubicBezTo>
                    <a:pt x="636" y="553"/>
                    <a:pt x="636" y="553"/>
                    <a:pt x="636" y="553"/>
                  </a:cubicBezTo>
                  <a:cubicBezTo>
                    <a:pt x="641" y="544"/>
                    <a:pt x="641" y="544"/>
                    <a:pt x="641" y="544"/>
                  </a:cubicBezTo>
                  <a:close/>
                  <a:moveTo>
                    <a:pt x="648" y="574"/>
                  </a:moveTo>
                  <a:cubicBezTo>
                    <a:pt x="643" y="581"/>
                    <a:pt x="643" y="581"/>
                    <a:pt x="643" y="581"/>
                  </a:cubicBezTo>
                  <a:cubicBezTo>
                    <a:pt x="627" y="580"/>
                    <a:pt x="627" y="580"/>
                    <a:pt x="627" y="580"/>
                  </a:cubicBezTo>
                  <a:cubicBezTo>
                    <a:pt x="632" y="595"/>
                    <a:pt x="632" y="595"/>
                    <a:pt x="632" y="595"/>
                  </a:cubicBezTo>
                  <a:cubicBezTo>
                    <a:pt x="627" y="602"/>
                    <a:pt x="627" y="602"/>
                    <a:pt x="627" y="602"/>
                  </a:cubicBezTo>
                  <a:cubicBezTo>
                    <a:pt x="619" y="579"/>
                    <a:pt x="619" y="579"/>
                    <a:pt x="619" y="579"/>
                  </a:cubicBezTo>
                  <a:cubicBezTo>
                    <a:pt x="607" y="570"/>
                    <a:pt x="607" y="570"/>
                    <a:pt x="607" y="570"/>
                  </a:cubicBezTo>
                  <a:cubicBezTo>
                    <a:pt x="611" y="564"/>
                    <a:pt x="611" y="564"/>
                    <a:pt x="611" y="564"/>
                  </a:cubicBezTo>
                  <a:cubicBezTo>
                    <a:pt x="624" y="573"/>
                    <a:pt x="624" y="573"/>
                    <a:pt x="624" y="573"/>
                  </a:cubicBezTo>
                  <a:cubicBezTo>
                    <a:pt x="648" y="574"/>
                    <a:pt x="648" y="574"/>
                    <a:pt x="648" y="574"/>
                  </a:cubicBezTo>
                  <a:close/>
                  <a:moveTo>
                    <a:pt x="264" y="535"/>
                  </a:moveTo>
                  <a:cubicBezTo>
                    <a:pt x="392" y="535"/>
                    <a:pt x="392" y="535"/>
                    <a:pt x="392" y="535"/>
                  </a:cubicBezTo>
                  <a:cubicBezTo>
                    <a:pt x="401" y="536"/>
                    <a:pt x="400" y="566"/>
                    <a:pt x="392" y="565"/>
                  </a:cubicBezTo>
                  <a:cubicBezTo>
                    <a:pt x="264" y="565"/>
                    <a:pt x="264" y="565"/>
                    <a:pt x="264" y="565"/>
                  </a:cubicBezTo>
                  <a:cubicBezTo>
                    <a:pt x="275" y="565"/>
                    <a:pt x="276" y="536"/>
                    <a:pt x="264" y="535"/>
                  </a:cubicBezTo>
                  <a:close/>
                  <a:moveTo>
                    <a:pt x="550" y="535"/>
                  </a:moveTo>
                  <a:cubicBezTo>
                    <a:pt x="538" y="536"/>
                    <a:pt x="539" y="565"/>
                    <a:pt x="550" y="565"/>
                  </a:cubicBezTo>
                  <a:cubicBezTo>
                    <a:pt x="421" y="565"/>
                    <a:pt x="421" y="565"/>
                    <a:pt x="421" y="565"/>
                  </a:cubicBezTo>
                  <a:cubicBezTo>
                    <a:pt x="413" y="566"/>
                    <a:pt x="412" y="536"/>
                    <a:pt x="421" y="535"/>
                  </a:cubicBezTo>
                  <a:cubicBezTo>
                    <a:pt x="550" y="535"/>
                    <a:pt x="550" y="535"/>
                    <a:pt x="550" y="535"/>
                  </a:cubicBezTo>
                  <a:close/>
                  <a:moveTo>
                    <a:pt x="495" y="212"/>
                  </a:moveTo>
                  <a:cubicBezTo>
                    <a:pt x="495" y="260"/>
                    <a:pt x="495" y="260"/>
                    <a:pt x="495" y="260"/>
                  </a:cubicBezTo>
                  <a:cubicBezTo>
                    <a:pt x="481" y="257"/>
                    <a:pt x="469" y="266"/>
                    <a:pt x="462" y="280"/>
                  </a:cubicBezTo>
                  <a:cubicBezTo>
                    <a:pt x="462" y="449"/>
                    <a:pt x="462" y="449"/>
                    <a:pt x="462" y="449"/>
                  </a:cubicBezTo>
                  <a:cubicBezTo>
                    <a:pt x="493" y="439"/>
                    <a:pt x="510" y="421"/>
                    <a:pt x="516" y="396"/>
                  </a:cubicBezTo>
                  <a:cubicBezTo>
                    <a:pt x="519" y="389"/>
                    <a:pt x="519" y="377"/>
                    <a:pt x="514" y="358"/>
                  </a:cubicBezTo>
                  <a:cubicBezTo>
                    <a:pt x="501" y="332"/>
                    <a:pt x="486" y="324"/>
                    <a:pt x="477" y="327"/>
                  </a:cubicBezTo>
                  <a:cubicBezTo>
                    <a:pt x="477" y="278"/>
                    <a:pt x="477" y="278"/>
                    <a:pt x="477" y="278"/>
                  </a:cubicBezTo>
                  <a:cubicBezTo>
                    <a:pt x="516" y="281"/>
                    <a:pt x="552" y="305"/>
                    <a:pt x="562" y="357"/>
                  </a:cubicBezTo>
                  <a:cubicBezTo>
                    <a:pt x="570" y="390"/>
                    <a:pt x="562" y="422"/>
                    <a:pt x="545" y="449"/>
                  </a:cubicBezTo>
                  <a:cubicBezTo>
                    <a:pt x="523" y="472"/>
                    <a:pt x="499" y="491"/>
                    <a:pt x="462" y="497"/>
                  </a:cubicBezTo>
                  <a:cubicBezTo>
                    <a:pt x="462" y="514"/>
                    <a:pt x="462" y="514"/>
                    <a:pt x="462" y="514"/>
                  </a:cubicBezTo>
                  <a:cubicBezTo>
                    <a:pt x="413" y="514"/>
                    <a:pt x="413" y="514"/>
                    <a:pt x="413" y="514"/>
                  </a:cubicBezTo>
                  <a:cubicBezTo>
                    <a:pt x="413" y="274"/>
                    <a:pt x="413" y="274"/>
                    <a:pt x="413" y="274"/>
                  </a:cubicBezTo>
                  <a:cubicBezTo>
                    <a:pt x="425" y="233"/>
                    <a:pt x="453" y="213"/>
                    <a:pt x="495" y="212"/>
                  </a:cubicBezTo>
                  <a:close/>
                  <a:moveTo>
                    <a:pt x="316" y="212"/>
                  </a:moveTo>
                  <a:cubicBezTo>
                    <a:pt x="358" y="213"/>
                    <a:pt x="386" y="233"/>
                    <a:pt x="398" y="274"/>
                  </a:cubicBezTo>
                  <a:cubicBezTo>
                    <a:pt x="398" y="514"/>
                    <a:pt x="398" y="514"/>
                    <a:pt x="398" y="514"/>
                  </a:cubicBezTo>
                  <a:cubicBezTo>
                    <a:pt x="349" y="514"/>
                    <a:pt x="349" y="514"/>
                    <a:pt x="349" y="514"/>
                  </a:cubicBezTo>
                  <a:cubicBezTo>
                    <a:pt x="349" y="497"/>
                    <a:pt x="349" y="497"/>
                    <a:pt x="349" y="497"/>
                  </a:cubicBezTo>
                  <a:cubicBezTo>
                    <a:pt x="312" y="491"/>
                    <a:pt x="288" y="472"/>
                    <a:pt x="267" y="449"/>
                  </a:cubicBezTo>
                  <a:cubicBezTo>
                    <a:pt x="249" y="422"/>
                    <a:pt x="241" y="390"/>
                    <a:pt x="249" y="357"/>
                  </a:cubicBezTo>
                  <a:cubicBezTo>
                    <a:pt x="259" y="305"/>
                    <a:pt x="295" y="281"/>
                    <a:pt x="334" y="278"/>
                  </a:cubicBezTo>
                  <a:cubicBezTo>
                    <a:pt x="334" y="327"/>
                    <a:pt x="334" y="327"/>
                    <a:pt x="334" y="327"/>
                  </a:cubicBezTo>
                  <a:cubicBezTo>
                    <a:pt x="325" y="324"/>
                    <a:pt x="310" y="332"/>
                    <a:pt x="297" y="358"/>
                  </a:cubicBezTo>
                  <a:cubicBezTo>
                    <a:pt x="292" y="377"/>
                    <a:pt x="292" y="389"/>
                    <a:pt x="295" y="396"/>
                  </a:cubicBezTo>
                  <a:cubicBezTo>
                    <a:pt x="302" y="421"/>
                    <a:pt x="318" y="439"/>
                    <a:pt x="349" y="449"/>
                  </a:cubicBezTo>
                  <a:cubicBezTo>
                    <a:pt x="349" y="280"/>
                    <a:pt x="349" y="280"/>
                    <a:pt x="349" y="280"/>
                  </a:cubicBezTo>
                  <a:cubicBezTo>
                    <a:pt x="343" y="266"/>
                    <a:pt x="330" y="257"/>
                    <a:pt x="316" y="260"/>
                  </a:cubicBezTo>
                  <a:cubicBezTo>
                    <a:pt x="316" y="212"/>
                    <a:pt x="316" y="212"/>
                    <a:pt x="316" y="212"/>
                  </a:cubicBezTo>
                  <a:close/>
                  <a:moveTo>
                    <a:pt x="249" y="587"/>
                  </a:moveTo>
                  <a:cubicBezTo>
                    <a:pt x="567" y="587"/>
                    <a:pt x="567" y="587"/>
                    <a:pt x="567" y="587"/>
                  </a:cubicBezTo>
                  <a:cubicBezTo>
                    <a:pt x="567" y="615"/>
                    <a:pt x="567" y="615"/>
                    <a:pt x="567" y="615"/>
                  </a:cubicBezTo>
                  <a:cubicBezTo>
                    <a:pt x="249" y="615"/>
                    <a:pt x="249" y="615"/>
                    <a:pt x="249" y="615"/>
                  </a:cubicBezTo>
                  <a:lnTo>
                    <a:pt x="249" y="5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99451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4D9D04-5E84-4DE1-A941-80BEF7B1C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6DAEDB1-D1A8-4325-B69C-6A6B7F3B9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E085EE-8604-414A-A038-FE50D08C3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6FAFE71A-F6FC-413C-A9D9-06417682F5B5}"/>
              </a:ext>
            </a:extLst>
          </p:cNvPr>
          <p:cNvCxnSpPr/>
          <p:nvPr/>
        </p:nvCxnSpPr>
        <p:spPr>
          <a:xfrm>
            <a:off x="2586000" y="1125538"/>
            <a:ext cx="0" cy="5018087"/>
          </a:xfrm>
          <a:prstGeom prst="line">
            <a:avLst/>
          </a:prstGeom>
          <a:ln w="317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íS1ïdè">
            <a:extLst>
              <a:ext uri="{FF2B5EF4-FFF2-40B4-BE49-F238E27FC236}">
                <a16:creationId xmlns:a16="http://schemas.microsoft.com/office/drawing/2014/main" id="{BF5338BA-BE7D-4792-A5B2-C323207B69E2}"/>
              </a:ext>
            </a:extLst>
          </p:cNvPr>
          <p:cNvSpPr/>
          <p:nvPr/>
        </p:nvSpPr>
        <p:spPr bwMode="auto">
          <a:xfrm>
            <a:off x="3077477" y="1949238"/>
            <a:ext cx="1845000" cy="1845000"/>
          </a:xfrm>
          <a:prstGeom prst="ellipse">
            <a:avLst/>
          </a:prstGeom>
          <a:blipFill>
            <a:blip r:embed="rId3"/>
            <a:srcRect/>
            <a:stretch>
              <a:fillRect l="-38889" r="-38889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3" name="îsḷïďé">
            <a:extLst>
              <a:ext uri="{FF2B5EF4-FFF2-40B4-BE49-F238E27FC236}">
                <a16:creationId xmlns:a16="http://schemas.microsoft.com/office/drawing/2014/main" id="{E6B40A41-A64E-4843-8D86-CA1C3A8230A2}"/>
              </a:ext>
            </a:extLst>
          </p:cNvPr>
          <p:cNvSpPr/>
          <p:nvPr/>
        </p:nvSpPr>
        <p:spPr bwMode="auto">
          <a:xfrm>
            <a:off x="2811001" y="4591399"/>
            <a:ext cx="2377953" cy="1322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sz="1000" dirty="0"/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/>
              <a:t>Adjust the spacing to adapt to Chinese typesetting, use the reference line in PPT.</a:t>
            </a:r>
            <a:endParaRPr lang="en-US" altLang="zh-CN" sz="1000" dirty="0">
              <a:solidFill>
                <a:srgbClr val="000000"/>
              </a:solidFill>
            </a:endParaRPr>
          </a:p>
        </p:txBody>
      </p:sp>
      <p:sp>
        <p:nvSpPr>
          <p:cNvPr id="24" name="îşḻíḑé">
            <a:extLst>
              <a:ext uri="{FF2B5EF4-FFF2-40B4-BE49-F238E27FC236}">
                <a16:creationId xmlns:a16="http://schemas.microsoft.com/office/drawing/2014/main" id="{62191CFE-6F0D-43B4-9AC4-BFAE2BBED669}"/>
              </a:ext>
            </a:extLst>
          </p:cNvPr>
          <p:cNvSpPr txBox="1"/>
          <p:nvPr/>
        </p:nvSpPr>
        <p:spPr bwMode="auto">
          <a:xfrm>
            <a:off x="2811007" y="4024100"/>
            <a:ext cx="23779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3" name="íŝ1íḑê">
            <a:extLst>
              <a:ext uri="{FF2B5EF4-FFF2-40B4-BE49-F238E27FC236}">
                <a16:creationId xmlns:a16="http://schemas.microsoft.com/office/drawing/2014/main" id="{4559C990-8FB1-4360-8564-EBF63E75CBD6}"/>
              </a:ext>
            </a:extLst>
          </p:cNvPr>
          <p:cNvSpPr/>
          <p:nvPr/>
        </p:nvSpPr>
        <p:spPr bwMode="auto">
          <a:xfrm>
            <a:off x="6243244" y="1949238"/>
            <a:ext cx="1845000" cy="1845000"/>
          </a:xfrm>
          <a:prstGeom prst="ellipse">
            <a:avLst/>
          </a:prstGeom>
          <a:blipFill>
            <a:blip r:embed="rId4"/>
            <a:srcRect/>
            <a:stretch>
              <a:fillRect l="-16667" r="-16667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21" name="iSľîḋé">
            <a:extLst>
              <a:ext uri="{FF2B5EF4-FFF2-40B4-BE49-F238E27FC236}">
                <a16:creationId xmlns:a16="http://schemas.microsoft.com/office/drawing/2014/main" id="{4D74A262-B4AA-457B-A86A-4E605922B26E}"/>
              </a:ext>
            </a:extLst>
          </p:cNvPr>
          <p:cNvSpPr/>
          <p:nvPr/>
        </p:nvSpPr>
        <p:spPr bwMode="auto">
          <a:xfrm>
            <a:off x="5976768" y="4591399"/>
            <a:ext cx="2377953" cy="1322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sz="1050" dirty="0"/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Adjust the spacing to adapt to Chinese typesetting, use the reference line in PPT.</a:t>
            </a:r>
            <a:endParaRPr lang="en-US" altLang="zh-CN" sz="1000" dirty="0">
              <a:solidFill>
                <a:srgbClr val="000000"/>
              </a:solidFill>
            </a:endParaRPr>
          </a:p>
        </p:txBody>
      </p:sp>
      <p:sp>
        <p:nvSpPr>
          <p:cNvPr id="22" name="iṥľîḓé">
            <a:extLst>
              <a:ext uri="{FF2B5EF4-FFF2-40B4-BE49-F238E27FC236}">
                <a16:creationId xmlns:a16="http://schemas.microsoft.com/office/drawing/2014/main" id="{78D5F4A5-864B-4102-8A02-F10F1D11A695}"/>
              </a:ext>
            </a:extLst>
          </p:cNvPr>
          <p:cNvSpPr txBox="1"/>
          <p:nvPr/>
        </p:nvSpPr>
        <p:spPr bwMode="auto">
          <a:xfrm>
            <a:off x="5976774" y="4024100"/>
            <a:ext cx="23779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</a:p>
        </p:txBody>
      </p:sp>
      <p:sp>
        <p:nvSpPr>
          <p:cNvPr id="15" name="íśḻíďê">
            <a:extLst>
              <a:ext uri="{FF2B5EF4-FFF2-40B4-BE49-F238E27FC236}">
                <a16:creationId xmlns:a16="http://schemas.microsoft.com/office/drawing/2014/main" id="{3CBEABB0-E84A-4AE2-A1C3-A78F2F7DAD56}"/>
              </a:ext>
            </a:extLst>
          </p:cNvPr>
          <p:cNvSpPr/>
          <p:nvPr/>
        </p:nvSpPr>
        <p:spPr bwMode="auto">
          <a:xfrm>
            <a:off x="9409011" y="1949238"/>
            <a:ext cx="1845000" cy="1845000"/>
          </a:xfrm>
          <a:prstGeom prst="ellipse">
            <a:avLst/>
          </a:prstGeom>
          <a:blipFill>
            <a:blip r:embed="rId5"/>
            <a:srcRect/>
            <a:stretch>
              <a:fillRect l="-39082" r="-3908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19" name="íŝlíďê">
            <a:extLst>
              <a:ext uri="{FF2B5EF4-FFF2-40B4-BE49-F238E27FC236}">
                <a16:creationId xmlns:a16="http://schemas.microsoft.com/office/drawing/2014/main" id="{78FC9345-F871-4D56-8F08-D1F97B604275}"/>
              </a:ext>
            </a:extLst>
          </p:cNvPr>
          <p:cNvSpPr/>
          <p:nvPr/>
        </p:nvSpPr>
        <p:spPr bwMode="auto">
          <a:xfrm>
            <a:off x="9142535" y="4591399"/>
            <a:ext cx="2377953" cy="1322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sz="1050" dirty="0"/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050" dirty="0"/>
              <a:t>Adjust the spacing to adapt to Chinese typesetting, use the reference line in PPT.</a:t>
            </a:r>
            <a:endParaRPr lang="en-US" altLang="zh-CN" sz="1000" dirty="0">
              <a:solidFill>
                <a:srgbClr val="000000"/>
              </a:solidFill>
            </a:endParaRPr>
          </a:p>
        </p:txBody>
      </p:sp>
      <p:sp>
        <p:nvSpPr>
          <p:cNvPr id="20" name="ïslide">
            <a:extLst>
              <a:ext uri="{FF2B5EF4-FFF2-40B4-BE49-F238E27FC236}">
                <a16:creationId xmlns:a16="http://schemas.microsoft.com/office/drawing/2014/main" id="{C372C68C-EB38-426F-8668-E3EA31B328C6}"/>
              </a:ext>
            </a:extLst>
          </p:cNvPr>
          <p:cNvSpPr txBox="1"/>
          <p:nvPr/>
        </p:nvSpPr>
        <p:spPr bwMode="auto">
          <a:xfrm>
            <a:off x="9142541" y="4024100"/>
            <a:ext cx="23779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DE6B49E0-273C-4374-987C-251AC7B1AA1B}"/>
              </a:ext>
            </a:extLst>
          </p:cNvPr>
          <p:cNvCxnSpPr>
            <a:cxnSpLocks/>
          </p:cNvCxnSpPr>
          <p:nvPr/>
        </p:nvCxnSpPr>
        <p:spPr>
          <a:xfrm>
            <a:off x="5511000" y="4024100"/>
            <a:ext cx="0" cy="158955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06639F14-4FDC-4D3B-81BE-A8689C1110DB}"/>
              </a:ext>
            </a:extLst>
          </p:cNvPr>
          <p:cNvCxnSpPr>
            <a:cxnSpLocks/>
          </p:cNvCxnSpPr>
          <p:nvPr/>
        </p:nvCxnSpPr>
        <p:spPr>
          <a:xfrm>
            <a:off x="8689628" y="4024100"/>
            <a:ext cx="0" cy="158955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îSļiḑe">
            <a:extLst>
              <a:ext uri="{FF2B5EF4-FFF2-40B4-BE49-F238E27FC236}">
                <a16:creationId xmlns:a16="http://schemas.microsoft.com/office/drawing/2014/main" id="{5500410A-327E-450B-A305-B14F436D9E32}"/>
              </a:ext>
            </a:extLst>
          </p:cNvPr>
          <p:cNvSpPr/>
          <p:nvPr/>
        </p:nvSpPr>
        <p:spPr bwMode="auto">
          <a:xfrm>
            <a:off x="754251" y="1683240"/>
            <a:ext cx="176501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000" dirty="0"/>
              <a:t>Copy paste fonts. Choose the only option to retain text</a:t>
            </a:r>
          </a:p>
        </p:txBody>
      </p:sp>
      <p:sp>
        <p:nvSpPr>
          <p:cNvPr id="9" name="ïšḻiďè">
            <a:extLst>
              <a:ext uri="{FF2B5EF4-FFF2-40B4-BE49-F238E27FC236}">
                <a16:creationId xmlns:a16="http://schemas.microsoft.com/office/drawing/2014/main" id="{07CF0864-D4E9-491D-BB79-EE8D6688B117}"/>
              </a:ext>
            </a:extLst>
          </p:cNvPr>
          <p:cNvSpPr txBox="1"/>
          <p:nvPr/>
        </p:nvSpPr>
        <p:spPr bwMode="auto">
          <a:xfrm>
            <a:off x="754251" y="1270360"/>
            <a:ext cx="1765014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9741290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4800" dirty="0">
                <a:solidFill>
                  <a:schemeClr val="accent1"/>
                </a:solidFill>
              </a:rPr>
              <a:t>感谢评委老师批评指正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19.03.20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答辩人：蔡徐坤</a:t>
            </a:r>
            <a:endParaRPr lang="en-US" altLang="zh-CN" dirty="0"/>
          </a:p>
        </p:txBody>
      </p:sp>
      <p:grpSp>
        <p:nvGrpSpPr>
          <p:cNvPr id="11" name="676fecc8-5938-4c2a-98aa-ea8df12395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5E3D1DE-B042-4D9F-BC1F-5864CECB7F0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073640" y="636501"/>
            <a:ext cx="1445260" cy="392199"/>
            <a:chOff x="2647449" y="2492374"/>
            <a:chExt cx="6897103" cy="1871663"/>
          </a:xfrm>
        </p:grpSpPr>
        <p:sp>
          <p:nvSpPr>
            <p:cNvPr id="12" name="íšľíḑe">
              <a:extLst>
                <a:ext uri="{FF2B5EF4-FFF2-40B4-BE49-F238E27FC236}">
                  <a16:creationId xmlns:a16="http://schemas.microsoft.com/office/drawing/2014/main" id="{97B2344F-EA54-4F70-B151-FC6FE23E309D}"/>
                </a:ext>
              </a:extLst>
            </p:cNvPr>
            <p:cNvSpPr/>
            <p:nvPr userDrawn="1"/>
          </p:nvSpPr>
          <p:spPr bwMode="auto">
            <a:xfrm>
              <a:off x="4864297" y="2650172"/>
              <a:ext cx="4625464" cy="1089247"/>
            </a:xfrm>
            <a:custGeom>
              <a:avLst/>
              <a:gdLst>
                <a:gd name="T0" fmla="*/ 1846 w 2033"/>
                <a:gd name="T1" fmla="*/ 379 h 478"/>
                <a:gd name="T2" fmla="*/ 1836 w 2033"/>
                <a:gd name="T3" fmla="*/ 368 h 478"/>
                <a:gd name="T4" fmla="*/ 1932 w 2033"/>
                <a:gd name="T5" fmla="*/ 256 h 478"/>
                <a:gd name="T6" fmla="*/ 1958 w 2033"/>
                <a:gd name="T7" fmla="*/ 124 h 478"/>
                <a:gd name="T8" fmla="*/ 1868 w 2033"/>
                <a:gd name="T9" fmla="*/ 215 h 478"/>
                <a:gd name="T10" fmla="*/ 1814 w 2033"/>
                <a:gd name="T11" fmla="*/ 242 h 478"/>
                <a:gd name="T12" fmla="*/ 1796 w 2033"/>
                <a:gd name="T13" fmla="*/ 130 h 478"/>
                <a:gd name="T14" fmla="*/ 1834 w 2033"/>
                <a:gd name="T15" fmla="*/ 154 h 478"/>
                <a:gd name="T16" fmla="*/ 1859 w 2033"/>
                <a:gd name="T17" fmla="*/ 124 h 478"/>
                <a:gd name="T18" fmla="*/ 1944 w 2033"/>
                <a:gd name="T19" fmla="*/ 46 h 478"/>
                <a:gd name="T20" fmla="*/ 2022 w 2033"/>
                <a:gd name="T21" fmla="*/ 84 h 478"/>
                <a:gd name="T22" fmla="*/ 1892 w 2033"/>
                <a:gd name="T23" fmla="*/ 315 h 478"/>
                <a:gd name="T24" fmla="*/ 1927 w 2033"/>
                <a:gd name="T25" fmla="*/ 338 h 478"/>
                <a:gd name="T26" fmla="*/ 2 w 2033"/>
                <a:gd name="T27" fmla="*/ 449 h 478"/>
                <a:gd name="T28" fmla="*/ 236 w 2033"/>
                <a:gd name="T29" fmla="*/ 99 h 478"/>
                <a:gd name="T30" fmla="*/ 119 w 2033"/>
                <a:gd name="T31" fmla="*/ 112 h 478"/>
                <a:gd name="T32" fmla="*/ 276 w 2033"/>
                <a:gd name="T33" fmla="*/ 88 h 478"/>
                <a:gd name="T34" fmla="*/ 237 w 2033"/>
                <a:gd name="T35" fmla="*/ 157 h 478"/>
                <a:gd name="T36" fmla="*/ 341 w 2033"/>
                <a:gd name="T37" fmla="*/ 184 h 478"/>
                <a:gd name="T38" fmla="*/ 308 w 2033"/>
                <a:gd name="T39" fmla="*/ 295 h 478"/>
                <a:gd name="T40" fmla="*/ 253 w 2033"/>
                <a:gd name="T41" fmla="*/ 338 h 478"/>
                <a:gd name="T42" fmla="*/ 133 w 2033"/>
                <a:gd name="T43" fmla="*/ 427 h 478"/>
                <a:gd name="T44" fmla="*/ 154 w 2033"/>
                <a:gd name="T45" fmla="*/ 285 h 478"/>
                <a:gd name="T46" fmla="*/ 1171 w 2033"/>
                <a:gd name="T47" fmla="*/ 371 h 478"/>
                <a:gd name="T48" fmla="*/ 1168 w 2033"/>
                <a:gd name="T49" fmla="*/ 314 h 478"/>
                <a:gd name="T50" fmla="*/ 1220 w 2033"/>
                <a:gd name="T51" fmla="*/ 245 h 478"/>
                <a:gd name="T52" fmla="*/ 1055 w 2033"/>
                <a:gd name="T53" fmla="*/ 234 h 478"/>
                <a:gd name="T54" fmla="*/ 1168 w 2033"/>
                <a:gd name="T55" fmla="*/ 165 h 478"/>
                <a:gd name="T56" fmla="*/ 1198 w 2033"/>
                <a:gd name="T57" fmla="*/ 87 h 478"/>
                <a:gd name="T58" fmla="*/ 1204 w 2033"/>
                <a:gd name="T59" fmla="*/ 161 h 478"/>
                <a:gd name="T60" fmla="*/ 1283 w 2033"/>
                <a:gd name="T61" fmla="*/ 170 h 478"/>
                <a:gd name="T62" fmla="*/ 1235 w 2033"/>
                <a:gd name="T63" fmla="*/ 256 h 478"/>
                <a:gd name="T64" fmla="*/ 1220 w 2033"/>
                <a:gd name="T65" fmla="*/ 318 h 478"/>
                <a:gd name="T66" fmla="*/ 405 w 2033"/>
                <a:gd name="T67" fmla="*/ 412 h 478"/>
                <a:gd name="T68" fmla="*/ 434 w 2033"/>
                <a:gd name="T69" fmla="*/ 422 h 478"/>
                <a:gd name="T70" fmla="*/ 574 w 2033"/>
                <a:gd name="T71" fmla="*/ 413 h 478"/>
                <a:gd name="T72" fmla="*/ 578 w 2033"/>
                <a:gd name="T73" fmla="*/ 255 h 478"/>
                <a:gd name="T74" fmla="*/ 638 w 2033"/>
                <a:gd name="T75" fmla="*/ 104 h 478"/>
                <a:gd name="T76" fmla="*/ 466 w 2033"/>
                <a:gd name="T77" fmla="*/ 159 h 478"/>
                <a:gd name="T78" fmla="*/ 535 w 2033"/>
                <a:gd name="T79" fmla="*/ 201 h 478"/>
                <a:gd name="T80" fmla="*/ 499 w 2033"/>
                <a:gd name="T81" fmla="*/ 257 h 478"/>
                <a:gd name="T82" fmla="*/ 556 w 2033"/>
                <a:gd name="T83" fmla="*/ 225 h 478"/>
                <a:gd name="T84" fmla="*/ 531 w 2033"/>
                <a:gd name="T85" fmla="*/ 386 h 478"/>
                <a:gd name="T86" fmla="*/ 1609 w 2033"/>
                <a:gd name="T87" fmla="*/ 256 h 478"/>
                <a:gd name="T88" fmla="*/ 1562 w 2033"/>
                <a:gd name="T89" fmla="*/ 107 h 478"/>
                <a:gd name="T90" fmla="*/ 1556 w 2033"/>
                <a:gd name="T91" fmla="*/ 279 h 478"/>
                <a:gd name="T92" fmla="*/ 324 w 2033"/>
                <a:gd name="T93" fmla="*/ 382 h 478"/>
                <a:gd name="T94" fmla="*/ 1283 w 2033"/>
                <a:gd name="T95" fmla="*/ 389 h 478"/>
                <a:gd name="T96" fmla="*/ 1184 w 2033"/>
                <a:gd name="T97" fmla="*/ 385 h 478"/>
                <a:gd name="T98" fmla="*/ 731 w 2033"/>
                <a:gd name="T99" fmla="*/ 348 h 478"/>
                <a:gd name="T100" fmla="*/ 913 w 2033"/>
                <a:gd name="T101" fmla="*/ 256 h 478"/>
                <a:gd name="T102" fmla="*/ 838 w 2033"/>
                <a:gd name="T103" fmla="*/ 191 h 478"/>
                <a:gd name="T104" fmla="*/ 957 w 2033"/>
                <a:gd name="T105" fmla="*/ 243 h 478"/>
                <a:gd name="T106" fmla="*/ 875 w 2033"/>
                <a:gd name="T107" fmla="*/ 347 h 478"/>
                <a:gd name="T108" fmla="*/ 229 w 2033"/>
                <a:gd name="T109" fmla="*/ 334 h 478"/>
                <a:gd name="T110" fmla="*/ 208 w 2033"/>
                <a:gd name="T111" fmla="*/ 302 h 478"/>
                <a:gd name="T112" fmla="*/ 190 w 2033"/>
                <a:gd name="T113" fmla="*/ 339 h 478"/>
                <a:gd name="T114" fmla="*/ 651 w 2033"/>
                <a:gd name="T115" fmla="*/ 339 h 478"/>
                <a:gd name="T116" fmla="*/ 149 w 2033"/>
                <a:gd name="T117" fmla="*/ 244 h 478"/>
                <a:gd name="T118" fmla="*/ 1847 w 2033"/>
                <a:gd name="T119" fmla="*/ 174 h 478"/>
                <a:gd name="T120" fmla="*/ 1907 w 2033"/>
                <a:gd name="T121" fmla="*/ 189 h 478"/>
                <a:gd name="T122" fmla="*/ 583 w 2033"/>
                <a:gd name="T123" fmla="*/ 131 h 478"/>
                <a:gd name="T124" fmla="*/ 209 w 2033"/>
                <a:gd name="T125" fmla="*/ 19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3" h="478">
                  <a:moveTo>
                    <a:pt x="1888" y="478"/>
                  </a:moveTo>
                  <a:cubicBezTo>
                    <a:pt x="1854" y="462"/>
                    <a:pt x="1854" y="462"/>
                    <a:pt x="1854" y="462"/>
                  </a:cubicBezTo>
                  <a:cubicBezTo>
                    <a:pt x="1854" y="462"/>
                    <a:pt x="1854" y="462"/>
                    <a:pt x="1854" y="462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51" y="463"/>
                    <a:pt x="1851" y="463"/>
                    <a:pt x="1851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9" y="463"/>
                    <a:pt x="1849" y="463"/>
                    <a:pt x="1849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6" y="463"/>
                    <a:pt x="1846" y="463"/>
                    <a:pt x="1846" y="463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4" y="462"/>
                    <a:pt x="1844" y="462"/>
                    <a:pt x="1844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41" y="462"/>
                    <a:pt x="1841" y="462"/>
                    <a:pt x="1841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8" y="462"/>
                    <a:pt x="1838" y="462"/>
                    <a:pt x="1838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5" y="462"/>
                    <a:pt x="1835" y="462"/>
                    <a:pt x="1835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33" y="462"/>
                    <a:pt x="1833" y="462"/>
                    <a:pt x="1833" y="462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9" y="460"/>
                    <a:pt x="1829" y="460"/>
                    <a:pt x="1829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60"/>
                    <a:pt x="1827" y="460"/>
                    <a:pt x="1827" y="460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9"/>
                    <a:pt x="1827" y="459"/>
                    <a:pt x="1827" y="459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7"/>
                    <a:pt x="1827" y="457"/>
                    <a:pt x="1827" y="457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6"/>
                    <a:pt x="1827" y="456"/>
                    <a:pt x="1827" y="456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4"/>
                    <a:pt x="1827" y="454"/>
                    <a:pt x="1827" y="454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3"/>
                    <a:pt x="1827" y="453"/>
                    <a:pt x="1827" y="453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27" y="452"/>
                    <a:pt x="1827" y="452"/>
                    <a:pt x="1827" y="452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32" y="450"/>
                    <a:pt x="1832" y="450"/>
                    <a:pt x="1832" y="450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0" y="449"/>
                    <a:pt x="1840" y="449"/>
                    <a:pt x="1840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47" y="449"/>
                    <a:pt x="1847" y="449"/>
                    <a:pt x="1847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55" y="449"/>
                    <a:pt x="1855" y="449"/>
                    <a:pt x="1855" y="449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63" y="450"/>
                    <a:pt x="1863" y="450"/>
                    <a:pt x="1863" y="450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0" y="449"/>
                    <a:pt x="1870" y="449"/>
                    <a:pt x="1870" y="449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76" y="446"/>
                    <a:pt x="1876" y="446"/>
                    <a:pt x="1876" y="446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9"/>
                    <a:pt x="1883" y="439"/>
                    <a:pt x="1883" y="439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3" y="430"/>
                    <a:pt x="1883" y="430"/>
                    <a:pt x="1883" y="43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20"/>
                    <a:pt x="1884" y="420"/>
                    <a:pt x="1884" y="42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4" y="410"/>
                    <a:pt x="1884" y="410"/>
                    <a:pt x="1884" y="410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98"/>
                    <a:pt x="1885" y="398"/>
                    <a:pt x="1885" y="39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88"/>
                    <a:pt x="1885" y="388"/>
                    <a:pt x="1885" y="388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5" y="377"/>
                    <a:pt x="1885" y="377"/>
                    <a:pt x="1885" y="37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4" y="367"/>
                    <a:pt x="1884" y="367"/>
                    <a:pt x="1884" y="367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83" y="356"/>
                    <a:pt x="1883" y="356"/>
                    <a:pt x="1883" y="356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75" y="360"/>
                    <a:pt x="1875" y="360"/>
                    <a:pt x="1875" y="360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8" y="364"/>
                    <a:pt x="1868" y="364"/>
                    <a:pt x="1868" y="364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60" y="368"/>
                    <a:pt x="1860" y="368"/>
                    <a:pt x="1860" y="368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54" y="373"/>
                    <a:pt x="1854" y="373"/>
                    <a:pt x="1854" y="373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46" y="379"/>
                    <a:pt x="1846" y="379"/>
                    <a:pt x="1846" y="379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8" y="383"/>
                    <a:pt x="1838" y="383"/>
                    <a:pt x="1838" y="383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30" y="389"/>
                    <a:pt x="1830" y="389"/>
                    <a:pt x="1830" y="389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23" y="392"/>
                    <a:pt x="1823" y="392"/>
                    <a:pt x="1823" y="392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7" y="396"/>
                    <a:pt x="1817" y="396"/>
                    <a:pt x="1817" y="396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12" y="398"/>
                    <a:pt x="1812" y="398"/>
                    <a:pt x="1812" y="398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7" y="401"/>
                    <a:pt x="1807" y="401"/>
                    <a:pt x="1807" y="401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803" y="403"/>
                    <a:pt x="1803" y="403"/>
                    <a:pt x="1803" y="403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8" y="406"/>
                    <a:pt x="1798" y="406"/>
                    <a:pt x="1798" y="406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92" y="407"/>
                    <a:pt x="1792" y="407"/>
                    <a:pt x="1792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6" y="407"/>
                    <a:pt x="1786" y="407"/>
                    <a:pt x="1786" y="407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81" y="405"/>
                    <a:pt x="1781" y="405"/>
                    <a:pt x="1781" y="405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7" y="406"/>
                    <a:pt x="1777" y="406"/>
                    <a:pt x="1777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4" y="406"/>
                    <a:pt x="1774" y="406"/>
                    <a:pt x="1774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2" y="406"/>
                    <a:pt x="1772" y="406"/>
                    <a:pt x="1772" y="406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70" y="405"/>
                    <a:pt x="1770" y="405"/>
                    <a:pt x="1770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7" y="405"/>
                    <a:pt x="1767" y="405"/>
                    <a:pt x="1767" y="405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5" y="403"/>
                    <a:pt x="1765" y="403"/>
                    <a:pt x="1765" y="403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3" y="402"/>
                    <a:pt x="1763" y="402"/>
                    <a:pt x="1763" y="402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1" y="399"/>
                    <a:pt x="1761" y="399"/>
                    <a:pt x="1761" y="399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0" y="396"/>
                    <a:pt x="1760" y="396"/>
                    <a:pt x="1760" y="396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763" y="394"/>
                    <a:pt x="1763" y="394"/>
                    <a:pt x="1763" y="394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6"/>
                    <a:pt x="1815" y="376"/>
                    <a:pt x="1815" y="376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5" y="377"/>
                    <a:pt x="1815" y="377"/>
                    <a:pt x="1815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6" y="377"/>
                    <a:pt x="1816" y="377"/>
                    <a:pt x="1816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7" y="377"/>
                    <a:pt x="1817" y="377"/>
                    <a:pt x="1817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8" y="377"/>
                    <a:pt x="1818" y="377"/>
                    <a:pt x="1818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19" y="377"/>
                    <a:pt x="1819" y="377"/>
                    <a:pt x="1819" y="377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1" y="376"/>
                    <a:pt x="1821" y="376"/>
                    <a:pt x="1821" y="376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2" y="375"/>
                    <a:pt x="1822" y="375"/>
                    <a:pt x="1822" y="375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4" y="374"/>
                    <a:pt x="1824" y="374"/>
                    <a:pt x="1824" y="374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5" y="373"/>
                    <a:pt x="1825" y="373"/>
                    <a:pt x="1825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6" y="373"/>
                    <a:pt x="1826" y="373"/>
                    <a:pt x="1826" y="373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8" y="372"/>
                    <a:pt x="1828" y="372"/>
                    <a:pt x="1828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29" y="372"/>
                    <a:pt x="1829" y="372"/>
                    <a:pt x="1829" y="372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1" y="371"/>
                    <a:pt x="1831" y="371"/>
                    <a:pt x="1831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3" y="371"/>
                    <a:pt x="1833" y="371"/>
                    <a:pt x="1833" y="371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5" y="369"/>
                    <a:pt x="1835" y="369"/>
                    <a:pt x="1835" y="369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36" y="368"/>
                    <a:pt x="1836" y="368"/>
                    <a:pt x="1836" y="368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0" y="367"/>
                    <a:pt x="1840" y="367"/>
                    <a:pt x="1840" y="367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3" y="365"/>
                    <a:pt x="1843" y="365"/>
                    <a:pt x="1843" y="365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6" y="363"/>
                    <a:pt x="1846" y="363"/>
                    <a:pt x="1846" y="363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48" y="361"/>
                    <a:pt x="1848" y="361"/>
                    <a:pt x="1848" y="361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1" y="359"/>
                    <a:pt x="1851" y="359"/>
                    <a:pt x="1851" y="359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4" y="356"/>
                    <a:pt x="1854" y="356"/>
                    <a:pt x="1854" y="356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7" y="353"/>
                    <a:pt x="1857" y="353"/>
                    <a:pt x="1857" y="353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58" y="351"/>
                    <a:pt x="1858" y="351"/>
                    <a:pt x="1858" y="351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2" y="348"/>
                    <a:pt x="1862" y="348"/>
                    <a:pt x="1862" y="348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3" y="346"/>
                    <a:pt x="1863" y="346"/>
                    <a:pt x="1863" y="346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6" y="343"/>
                    <a:pt x="1866" y="343"/>
                    <a:pt x="1866" y="343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67" y="341"/>
                    <a:pt x="1867" y="341"/>
                    <a:pt x="1867" y="341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0" y="338"/>
                    <a:pt x="1870" y="338"/>
                    <a:pt x="1870" y="338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3" y="337"/>
                    <a:pt x="1873" y="337"/>
                    <a:pt x="1873" y="337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5"/>
                    <a:pt x="1877" y="335"/>
                    <a:pt x="1877" y="335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4"/>
                    <a:pt x="1877" y="334"/>
                    <a:pt x="1877" y="334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2"/>
                    <a:pt x="1877" y="332"/>
                    <a:pt x="1877" y="332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30"/>
                    <a:pt x="1877" y="330"/>
                    <a:pt x="1877" y="330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7" y="327"/>
                    <a:pt x="1877" y="327"/>
                    <a:pt x="1877" y="327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5"/>
                    <a:pt x="1876" y="325"/>
                    <a:pt x="1876" y="325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3"/>
                    <a:pt x="1876" y="323"/>
                    <a:pt x="1876" y="323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6" y="321"/>
                    <a:pt x="1876" y="321"/>
                    <a:pt x="1876" y="321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77" y="318"/>
                    <a:pt x="1877" y="318"/>
                    <a:pt x="1877" y="318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7" y="294"/>
                    <a:pt x="1897" y="294"/>
                    <a:pt x="1897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898" y="294"/>
                    <a:pt x="1898" y="294"/>
                    <a:pt x="1898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4"/>
                    <a:pt x="1900" y="294"/>
                    <a:pt x="1900" y="294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0" y="293"/>
                    <a:pt x="1900" y="293"/>
                    <a:pt x="1900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2" y="293"/>
                    <a:pt x="1902" y="293"/>
                    <a:pt x="1902" y="293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4" y="292"/>
                    <a:pt x="1904" y="292"/>
                    <a:pt x="1904" y="292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06" y="291"/>
                    <a:pt x="1906" y="291"/>
                    <a:pt x="1906" y="291"/>
                  </a:cubicBezTo>
                  <a:cubicBezTo>
                    <a:pt x="1918" y="275"/>
                    <a:pt x="1918" y="275"/>
                    <a:pt x="1918" y="275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2" y="261"/>
                    <a:pt x="1932" y="261"/>
                    <a:pt x="1932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9"/>
                    <a:pt x="1931" y="259"/>
                    <a:pt x="1931" y="259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1" y="258"/>
                    <a:pt x="1931" y="258"/>
                    <a:pt x="1931" y="258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6"/>
                    <a:pt x="1932" y="256"/>
                    <a:pt x="1932" y="256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4"/>
                    <a:pt x="1932" y="254"/>
                    <a:pt x="1932" y="254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2"/>
                    <a:pt x="1932" y="252"/>
                    <a:pt x="1932" y="252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932" y="250"/>
                    <a:pt x="1932" y="250"/>
                    <a:pt x="1932" y="250"/>
                  </a:cubicBezTo>
                  <a:cubicBezTo>
                    <a:pt x="1863" y="283"/>
                    <a:pt x="1863" y="283"/>
                    <a:pt x="1863" y="283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8" y="288"/>
                    <a:pt x="1838" y="288"/>
                    <a:pt x="1838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6" y="288"/>
                    <a:pt x="1836" y="288"/>
                    <a:pt x="1836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8"/>
                    <a:pt x="1834" y="288"/>
                    <a:pt x="1834" y="288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4" y="287"/>
                    <a:pt x="1834" y="287"/>
                    <a:pt x="1834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3" y="287"/>
                    <a:pt x="1833" y="287"/>
                    <a:pt x="1833" y="287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6"/>
                    <a:pt x="1832" y="286"/>
                    <a:pt x="1832" y="286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5"/>
                    <a:pt x="1832" y="285"/>
                    <a:pt x="1832" y="285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2" y="283"/>
                    <a:pt x="1832" y="283"/>
                    <a:pt x="1832" y="283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34" y="277"/>
                    <a:pt x="1834" y="277"/>
                    <a:pt x="1834" y="277"/>
                  </a:cubicBezTo>
                  <a:cubicBezTo>
                    <a:pt x="1864" y="262"/>
                    <a:pt x="1864" y="262"/>
                    <a:pt x="1864" y="262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3" y="229"/>
                    <a:pt x="1933" y="229"/>
                    <a:pt x="1933" y="229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39" y="220"/>
                    <a:pt x="1939" y="220"/>
                    <a:pt x="1939" y="22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46" y="210"/>
                    <a:pt x="1946" y="210"/>
                    <a:pt x="1946" y="21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2" y="200"/>
                    <a:pt x="1952" y="200"/>
                    <a:pt x="1952" y="200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59" y="188"/>
                    <a:pt x="1959" y="188"/>
                    <a:pt x="1959" y="188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65" y="177"/>
                    <a:pt x="1965" y="177"/>
                    <a:pt x="1965" y="177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1" y="166"/>
                    <a:pt x="1971" y="166"/>
                    <a:pt x="1971" y="16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77" y="156"/>
                    <a:pt x="1977" y="156"/>
                    <a:pt x="1977" y="156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84" y="144"/>
                    <a:pt x="1984" y="144"/>
                    <a:pt x="1984" y="144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6" y="117"/>
                    <a:pt x="1996" y="117"/>
                    <a:pt x="1996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5" y="117"/>
                    <a:pt x="1995" y="117"/>
                    <a:pt x="1995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4" y="117"/>
                    <a:pt x="1994" y="117"/>
                    <a:pt x="1994" y="117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6"/>
                    <a:pt x="1993" y="116"/>
                    <a:pt x="1993" y="116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3" y="115"/>
                    <a:pt x="1993" y="115"/>
                    <a:pt x="1993" y="115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2" y="114"/>
                    <a:pt x="1992" y="114"/>
                    <a:pt x="1992" y="114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3"/>
                    <a:pt x="1991" y="113"/>
                    <a:pt x="1991" y="113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91" y="111"/>
                    <a:pt x="1991" y="111"/>
                    <a:pt x="1991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5" y="111"/>
                    <a:pt x="1985" y="111"/>
                    <a:pt x="1985" y="111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80" y="112"/>
                    <a:pt x="1980" y="112"/>
                    <a:pt x="1980" y="112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5" y="114"/>
                    <a:pt x="1975" y="114"/>
                    <a:pt x="1975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71" y="114"/>
                    <a:pt x="1971" y="114"/>
                    <a:pt x="1971" y="114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7" y="118"/>
                    <a:pt x="1967" y="118"/>
                    <a:pt x="1967" y="118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62" y="121"/>
                    <a:pt x="1962" y="121"/>
                    <a:pt x="1962" y="121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8" y="124"/>
                    <a:pt x="1958" y="124"/>
                    <a:pt x="1958" y="124"/>
                  </a:cubicBezTo>
                  <a:cubicBezTo>
                    <a:pt x="1954" y="126"/>
                    <a:pt x="1954" y="126"/>
                    <a:pt x="1954" y="126"/>
                  </a:cubicBezTo>
                  <a:cubicBezTo>
                    <a:pt x="1952" y="128"/>
                    <a:pt x="1952" y="128"/>
                    <a:pt x="1952" y="128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1"/>
                    <a:pt x="1933" y="141"/>
                    <a:pt x="1933" y="141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6"/>
                    <a:pt x="1933" y="146"/>
                    <a:pt x="1933" y="146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3" y="147"/>
                    <a:pt x="1933" y="147"/>
                    <a:pt x="1933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7"/>
                    <a:pt x="1934" y="147"/>
                    <a:pt x="1934" y="147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4" y="148"/>
                    <a:pt x="1934" y="148"/>
                    <a:pt x="1934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8"/>
                    <a:pt x="1935" y="148"/>
                    <a:pt x="1935" y="148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49"/>
                    <a:pt x="1935" y="149"/>
                    <a:pt x="1935" y="149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5" y="150"/>
                    <a:pt x="1935" y="150"/>
                    <a:pt x="1935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6" y="150"/>
                    <a:pt x="1936" y="150"/>
                    <a:pt x="1936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38" y="150"/>
                    <a:pt x="1938" y="150"/>
                    <a:pt x="1938" y="150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0" y="155"/>
                    <a:pt x="1940" y="155"/>
                    <a:pt x="1940" y="155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3" y="159"/>
                    <a:pt x="1943" y="159"/>
                    <a:pt x="1943" y="159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4"/>
                    <a:pt x="1944" y="164"/>
                    <a:pt x="1944" y="164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4" y="168"/>
                    <a:pt x="1944" y="168"/>
                    <a:pt x="1944" y="168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3" y="173"/>
                    <a:pt x="1943" y="173"/>
                    <a:pt x="1943" y="173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42" y="178"/>
                    <a:pt x="1942" y="178"/>
                    <a:pt x="1942" y="178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9" y="183"/>
                    <a:pt x="1939" y="183"/>
                    <a:pt x="1939" y="183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38" y="187"/>
                    <a:pt x="1938" y="187"/>
                    <a:pt x="1938" y="187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7" y="222"/>
                    <a:pt x="1907" y="222"/>
                    <a:pt x="1907" y="222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4" y="225"/>
                    <a:pt x="1904" y="225"/>
                    <a:pt x="1904" y="225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00" y="221"/>
                    <a:pt x="1900" y="221"/>
                    <a:pt x="1900" y="221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3" y="197"/>
                    <a:pt x="1913" y="197"/>
                    <a:pt x="1913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10" y="197"/>
                    <a:pt x="1910" y="197"/>
                    <a:pt x="1910" y="197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8" y="196"/>
                    <a:pt x="1908" y="196"/>
                    <a:pt x="1908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6" y="196"/>
                    <a:pt x="1906" y="196"/>
                    <a:pt x="1906" y="196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4" y="195"/>
                    <a:pt x="1904" y="195"/>
                    <a:pt x="1904" y="195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900" y="196"/>
                    <a:pt x="1900" y="196"/>
                    <a:pt x="1900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8" y="196"/>
                    <a:pt x="1898" y="196"/>
                    <a:pt x="1898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6" y="196"/>
                    <a:pt x="1896" y="196"/>
                    <a:pt x="1896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94" y="196"/>
                    <a:pt x="1894" y="196"/>
                    <a:pt x="1894" y="196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9" y="229"/>
                    <a:pt x="1869" y="229"/>
                    <a:pt x="1869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4" y="229"/>
                    <a:pt x="1864" y="229"/>
                    <a:pt x="1864" y="229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2" y="228"/>
                    <a:pt x="1862" y="228"/>
                    <a:pt x="1862" y="228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5"/>
                    <a:pt x="1863" y="225"/>
                    <a:pt x="1863" y="225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3" y="223"/>
                    <a:pt x="1863" y="223"/>
                    <a:pt x="1863" y="223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5" y="220"/>
                    <a:pt x="1865" y="220"/>
                    <a:pt x="1865" y="220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6" y="218"/>
                    <a:pt x="1866" y="218"/>
                    <a:pt x="1866" y="218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8" y="215"/>
                    <a:pt x="1868" y="215"/>
                    <a:pt x="1868" y="215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69" y="213"/>
                    <a:pt x="1869" y="213"/>
                    <a:pt x="1869" y="213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10"/>
                    <a:pt x="1870" y="210"/>
                    <a:pt x="1870" y="210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0" y="209"/>
                    <a:pt x="1870" y="209"/>
                    <a:pt x="1870" y="209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1" y="208"/>
                    <a:pt x="1871" y="208"/>
                    <a:pt x="1871" y="208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2" y="207"/>
                    <a:pt x="1872" y="207"/>
                    <a:pt x="1872" y="207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4" y="205"/>
                    <a:pt x="1874" y="205"/>
                    <a:pt x="1874" y="205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5" y="204"/>
                    <a:pt x="1875" y="204"/>
                    <a:pt x="1875" y="204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6" y="202"/>
                    <a:pt x="1876" y="202"/>
                    <a:pt x="1876" y="202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7" y="200"/>
                    <a:pt x="1877" y="200"/>
                    <a:pt x="1877" y="200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8"/>
                    <a:pt x="1879" y="198"/>
                    <a:pt x="1879" y="198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9" y="194"/>
                    <a:pt x="1879" y="194"/>
                    <a:pt x="1879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8" y="194"/>
                    <a:pt x="1878" y="194"/>
                    <a:pt x="1878" y="194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7" y="193"/>
                    <a:pt x="1877" y="193"/>
                    <a:pt x="1877" y="193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2"/>
                    <a:pt x="1876" y="192"/>
                    <a:pt x="1876" y="192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6" y="191"/>
                    <a:pt x="1876" y="191"/>
                    <a:pt x="1876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5" y="191"/>
                    <a:pt x="1875" y="191"/>
                    <a:pt x="1875" y="191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4" y="190"/>
                    <a:pt x="1874" y="190"/>
                    <a:pt x="1874" y="190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9"/>
                    <a:pt x="1873" y="189"/>
                    <a:pt x="1873" y="189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73" y="188"/>
                    <a:pt x="1873" y="188"/>
                    <a:pt x="1873" y="188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65" y="191"/>
                    <a:pt x="1865" y="191"/>
                    <a:pt x="1865" y="191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8" y="194"/>
                    <a:pt x="1858" y="194"/>
                    <a:pt x="1858" y="194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52" y="198"/>
                    <a:pt x="1852" y="198"/>
                    <a:pt x="1852" y="198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7" y="201"/>
                    <a:pt x="1847" y="201"/>
                    <a:pt x="1847" y="201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41" y="207"/>
                    <a:pt x="1841" y="207"/>
                    <a:pt x="1841" y="207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35" y="212"/>
                    <a:pt x="1835" y="212"/>
                    <a:pt x="1835" y="212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9" y="216"/>
                    <a:pt x="1829" y="216"/>
                    <a:pt x="1829" y="216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5" y="221"/>
                    <a:pt x="1825" y="221"/>
                    <a:pt x="1825" y="221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4"/>
                    <a:pt x="1824" y="224"/>
                    <a:pt x="1824" y="224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6"/>
                    <a:pt x="1824" y="226"/>
                    <a:pt x="1824" y="226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8"/>
                    <a:pt x="1824" y="228"/>
                    <a:pt x="1824" y="228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4" y="229"/>
                    <a:pt x="1824" y="229"/>
                    <a:pt x="1824" y="229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2"/>
                    <a:pt x="1823" y="232"/>
                    <a:pt x="1823" y="232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3" y="234"/>
                    <a:pt x="1823" y="234"/>
                    <a:pt x="1823" y="234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6"/>
                    <a:pt x="1822" y="236"/>
                    <a:pt x="1822" y="236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22" y="238"/>
                    <a:pt x="1822" y="238"/>
                    <a:pt x="1822" y="238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9" y="239"/>
                    <a:pt x="1819" y="239"/>
                    <a:pt x="1819" y="239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7" y="240"/>
                    <a:pt x="1817" y="240"/>
                    <a:pt x="1817" y="240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5" y="241"/>
                    <a:pt x="1815" y="241"/>
                    <a:pt x="1815" y="241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4" y="242"/>
                    <a:pt x="1814" y="242"/>
                    <a:pt x="1814" y="242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2" y="243"/>
                    <a:pt x="1812" y="243"/>
                    <a:pt x="1812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10" y="243"/>
                    <a:pt x="1810" y="243"/>
                    <a:pt x="1810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8" y="243"/>
                    <a:pt x="1808" y="243"/>
                    <a:pt x="1808" y="243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7" y="242"/>
                    <a:pt x="1807" y="242"/>
                    <a:pt x="1807" y="242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4" y="235"/>
                    <a:pt x="1804" y="235"/>
                    <a:pt x="1804" y="235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800" y="227"/>
                    <a:pt x="1800" y="227"/>
                    <a:pt x="1800" y="227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8" y="219"/>
                    <a:pt x="1798" y="219"/>
                    <a:pt x="1798" y="219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4" y="211"/>
                    <a:pt x="1794" y="211"/>
                    <a:pt x="1794" y="211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90" y="204"/>
                    <a:pt x="1790" y="204"/>
                    <a:pt x="1790" y="204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6" y="197"/>
                    <a:pt x="1786" y="197"/>
                    <a:pt x="1786" y="197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81" y="191"/>
                    <a:pt x="1781" y="191"/>
                    <a:pt x="1781" y="191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5"/>
                    <a:pt x="1775" y="185"/>
                    <a:pt x="1775" y="185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4"/>
                    <a:pt x="1775" y="184"/>
                    <a:pt x="1775" y="184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5" y="183"/>
                    <a:pt x="1775" y="183"/>
                    <a:pt x="1775" y="183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6" y="182"/>
                    <a:pt x="1776" y="182"/>
                    <a:pt x="1776" y="182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7" y="181"/>
                    <a:pt x="1777" y="181"/>
                    <a:pt x="1777" y="181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79" y="179"/>
                    <a:pt x="1779" y="179"/>
                    <a:pt x="1779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0" y="179"/>
                    <a:pt x="1780" y="179"/>
                    <a:pt x="1780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2" y="179"/>
                    <a:pt x="1782" y="179"/>
                    <a:pt x="1782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4" y="179"/>
                    <a:pt x="1784" y="179"/>
                    <a:pt x="1784" y="179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6" y="178"/>
                    <a:pt x="1786" y="178"/>
                    <a:pt x="1786" y="178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88" y="179"/>
                    <a:pt x="1788" y="179"/>
                    <a:pt x="1788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0" y="179"/>
                    <a:pt x="1790" y="179"/>
                    <a:pt x="1790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2" y="179"/>
                    <a:pt x="1792" y="179"/>
                    <a:pt x="1792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795" y="179"/>
                    <a:pt x="1795" y="179"/>
                    <a:pt x="1795" y="17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1" y="209"/>
                    <a:pt x="1821" y="209"/>
                    <a:pt x="1821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2" y="209"/>
                    <a:pt x="1822" y="209"/>
                    <a:pt x="1822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4" y="209"/>
                    <a:pt x="1824" y="209"/>
                    <a:pt x="1824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5" y="209"/>
                    <a:pt x="1825" y="209"/>
                    <a:pt x="1825" y="209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7" y="208"/>
                    <a:pt x="1827" y="208"/>
                    <a:pt x="1827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8" y="208"/>
                    <a:pt x="1828" y="208"/>
                    <a:pt x="1828" y="208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29" y="206"/>
                    <a:pt x="1829" y="206"/>
                    <a:pt x="1829" y="206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0" y="205"/>
                    <a:pt x="1830" y="205"/>
                    <a:pt x="1830" y="205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32" y="202"/>
                    <a:pt x="1832" y="202"/>
                    <a:pt x="1832" y="202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821" y="171"/>
                    <a:pt x="1821" y="171"/>
                    <a:pt x="1821" y="171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8" y="130"/>
                    <a:pt x="1798" y="130"/>
                    <a:pt x="1798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30"/>
                    <a:pt x="1796" y="130"/>
                    <a:pt x="1796" y="130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8"/>
                    <a:pt x="1796" y="128"/>
                    <a:pt x="1796" y="128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6" y="127"/>
                    <a:pt x="1796" y="127"/>
                    <a:pt x="1796" y="127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6"/>
                    <a:pt x="1795" y="126"/>
                    <a:pt x="1795" y="126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4"/>
                    <a:pt x="1795" y="124"/>
                    <a:pt x="1795" y="124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3"/>
                    <a:pt x="1795" y="123"/>
                    <a:pt x="1795" y="123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5" y="121"/>
                    <a:pt x="1795" y="121"/>
                    <a:pt x="1795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92" y="121"/>
                    <a:pt x="1792" y="121"/>
                    <a:pt x="1792" y="121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9" y="118"/>
                    <a:pt x="1789" y="118"/>
                    <a:pt x="1789" y="118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5"/>
                    <a:pt x="1786" y="115"/>
                    <a:pt x="1786" y="115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6" y="113"/>
                    <a:pt x="1786" y="113"/>
                    <a:pt x="1786" y="113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10"/>
                    <a:pt x="1784" y="110"/>
                    <a:pt x="1784" y="110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7"/>
                    <a:pt x="1784" y="107"/>
                    <a:pt x="1784" y="107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4" y="103"/>
                    <a:pt x="1784" y="103"/>
                    <a:pt x="1784" y="103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86" y="99"/>
                    <a:pt x="1786" y="99"/>
                    <a:pt x="1786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3" y="99"/>
                    <a:pt x="1793" y="99"/>
                    <a:pt x="1793" y="99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5" y="100"/>
                    <a:pt x="1795" y="100"/>
                    <a:pt x="1795" y="100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798" y="101"/>
                    <a:pt x="1798" y="101"/>
                    <a:pt x="1798" y="101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2" y="103"/>
                    <a:pt x="1802" y="103"/>
                    <a:pt x="1802" y="103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5" y="104"/>
                    <a:pt x="1805" y="104"/>
                    <a:pt x="1805" y="104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07" y="107"/>
                    <a:pt x="1807" y="107"/>
                    <a:pt x="1807" y="107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0" y="109"/>
                    <a:pt x="1810" y="109"/>
                    <a:pt x="1810" y="109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2" y="112"/>
                    <a:pt x="1812" y="112"/>
                    <a:pt x="1812" y="112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4" y="114"/>
                    <a:pt x="1814" y="114"/>
                    <a:pt x="1814" y="114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5" y="116"/>
                    <a:pt x="1815" y="116"/>
                    <a:pt x="1815" y="116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6" y="117"/>
                    <a:pt x="1816" y="117"/>
                    <a:pt x="1816" y="117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7" y="119"/>
                    <a:pt x="1817" y="119"/>
                    <a:pt x="1817" y="119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0"/>
                    <a:pt x="1818" y="120"/>
                    <a:pt x="1818" y="120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8" y="122"/>
                    <a:pt x="1818" y="122"/>
                    <a:pt x="1818" y="122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19" y="124"/>
                    <a:pt x="1819" y="124"/>
                    <a:pt x="1819" y="124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1" y="126"/>
                    <a:pt x="1821" y="126"/>
                    <a:pt x="1821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3" y="126"/>
                    <a:pt x="1823" y="126"/>
                    <a:pt x="1823" y="126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1"/>
                    <a:pt x="1822" y="131"/>
                    <a:pt x="1822" y="131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2" y="135"/>
                    <a:pt x="1822" y="135"/>
                    <a:pt x="1822" y="135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3" y="140"/>
                    <a:pt x="1823" y="140"/>
                    <a:pt x="1823" y="140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6" y="142"/>
                    <a:pt x="1826" y="142"/>
                    <a:pt x="1826" y="142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28" y="146"/>
                    <a:pt x="1828" y="146"/>
                    <a:pt x="1828" y="146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1" y="150"/>
                    <a:pt x="1831" y="150"/>
                    <a:pt x="1831" y="150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4" y="154"/>
                    <a:pt x="1834" y="154"/>
                    <a:pt x="1834" y="154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7" y="157"/>
                    <a:pt x="1837" y="157"/>
                    <a:pt x="1837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38" y="157"/>
                    <a:pt x="1838" y="157"/>
                    <a:pt x="1838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0" y="157"/>
                    <a:pt x="1840" y="157"/>
                    <a:pt x="1840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1" y="157"/>
                    <a:pt x="1841" y="157"/>
                    <a:pt x="1841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2" y="157"/>
                    <a:pt x="1842" y="157"/>
                    <a:pt x="1842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3" y="157"/>
                    <a:pt x="1843" y="157"/>
                    <a:pt x="1843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4" y="157"/>
                    <a:pt x="1844" y="157"/>
                    <a:pt x="1844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7"/>
                    <a:pt x="1846" y="157"/>
                    <a:pt x="1846" y="157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6" y="156"/>
                    <a:pt x="1846" y="156"/>
                    <a:pt x="1846" y="156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8" y="154"/>
                    <a:pt x="1848" y="154"/>
                    <a:pt x="1848" y="154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49" y="153"/>
                    <a:pt x="1849" y="153"/>
                    <a:pt x="1849" y="153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50"/>
                    <a:pt x="1851" y="150"/>
                    <a:pt x="1851" y="150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1" y="148"/>
                    <a:pt x="1851" y="148"/>
                    <a:pt x="1851" y="148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5"/>
                    <a:pt x="1852" y="145"/>
                    <a:pt x="1852" y="145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2" y="143"/>
                    <a:pt x="1852" y="143"/>
                    <a:pt x="1852" y="143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3" y="141"/>
                    <a:pt x="1853" y="141"/>
                    <a:pt x="1853" y="141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50" y="142"/>
                    <a:pt x="1850" y="142"/>
                    <a:pt x="1850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8" y="142"/>
                    <a:pt x="1848" y="142"/>
                    <a:pt x="1848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5" y="142"/>
                    <a:pt x="1845" y="142"/>
                    <a:pt x="1845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4" y="142"/>
                    <a:pt x="1844" y="142"/>
                    <a:pt x="1844" y="142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2" y="143"/>
                    <a:pt x="1842" y="143"/>
                    <a:pt x="1842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40" y="143"/>
                    <a:pt x="1840" y="143"/>
                    <a:pt x="1840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7" y="143"/>
                    <a:pt x="1837" y="143"/>
                    <a:pt x="1837" y="143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5" y="142"/>
                    <a:pt x="1835" y="142"/>
                    <a:pt x="1835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4" y="142"/>
                    <a:pt x="1834" y="142"/>
                    <a:pt x="1834" y="142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3" y="141"/>
                    <a:pt x="1833" y="141"/>
                    <a:pt x="1833" y="141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40"/>
                    <a:pt x="1832" y="140"/>
                    <a:pt x="1832" y="140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8"/>
                    <a:pt x="1832" y="138"/>
                    <a:pt x="1832" y="138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7"/>
                    <a:pt x="1832" y="137"/>
                    <a:pt x="1832" y="137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4"/>
                    <a:pt x="1832" y="134"/>
                    <a:pt x="1832" y="134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2" y="133"/>
                    <a:pt x="1832" y="133"/>
                    <a:pt x="1832" y="133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4" y="130"/>
                    <a:pt x="1834" y="130"/>
                    <a:pt x="1834" y="130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37" y="129"/>
                    <a:pt x="1837" y="129"/>
                    <a:pt x="1837" y="129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1" y="128"/>
                    <a:pt x="1841" y="128"/>
                    <a:pt x="1841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45" y="128"/>
                    <a:pt x="1845" y="128"/>
                    <a:pt x="1845" y="128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4" y="126"/>
                    <a:pt x="1854" y="126"/>
                    <a:pt x="1854" y="126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59" y="124"/>
                    <a:pt x="1859" y="124"/>
                    <a:pt x="1859" y="124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4" y="123"/>
                    <a:pt x="1864" y="123"/>
                    <a:pt x="1864" y="123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21"/>
                    <a:pt x="1869" y="121"/>
                    <a:pt x="1869" y="121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9"/>
                    <a:pt x="1869" y="119"/>
                    <a:pt x="1869" y="119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69" y="118"/>
                    <a:pt x="1869" y="118"/>
                    <a:pt x="1869" y="118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6"/>
                    <a:pt x="1870" y="116"/>
                    <a:pt x="1870" y="116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0" y="115"/>
                    <a:pt x="1870" y="115"/>
                    <a:pt x="1870" y="115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1" y="114"/>
                    <a:pt x="1871" y="114"/>
                    <a:pt x="1871" y="114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2" y="113"/>
                    <a:pt x="1872" y="113"/>
                    <a:pt x="1872" y="113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873" y="111"/>
                    <a:pt x="1873" y="111"/>
                    <a:pt x="1873" y="111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7" y="54"/>
                    <a:pt x="1907" y="54"/>
                    <a:pt x="1907" y="54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8" y="48"/>
                    <a:pt x="1908" y="48"/>
                    <a:pt x="1908" y="48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43"/>
                    <a:pt x="1909" y="43"/>
                    <a:pt x="1909" y="43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09" y="37"/>
                    <a:pt x="1909" y="37"/>
                    <a:pt x="1909" y="37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10" y="32"/>
                    <a:pt x="1910" y="32"/>
                    <a:pt x="1910" y="32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26"/>
                    <a:pt x="1909" y="26"/>
                    <a:pt x="1909" y="26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9" y="19"/>
                    <a:pt x="1909" y="19"/>
                    <a:pt x="1909" y="19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8" y="14"/>
                    <a:pt x="1908" y="14"/>
                    <a:pt x="1908" y="14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07" y="7"/>
                    <a:pt x="1907" y="7"/>
                    <a:pt x="1907" y="7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0" y="2"/>
                    <a:pt x="1910" y="2"/>
                    <a:pt x="1910" y="2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1" y="1"/>
                    <a:pt x="1911" y="1"/>
                    <a:pt x="1911" y="1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3" y="0"/>
                    <a:pt x="1913" y="0"/>
                    <a:pt x="1913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5" y="0"/>
                    <a:pt x="1915" y="0"/>
                    <a:pt x="1915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18" y="0"/>
                    <a:pt x="1918" y="0"/>
                    <a:pt x="1918" y="0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0" y="1"/>
                    <a:pt x="1920" y="1"/>
                    <a:pt x="1920" y="1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4" y="2"/>
                    <a:pt x="1924" y="2"/>
                    <a:pt x="1924" y="2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27" y="3"/>
                    <a:pt x="1927" y="3"/>
                    <a:pt x="1927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0" y="3"/>
                    <a:pt x="1930" y="3"/>
                    <a:pt x="1930" y="3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3" y="7"/>
                    <a:pt x="1933" y="7"/>
                    <a:pt x="1933" y="7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6" y="12"/>
                    <a:pt x="1936" y="12"/>
                    <a:pt x="1936" y="12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39" y="17"/>
                    <a:pt x="1939" y="17"/>
                    <a:pt x="1939" y="17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4" y="20"/>
                    <a:pt x="1944" y="20"/>
                    <a:pt x="1944" y="20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6" y="26"/>
                    <a:pt x="1946" y="26"/>
                    <a:pt x="1946" y="26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8" y="32"/>
                    <a:pt x="1948" y="32"/>
                    <a:pt x="1948" y="32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7" y="37"/>
                    <a:pt x="1947" y="37"/>
                    <a:pt x="1947" y="37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6" y="43"/>
                    <a:pt x="1946" y="43"/>
                    <a:pt x="1946" y="43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4"/>
                    <a:pt x="1944" y="44"/>
                    <a:pt x="1944" y="44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5"/>
                    <a:pt x="1944" y="45"/>
                    <a:pt x="1944" y="45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6"/>
                    <a:pt x="1944" y="46"/>
                    <a:pt x="1944" y="46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4" y="47"/>
                    <a:pt x="1944" y="47"/>
                    <a:pt x="1944" y="47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43" y="48"/>
                    <a:pt x="1943" y="48"/>
                    <a:pt x="1943" y="48"/>
                  </a:cubicBezTo>
                  <a:cubicBezTo>
                    <a:pt x="1939" y="50"/>
                    <a:pt x="1939" y="50"/>
                    <a:pt x="1939" y="50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33" y="55"/>
                    <a:pt x="1933" y="55"/>
                    <a:pt x="1933" y="55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9" y="60"/>
                    <a:pt x="1929" y="60"/>
                    <a:pt x="1929" y="60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6" y="65"/>
                    <a:pt x="1926" y="65"/>
                    <a:pt x="1926" y="65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23" y="71"/>
                    <a:pt x="1923" y="71"/>
                    <a:pt x="1923" y="71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8" y="77"/>
                    <a:pt x="1918" y="77"/>
                    <a:pt x="1918" y="77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4" y="83"/>
                    <a:pt x="1914" y="83"/>
                    <a:pt x="1914" y="83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10" y="88"/>
                    <a:pt x="1910" y="88"/>
                    <a:pt x="1910" y="88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906" y="92"/>
                    <a:pt x="1906" y="92"/>
                    <a:pt x="1906" y="92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0"/>
                    <a:pt x="1888" y="120"/>
                    <a:pt x="1888" y="120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88" y="123"/>
                    <a:pt x="1888" y="123"/>
                    <a:pt x="1888" y="123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2" y="125"/>
                    <a:pt x="1892" y="125"/>
                    <a:pt x="1892" y="125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897" y="127"/>
                    <a:pt x="1897" y="127"/>
                    <a:pt x="1897" y="127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1" y="129"/>
                    <a:pt x="1901" y="129"/>
                    <a:pt x="1901" y="129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08" y="131"/>
                    <a:pt x="1908" y="131"/>
                    <a:pt x="1908" y="131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3" y="134"/>
                    <a:pt x="1913" y="134"/>
                    <a:pt x="1913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19" y="134"/>
                    <a:pt x="1919" y="134"/>
                    <a:pt x="1919" y="134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26" y="133"/>
                    <a:pt x="1926" y="133"/>
                    <a:pt x="1926" y="133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32" y="128"/>
                    <a:pt x="1932" y="128"/>
                    <a:pt x="1932" y="12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5" y="108"/>
                    <a:pt x="1955" y="108"/>
                    <a:pt x="1955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6" y="108"/>
                    <a:pt x="1956" y="108"/>
                    <a:pt x="1956" y="108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7" y="107"/>
                    <a:pt x="1957" y="107"/>
                    <a:pt x="1957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8" y="107"/>
                    <a:pt x="1958" y="107"/>
                    <a:pt x="1958" y="107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5"/>
                    <a:pt x="1959" y="105"/>
                    <a:pt x="1959" y="105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59" y="104"/>
                    <a:pt x="1959" y="104"/>
                    <a:pt x="1959" y="104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0" y="102"/>
                    <a:pt x="1960" y="102"/>
                    <a:pt x="1960" y="102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1" y="101"/>
                    <a:pt x="1961" y="101"/>
                    <a:pt x="1961" y="101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63" y="99"/>
                    <a:pt x="1963" y="99"/>
                    <a:pt x="1963" y="99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1999" y="77"/>
                    <a:pt x="1999" y="77"/>
                    <a:pt x="1999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3" y="77"/>
                    <a:pt x="2003" y="77"/>
                    <a:pt x="2003" y="77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07" y="76"/>
                    <a:pt x="2007" y="76"/>
                    <a:pt x="2007" y="76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1" y="78"/>
                    <a:pt x="2011" y="78"/>
                    <a:pt x="2011" y="78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5" y="79"/>
                    <a:pt x="2015" y="79"/>
                    <a:pt x="2015" y="79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18" y="82"/>
                    <a:pt x="2018" y="82"/>
                    <a:pt x="2018" y="82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2" y="84"/>
                    <a:pt x="2022" y="84"/>
                    <a:pt x="2022" y="84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27" y="86"/>
                    <a:pt x="2027" y="86"/>
                    <a:pt x="2027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3" y="86"/>
                    <a:pt x="2033" y="86"/>
                    <a:pt x="2033" y="86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2"/>
                    <a:pt x="2032" y="92"/>
                    <a:pt x="2032" y="92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2" y="98"/>
                    <a:pt x="2032" y="98"/>
                    <a:pt x="2032" y="98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3"/>
                    <a:pt x="2031" y="103"/>
                    <a:pt x="2031" y="103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31" y="108"/>
                    <a:pt x="2031" y="108"/>
                    <a:pt x="2031" y="108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9" y="114"/>
                    <a:pt x="2029" y="114"/>
                    <a:pt x="2029" y="114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8" y="119"/>
                    <a:pt x="2028" y="119"/>
                    <a:pt x="2028" y="119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4" y="124"/>
                    <a:pt x="2024" y="124"/>
                    <a:pt x="2024" y="124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21" y="127"/>
                    <a:pt x="2021" y="127"/>
                    <a:pt x="2021" y="127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8" y="128"/>
                    <a:pt x="2018" y="128"/>
                    <a:pt x="2018" y="128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6" y="130"/>
                    <a:pt x="2016" y="130"/>
                    <a:pt x="2016" y="130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4" y="133"/>
                    <a:pt x="2014" y="133"/>
                    <a:pt x="2014" y="133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3" y="135"/>
                    <a:pt x="2013" y="135"/>
                    <a:pt x="2013" y="135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11" y="138"/>
                    <a:pt x="2011" y="138"/>
                    <a:pt x="2011" y="138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9" y="140"/>
                    <a:pt x="2009" y="140"/>
                    <a:pt x="2009" y="140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5" y="142"/>
                    <a:pt x="2005" y="142"/>
                    <a:pt x="2005" y="142"/>
                  </a:cubicBezTo>
                  <a:cubicBezTo>
                    <a:pt x="2006" y="144"/>
                    <a:pt x="2006" y="144"/>
                    <a:pt x="2006" y="144"/>
                  </a:cubicBezTo>
                  <a:cubicBezTo>
                    <a:pt x="2003" y="142"/>
                    <a:pt x="2003" y="142"/>
                    <a:pt x="2003" y="142"/>
                  </a:cubicBezTo>
                  <a:cubicBezTo>
                    <a:pt x="1971" y="194"/>
                    <a:pt x="1971" y="194"/>
                    <a:pt x="1971" y="194"/>
                  </a:cubicBezTo>
                  <a:cubicBezTo>
                    <a:pt x="1967" y="195"/>
                    <a:pt x="1967" y="195"/>
                    <a:pt x="1967" y="195"/>
                  </a:cubicBezTo>
                  <a:cubicBezTo>
                    <a:pt x="1950" y="219"/>
                    <a:pt x="1950" y="219"/>
                    <a:pt x="1950" y="219"/>
                  </a:cubicBezTo>
                  <a:cubicBezTo>
                    <a:pt x="1948" y="221"/>
                    <a:pt x="1948" y="221"/>
                    <a:pt x="1948" y="221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2" y="225"/>
                    <a:pt x="1952" y="225"/>
                    <a:pt x="1952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3" y="225"/>
                    <a:pt x="1953" y="225"/>
                    <a:pt x="1953" y="225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6" y="224"/>
                    <a:pt x="1956" y="224"/>
                    <a:pt x="1956" y="224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57" y="223"/>
                    <a:pt x="1957" y="223"/>
                    <a:pt x="1957" y="223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0" y="222"/>
                    <a:pt x="1960" y="222"/>
                    <a:pt x="1960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2" y="222"/>
                    <a:pt x="1962" y="222"/>
                    <a:pt x="1962" y="222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5" y="221"/>
                    <a:pt x="1965" y="221"/>
                    <a:pt x="1965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68" y="221"/>
                    <a:pt x="1968" y="221"/>
                    <a:pt x="1968" y="221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1" y="220"/>
                    <a:pt x="1971" y="220"/>
                    <a:pt x="1971" y="220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2" y="224"/>
                    <a:pt x="1972" y="224"/>
                    <a:pt x="1972" y="224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3" y="227"/>
                    <a:pt x="1973" y="227"/>
                    <a:pt x="1973" y="227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4" y="229"/>
                    <a:pt x="1974" y="229"/>
                    <a:pt x="1974" y="229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2"/>
                    <a:pt x="1976" y="232"/>
                    <a:pt x="1976" y="232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6" y="236"/>
                    <a:pt x="1976" y="236"/>
                    <a:pt x="1976" y="236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0"/>
                    <a:pt x="1977" y="240"/>
                    <a:pt x="1977" y="240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3"/>
                    <a:pt x="1977" y="243"/>
                    <a:pt x="1977" y="243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77" y="245"/>
                    <a:pt x="1977" y="245"/>
                    <a:pt x="1977" y="245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947" y="267"/>
                    <a:pt x="1947" y="267"/>
                    <a:pt x="1947" y="267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2" y="315"/>
                    <a:pt x="1892" y="315"/>
                    <a:pt x="1892" y="315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894" y="319"/>
                    <a:pt x="1894" y="319"/>
                    <a:pt x="1894" y="319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3" y="307"/>
                    <a:pt x="1923" y="307"/>
                    <a:pt x="1923" y="307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5" y="306"/>
                    <a:pt x="1925" y="306"/>
                    <a:pt x="1925" y="306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28" y="305"/>
                    <a:pt x="1928" y="305"/>
                    <a:pt x="1928" y="305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1" y="304"/>
                    <a:pt x="1931" y="304"/>
                    <a:pt x="1931" y="304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4" y="303"/>
                    <a:pt x="1934" y="303"/>
                    <a:pt x="1934" y="303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37" y="304"/>
                    <a:pt x="1937" y="304"/>
                    <a:pt x="1937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0" y="304"/>
                    <a:pt x="1940" y="304"/>
                    <a:pt x="1940" y="304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4" y="305"/>
                    <a:pt x="1944" y="305"/>
                    <a:pt x="1944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49" y="305"/>
                    <a:pt x="1949" y="305"/>
                    <a:pt x="1949" y="305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0" y="306"/>
                    <a:pt x="1950" y="306"/>
                    <a:pt x="1950" y="306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1" y="307"/>
                    <a:pt x="1951" y="307"/>
                    <a:pt x="1951" y="307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2" y="308"/>
                    <a:pt x="1952" y="308"/>
                    <a:pt x="1952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3" y="308"/>
                    <a:pt x="1953" y="308"/>
                    <a:pt x="1953" y="308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4" y="309"/>
                    <a:pt x="1954" y="309"/>
                    <a:pt x="1954" y="309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5" y="310"/>
                    <a:pt x="1955" y="310"/>
                    <a:pt x="1955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6" y="310"/>
                    <a:pt x="1956" y="310"/>
                    <a:pt x="1956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0"/>
                    <a:pt x="1959" y="310"/>
                    <a:pt x="1959" y="310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59" y="313"/>
                    <a:pt x="1959" y="313"/>
                    <a:pt x="1959" y="313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6"/>
                    <a:pt x="1960" y="316"/>
                    <a:pt x="1960" y="316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19"/>
                    <a:pt x="1960" y="319"/>
                    <a:pt x="1960" y="319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60" y="322"/>
                    <a:pt x="1960" y="322"/>
                    <a:pt x="1960" y="322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8" y="324"/>
                    <a:pt x="1958" y="324"/>
                    <a:pt x="1958" y="324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7" y="326"/>
                    <a:pt x="1957" y="326"/>
                    <a:pt x="1957" y="326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5" y="329"/>
                    <a:pt x="1955" y="329"/>
                    <a:pt x="1955" y="329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54" y="331"/>
                    <a:pt x="1954" y="331"/>
                    <a:pt x="1954" y="331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8" y="335"/>
                    <a:pt x="1948" y="335"/>
                    <a:pt x="1948" y="335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4" y="338"/>
                    <a:pt x="1944" y="338"/>
                    <a:pt x="1944" y="338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40" y="341"/>
                    <a:pt x="1940" y="341"/>
                    <a:pt x="1940" y="341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7" y="345"/>
                    <a:pt x="1937" y="345"/>
                    <a:pt x="1937" y="345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3" y="350"/>
                    <a:pt x="1933" y="350"/>
                    <a:pt x="1933" y="350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30" y="353"/>
                    <a:pt x="1930" y="353"/>
                    <a:pt x="1930" y="353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25" y="356"/>
                    <a:pt x="1925" y="356"/>
                    <a:pt x="1925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9" y="356"/>
                    <a:pt x="1919" y="356"/>
                    <a:pt x="1919" y="356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7" y="353"/>
                    <a:pt x="1917" y="353"/>
                    <a:pt x="1917" y="353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18" y="348"/>
                    <a:pt x="1918" y="348"/>
                    <a:pt x="1918" y="348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1" y="344"/>
                    <a:pt x="1921" y="344"/>
                    <a:pt x="1921" y="344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5" y="340"/>
                    <a:pt x="1925" y="340"/>
                    <a:pt x="1925" y="340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27" y="338"/>
                    <a:pt x="1927" y="338"/>
                    <a:pt x="1927" y="338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0" y="334"/>
                    <a:pt x="1930" y="334"/>
                    <a:pt x="1930" y="334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2" y="330"/>
                    <a:pt x="1932" y="330"/>
                    <a:pt x="1932" y="330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3" y="324"/>
                    <a:pt x="1933" y="324"/>
                    <a:pt x="1933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31" y="324"/>
                    <a:pt x="1931" y="324"/>
                    <a:pt x="1931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9" y="324"/>
                    <a:pt x="1929" y="324"/>
                    <a:pt x="1929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7" y="324"/>
                    <a:pt x="1927" y="324"/>
                    <a:pt x="1927" y="324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6" y="323"/>
                    <a:pt x="1926" y="323"/>
                    <a:pt x="1926" y="323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4" y="324"/>
                    <a:pt x="1924" y="324"/>
                    <a:pt x="1924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21" y="324"/>
                    <a:pt x="1921" y="324"/>
                    <a:pt x="1921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9" y="324"/>
                    <a:pt x="1919" y="324"/>
                    <a:pt x="1919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18" y="324"/>
                    <a:pt x="1918" y="324"/>
                    <a:pt x="1918" y="32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0" y="344"/>
                    <a:pt x="1900" y="344"/>
                    <a:pt x="1900" y="344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1" y="361"/>
                    <a:pt x="1901" y="361"/>
                    <a:pt x="1901" y="361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77"/>
                    <a:pt x="1905" y="377"/>
                    <a:pt x="1905" y="377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5" y="394"/>
                    <a:pt x="1905" y="394"/>
                    <a:pt x="1905" y="394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6" y="410"/>
                    <a:pt x="1906" y="410"/>
                    <a:pt x="1906" y="410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4" y="426"/>
                    <a:pt x="1904" y="426"/>
                    <a:pt x="1904" y="426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2" y="442"/>
                    <a:pt x="1902" y="442"/>
                    <a:pt x="1902" y="442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59"/>
                    <a:pt x="1900" y="459"/>
                    <a:pt x="1900" y="459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900" y="475"/>
                    <a:pt x="1900" y="475"/>
                    <a:pt x="1900" y="475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8" y="476"/>
                    <a:pt x="1898" y="476"/>
                    <a:pt x="1898" y="476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7" y="477"/>
                    <a:pt x="1897" y="477"/>
                    <a:pt x="1897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6" y="477"/>
                    <a:pt x="1896" y="477"/>
                    <a:pt x="1896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5" y="477"/>
                    <a:pt x="1895" y="477"/>
                    <a:pt x="1895" y="477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3" y="478"/>
                    <a:pt x="1893" y="478"/>
                    <a:pt x="1893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2" y="478"/>
                    <a:pt x="1892" y="478"/>
                    <a:pt x="1892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90" y="478"/>
                    <a:pt x="1890" y="478"/>
                    <a:pt x="1890" y="478"/>
                  </a:cubicBezTo>
                  <a:cubicBezTo>
                    <a:pt x="1889" y="478"/>
                    <a:pt x="1889" y="478"/>
                    <a:pt x="1889" y="478"/>
                  </a:cubicBezTo>
                  <a:lnTo>
                    <a:pt x="1888" y="478"/>
                  </a:lnTo>
                  <a:close/>
                  <a:moveTo>
                    <a:pt x="19" y="460"/>
                  </a:moveTo>
                  <a:cubicBezTo>
                    <a:pt x="16" y="460"/>
                    <a:pt x="16" y="460"/>
                    <a:pt x="16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5" y="459"/>
                    <a:pt x="15" y="459"/>
                    <a:pt x="15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3" y="459"/>
                    <a:pt x="13" y="459"/>
                    <a:pt x="13" y="459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2" y="458"/>
                    <a:pt x="12" y="458"/>
                    <a:pt x="12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9" y="458"/>
                    <a:pt x="9" y="458"/>
                    <a:pt x="9" y="458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8" y="457"/>
                    <a:pt x="8" y="457"/>
                    <a:pt x="8" y="457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7" y="455"/>
                    <a:pt x="7" y="455"/>
                    <a:pt x="7" y="455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5" y="453"/>
                    <a:pt x="5" y="453"/>
                    <a:pt x="5" y="453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4" y="452"/>
                    <a:pt x="4" y="452"/>
                    <a:pt x="4" y="452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9"/>
                    <a:pt x="2" y="449"/>
                    <a:pt x="2" y="449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2" y="446"/>
                    <a:pt x="2" y="446"/>
                    <a:pt x="2" y="446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2" y="433"/>
                    <a:pt x="2" y="433"/>
                    <a:pt x="2" y="433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13" y="416"/>
                    <a:pt x="13" y="416"/>
                    <a:pt x="13" y="416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37" y="381"/>
                    <a:pt x="37" y="381"/>
                    <a:pt x="37" y="381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49" y="363"/>
                    <a:pt x="49" y="363"/>
                    <a:pt x="49" y="363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60" y="345"/>
                    <a:pt x="60" y="345"/>
                    <a:pt x="60" y="345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71" y="326"/>
                    <a:pt x="71" y="326"/>
                    <a:pt x="71" y="326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83" y="308"/>
                    <a:pt x="83" y="308"/>
                    <a:pt x="83" y="30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5" y="288"/>
                    <a:pt x="95" y="288"/>
                    <a:pt x="96" y="288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7" y="288"/>
                    <a:pt x="98" y="287"/>
                    <a:pt x="98" y="287"/>
                  </a:cubicBezTo>
                  <a:cubicBezTo>
                    <a:pt x="98" y="287"/>
                    <a:pt x="98" y="287"/>
                    <a:pt x="98" y="287"/>
                  </a:cubicBezTo>
                  <a:cubicBezTo>
                    <a:pt x="99" y="287"/>
                    <a:pt x="99" y="286"/>
                    <a:pt x="99" y="285"/>
                  </a:cubicBezTo>
                  <a:cubicBezTo>
                    <a:pt x="99" y="285"/>
                    <a:pt x="99" y="285"/>
                    <a:pt x="99" y="285"/>
                  </a:cubicBezTo>
                  <a:cubicBezTo>
                    <a:pt x="101" y="283"/>
                    <a:pt x="103" y="282"/>
                    <a:pt x="105" y="280"/>
                  </a:cubicBezTo>
                  <a:cubicBezTo>
                    <a:pt x="105" y="280"/>
                    <a:pt x="105" y="280"/>
                    <a:pt x="105" y="280"/>
                  </a:cubicBezTo>
                  <a:cubicBezTo>
                    <a:pt x="105" y="279"/>
                    <a:pt x="105" y="279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7" y="277"/>
                    <a:pt x="108" y="276"/>
                    <a:pt x="109" y="275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13" y="268"/>
                    <a:pt x="117" y="261"/>
                    <a:pt x="121" y="254"/>
                  </a:cubicBezTo>
                  <a:cubicBezTo>
                    <a:pt x="121" y="254"/>
                    <a:pt x="121" y="254"/>
                    <a:pt x="121" y="254"/>
                  </a:cubicBezTo>
                  <a:cubicBezTo>
                    <a:pt x="120" y="254"/>
                    <a:pt x="120" y="254"/>
                    <a:pt x="119" y="254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8" y="253"/>
                    <a:pt x="118" y="253"/>
                    <a:pt x="118" y="253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7" y="251"/>
                    <a:pt x="117" y="251"/>
                    <a:pt x="117" y="251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6" y="249"/>
                    <a:pt x="116" y="249"/>
                    <a:pt x="116" y="249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15" y="245"/>
                    <a:pt x="115" y="245"/>
                    <a:pt x="115" y="245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48" y="214"/>
                    <a:pt x="148" y="214"/>
                    <a:pt x="148" y="214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0" y="196"/>
                    <a:pt x="160" y="196"/>
                    <a:pt x="160" y="19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100"/>
                    <a:pt x="236" y="100"/>
                    <a:pt x="236" y="100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9"/>
                    <a:pt x="236" y="99"/>
                    <a:pt x="236" y="99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5"/>
                    <a:pt x="236" y="95"/>
                    <a:pt x="236" y="95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27" y="97"/>
                    <a:pt x="227" y="97"/>
                    <a:pt x="227" y="97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3" y="132"/>
                    <a:pt x="163" y="132"/>
                    <a:pt x="163" y="132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8" y="129"/>
                    <a:pt x="148" y="129"/>
                    <a:pt x="148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5" y="122"/>
                    <a:pt x="125" y="122"/>
                    <a:pt x="125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87" y="96"/>
                    <a:pt x="187" y="96"/>
                    <a:pt x="187" y="96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198" y="93"/>
                    <a:pt x="198" y="93"/>
                    <a:pt x="198" y="93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21" y="85"/>
                    <a:pt x="221" y="85"/>
                    <a:pt x="221" y="85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3" y="69"/>
                    <a:pt x="263" y="69"/>
                    <a:pt x="263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5" y="69"/>
                    <a:pt x="265" y="69"/>
                    <a:pt x="265" y="6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2"/>
                    <a:pt x="268" y="72"/>
                    <a:pt x="268" y="72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4"/>
                    <a:pt x="273" y="74"/>
                    <a:pt x="273" y="74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79"/>
                    <a:pt x="273" y="79"/>
                    <a:pt x="273" y="79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4" y="86"/>
                    <a:pt x="274" y="86"/>
                    <a:pt x="274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6"/>
                    <a:pt x="275" y="86"/>
                    <a:pt x="275" y="86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7" y="90"/>
                    <a:pt x="277" y="90"/>
                    <a:pt x="277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8" y="90"/>
                    <a:pt x="278" y="90"/>
                    <a:pt x="278" y="90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4" y="96"/>
                    <a:pt x="274" y="96"/>
                    <a:pt x="274" y="9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1"/>
                    <a:pt x="268" y="101"/>
                    <a:pt x="268" y="101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68" y="102"/>
                    <a:pt x="268" y="102"/>
                    <a:pt x="268" y="102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34" y="122"/>
                    <a:pt x="234" y="122"/>
                    <a:pt x="234" y="122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97" y="168"/>
                    <a:pt x="197" y="168"/>
                    <a:pt x="197" y="168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87" y="185"/>
                    <a:pt x="187" y="185"/>
                    <a:pt x="187" y="185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4"/>
                    <a:pt x="163" y="214"/>
                    <a:pt x="163" y="214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6"/>
                    <a:pt x="163" y="216"/>
                    <a:pt x="163" y="216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3" y="217"/>
                    <a:pt x="163" y="217"/>
                    <a:pt x="163" y="217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5" y="218"/>
                    <a:pt x="165" y="218"/>
                    <a:pt x="165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6" y="218"/>
                    <a:pt x="166" y="218"/>
                    <a:pt x="166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7" y="218"/>
                    <a:pt x="167" y="218"/>
                    <a:pt x="167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8" y="189"/>
                    <a:pt x="218" y="189"/>
                    <a:pt x="218" y="189"/>
                  </a:cubicBezTo>
                  <a:cubicBezTo>
                    <a:pt x="219" y="184"/>
                    <a:pt x="219" y="184"/>
                    <a:pt x="219" y="184"/>
                  </a:cubicBezTo>
                  <a:cubicBezTo>
                    <a:pt x="219" y="181"/>
                    <a:pt x="219" y="181"/>
                    <a:pt x="219" y="181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5" y="154"/>
                    <a:pt x="225" y="154"/>
                    <a:pt x="225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28" y="155"/>
                    <a:pt x="228" y="155"/>
                    <a:pt x="228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0" y="155"/>
                    <a:pt x="230" y="155"/>
                    <a:pt x="230" y="155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1" y="156"/>
                    <a:pt x="231" y="156"/>
                    <a:pt x="231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3" y="156"/>
                    <a:pt x="233" y="156"/>
                    <a:pt x="233" y="156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7"/>
                    <a:pt x="237" y="157"/>
                    <a:pt x="237" y="157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5" y="166"/>
                    <a:pt x="235" y="166"/>
                    <a:pt x="235" y="166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4" y="169"/>
                    <a:pt x="234" y="169"/>
                    <a:pt x="234" y="169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1"/>
                    <a:pt x="233" y="171"/>
                    <a:pt x="233" y="171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48" y="172"/>
                    <a:pt x="248" y="172"/>
                    <a:pt x="248" y="172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0" y="167"/>
                    <a:pt x="260" y="167"/>
                    <a:pt x="260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79" y="157"/>
                    <a:pt x="279" y="157"/>
                    <a:pt x="279" y="157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85" y="153"/>
                    <a:pt x="285" y="153"/>
                    <a:pt x="285" y="153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297" y="118"/>
                    <a:pt x="297" y="118"/>
                    <a:pt x="297" y="118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0" y="120"/>
                    <a:pt x="300" y="120"/>
                    <a:pt x="300" y="120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08" y="124"/>
                    <a:pt x="308" y="124"/>
                    <a:pt x="308" y="124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2" y="125"/>
                    <a:pt x="312" y="125"/>
                    <a:pt x="312" y="125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5" y="128"/>
                    <a:pt x="315" y="128"/>
                    <a:pt x="315" y="128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1" y="134"/>
                    <a:pt x="321" y="134"/>
                    <a:pt x="321" y="134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2" y="139"/>
                    <a:pt x="322" y="139"/>
                    <a:pt x="322" y="139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21" y="140"/>
                    <a:pt x="321" y="140"/>
                    <a:pt x="321" y="140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9" y="142"/>
                    <a:pt x="319" y="142"/>
                    <a:pt x="319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5" y="144"/>
                    <a:pt x="315" y="144"/>
                    <a:pt x="315" y="144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3" y="145"/>
                    <a:pt x="313" y="145"/>
                    <a:pt x="313" y="145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309" y="146"/>
                    <a:pt x="309" y="146"/>
                    <a:pt x="309" y="146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89" y="174"/>
                    <a:pt x="289" y="174"/>
                    <a:pt x="289" y="174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73" y="205"/>
                    <a:pt x="273" y="205"/>
                    <a:pt x="273" y="205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294" y="199"/>
                    <a:pt x="294" y="199"/>
                    <a:pt x="294" y="199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8" y="183"/>
                    <a:pt x="338" y="183"/>
                    <a:pt x="338" y="183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39" y="184"/>
                    <a:pt x="339" y="184"/>
                    <a:pt x="339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5" y="185"/>
                    <a:pt x="345" y="185"/>
                    <a:pt x="345" y="185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6" y="187"/>
                    <a:pt x="346" y="187"/>
                    <a:pt x="346" y="187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49" y="189"/>
                    <a:pt x="349" y="189"/>
                    <a:pt x="349" y="189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0" y="191"/>
                    <a:pt x="350" y="191"/>
                    <a:pt x="350" y="191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53" y="192"/>
                    <a:pt x="353" y="192"/>
                    <a:pt x="353" y="192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301" y="214"/>
                    <a:pt x="301" y="214"/>
                    <a:pt x="301" y="214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8" y="215"/>
                    <a:pt x="298" y="215"/>
                    <a:pt x="298" y="215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5" y="216"/>
                    <a:pt x="295" y="216"/>
                    <a:pt x="295" y="216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2" y="217"/>
                    <a:pt x="292" y="217"/>
                    <a:pt x="292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90" y="217"/>
                    <a:pt x="290" y="217"/>
                    <a:pt x="290" y="217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6" y="219"/>
                    <a:pt x="286" y="219"/>
                    <a:pt x="286" y="219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4" y="220"/>
                    <a:pt x="284" y="220"/>
                    <a:pt x="284" y="220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1" y="221"/>
                    <a:pt x="281" y="221"/>
                    <a:pt x="281" y="221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5" y="231"/>
                    <a:pt x="255" y="231"/>
                    <a:pt x="255" y="231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3" y="234"/>
                    <a:pt x="253" y="234"/>
                    <a:pt x="253" y="234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5" y="238"/>
                    <a:pt x="255" y="238"/>
                    <a:pt x="255" y="238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58" y="241"/>
                    <a:pt x="258" y="241"/>
                    <a:pt x="258" y="241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0" y="244"/>
                    <a:pt x="260" y="244"/>
                    <a:pt x="260" y="244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47"/>
                    <a:pt x="262" y="247"/>
                    <a:pt x="262" y="247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1"/>
                    <a:pt x="262" y="251"/>
                    <a:pt x="262" y="251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5"/>
                    <a:pt x="262" y="255"/>
                    <a:pt x="262" y="255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2" y="258"/>
                    <a:pt x="262" y="258"/>
                    <a:pt x="262" y="258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263" y="262"/>
                    <a:pt x="263" y="262"/>
                    <a:pt x="263" y="262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19" y="251"/>
                    <a:pt x="319" y="251"/>
                    <a:pt x="319" y="251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1" y="255"/>
                    <a:pt x="321" y="255"/>
                    <a:pt x="321" y="255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3" y="257"/>
                    <a:pt x="323" y="257"/>
                    <a:pt x="323" y="257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4" y="260"/>
                    <a:pt x="324" y="260"/>
                    <a:pt x="324" y="260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8" y="269"/>
                    <a:pt x="328" y="269"/>
                    <a:pt x="328" y="269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1"/>
                    <a:pt x="327" y="271"/>
                    <a:pt x="327" y="271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20" y="278"/>
                    <a:pt x="320" y="278"/>
                    <a:pt x="320" y="278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7" y="281"/>
                    <a:pt x="317" y="281"/>
                    <a:pt x="317" y="281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3" y="285"/>
                    <a:pt x="313" y="285"/>
                    <a:pt x="313" y="285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11" y="289"/>
                    <a:pt x="311" y="289"/>
                    <a:pt x="311" y="289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8" y="295"/>
                    <a:pt x="308" y="295"/>
                    <a:pt x="308" y="295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5" y="299"/>
                    <a:pt x="305" y="299"/>
                    <a:pt x="305" y="299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302" y="304"/>
                    <a:pt x="302" y="304"/>
                    <a:pt x="302" y="304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99" y="307"/>
                    <a:pt x="299" y="307"/>
                    <a:pt x="299" y="307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260" y="352"/>
                    <a:pt x="260" y="352"/>
                    <a:pt x="260" y="352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1" y="268"/>
                    <a:pt x="301" y="268"/>
                    <a:pt x="301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8"/>
                    <a:pt x="300" y="268"/>
                    <a:pt x="300" y="268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300" y="267"/>
                    <a:pt x="300" y="267"/>
                    <a:pt x="300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7"/>
                    <a:pt x="299" y="267"/>
                    <a:pt x="299" y="267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7" y="265"/>
                    <a:pt x="297" y="265"/>
                    <a:pt x="297" y="265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79"/>
                    <a:pt x="265" y="279"/>
                    <a:pt x="265" y="279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7" y="282"/>
                    <a:pt x="267" y="282"/>
                    <a:pt x="267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1" y="282"/>
                    <a:pt x="271" y="282"/>
                    <a:pt x="271" y="282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2" y="284"/>
                    <a:pt x="272" y="284"/>
                    <a:pt x="272" y="284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4" y="285"/>
                    <a:pt x="274" y="285"/>
                    <a:pt x="274" y="285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7" y="287"/>
                    <a:pt x="277" y="287"/>
                    <a:pt x="277" y="287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73" y="294"/>
                    <a:pt x="273" y="294"/>
                    <a:pt x="273" y="294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60" y="302"/>
                    <a:pt x="260" y="302"/>
                    <a:pt x="260" y="302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54" y="306"/>
                    <a:pt x="254" y="306"/>
                    <a:pt x="254" y="306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8" y="311"/>
                    <a:pt x="248" y="311"/>
                    <a:pt x="248" y="311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3" y="316"/>
                    <a:pt x="243" y="316"/>
                    <a:pt x="243" y="316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1" y="323"/>
                    <a:pt x="241" y="323"/>
                    <a:pt x="241" y="323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3" y="333"/>
                    <a:pt x="243" y="333"/>
                    <a:pt x="243" y="333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4" y="334"/>
                    <a:pt x="244" y="334"/>
                    <a:pt x="244" y="334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6" y="335"/>
                    <a:pt x="246" y="335"/>
                    <a:pt x="246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49" y="336"/>
                    <a:pt x="249" y="336"/>
                    <a:pt x="249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1" y="337"/>
                    <a:pt x="251" y="337"/>
                    <a:pt x="251" y="337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53" y="338"/>
                    <a:pt x="253" y="338"/>
                    <a:pt x="253" y="338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208" y="370"/>
                    <a:pt x="208" y="370"/>
                    <a:pt x="208" y="370"/>
                  </a:cubicBezTo>
                  <a:cubicBezTo>
                    <a:pt x="189" y="384"/>
                    <a:pt x="189" y="384"/>
                    <a:pt x="189" y="384"/>
                  </a:cubicBezTo>
                  <a:cubicBezTo>
                    <a:pt x="185" y="386"/>
                    <a:pt x="185" y="386"/>
                    <a:pt x="185" y="386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9" y="402"/>
                    <a:pt x="159" y="402"/>
                    <a:pt x="159" y="402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8" y="404"/>
                    <a:pt x="158" y="404"/>
                    <a:pt x="158" y="404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6"/>
                    <a:pt x="157" y="406"/>
                    <a:pt x="157" y="406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7"/>
                    <a:pt x="157" y="407"/>
                    <a:pt x="157" y="407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09"/>
                    <a:pt x="157" y="409"/>
                    <a:pt x="157" y="409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7" y="410"/>
                    <a:pt x="157" y="410"/>
                    <a:pt x="157" y="410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58" y="411"/>
                    <a:pt x="158" y="411"/>
                    <a:pt x="158" y="411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1" y="412"/>
                    <a:pt x="161" y="412"/>
                    <a:pt x="161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5" y="412"/>
                    <a:pt x="165" y="412"/>
                    <a:pt x="165" y="412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68" y="411"/>
                    <a:pt x="168" y="411"/>
                    <a:pt x="168" y="411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2" y="410"/>
                    <a:pt x="172" y="410"/>
                    <a:pt x="172" y="410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5" y="409"/>
                    <a:pt x="175" y="409"/>
                    <a:pt x="175" y="409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78" y="406"/>
                    <a:pt x="178" y="406"/>
                    <a:pt x="178" y="406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1" y="404"/>
                    <a:pt x="181" y="404"/>
                    <a:pt x="181" y="404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185" y="401"/>
                    <a:pt x="185" y="401"/>
                    <a:pt x="185" y="401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12" y="386"/>
                    <a:pt x="212" y="386"/>
                    <a:pt x="212" y="386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205" y="394"/>
                    <a:pt x="205" y="394"/>
                    <a:pt x="205" y="394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8" y="400"/>
                    <a:pt x="198" y="400"/>
                    <a:pt x="198" y="400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90" y="407"/>
                    <a:pt x="190" y="407"/>
                    <a:pt x="190" y="407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82" y="412"/>
                    <a:pt x="182" y="412"/>
                    <a:pt x="182" y="412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74" y="419"/>
                    <a:pt x="174" y="419"/>
                    <a:pt x="174" y="419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66" y="424"/>
                    <a:pt x="166" y="424"/>
                    <a:pt x="166" y="424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56" y="430"/>
                    <a:pt x="156" y="430"/>
                    <a:pt x="156" y="430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9" y="436"/>
                    <a:pt x="149" y="436"/>
                    <a:pt x="149" y="436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7" y="437"/>
                    <a:pt x="147" y="437"/>
                    <a:pt x="147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6" y="437"/>
                    <a:pt x="146" y="437"/>
                    <a:pt x="146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4" y="437"/>
                    <a:pt x="144" y="437"/>
                    <a:pt x="144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2" y="437"/>
                    <a:pt x="142" y="437"/>
                    <a:pt x="142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40" y="437"/>
                    <a:pt x="140" y="437"/>
                    <a:pt x="140" y="437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9" y="436"/>
                    <a:pt x="139" y="436"/>
                    <a:pt x="139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6"/>
                    <a:pt x="137" y="436"/>
                    <a:pt x="137" y="436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7" y="434"/>
                    <a:pt x="137" y="434"/>
                    <a:pt x="137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5" y="430"/>
                    <a:pt x="135" y="430"/>
                    <a:pt x="135" y="430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3" y="427"/>
                    <a:pt x="133" y="427"/>
                    <a:pt x="133" y="427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31" y="424"/>
                    <a:pt x="131" y="424"/>
                    <a:pt x="131" y="424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3"/>
                    <a:pt x="129" y="423"/>
                    <a:pt x="129" y="423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20"/>
                    <a:pt x="129" y="420"/>
                    <a:pt x="129" y="420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32" y="414"/>
                    <a:pt x="132" y="414"/>
                    <a:pt x="132" y="414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7" y="380"/>
                    <a:pt x="187" y="380"/>
                    <a:pt x="187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8" y="380"/>
                    <a:pt x="188" y="380"/>
                    <a:pt x="188" y="380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1" y="378"/>
                    <a:pt x="191" y="378"/>
                    <a:pt x="191" y="378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3" y="376"/>
                    <a:pt x="193" y="376"/>
                    <a:pt x="193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4" y="376"/>
                    <a:pt x="194" y="376"/>
                    <a:pt x="194" y="376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4"/>
                    <a:pt x="196" y="374"/>
                    <a:pt x="196" y="374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6" y="372"/>
                    <a:pt x="196" y="372"/>
                    <a:pt x="196" y="372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7" y="370"/>
                    <a:pt x="197" y="370"/>
                    <a:pt x="197" y="370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9"/>
                    <a:pt x="196" y="369"/>
                    <a:pt x="196" y="369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7"/>
                    <a:pt x="196" y="367"/>
                    <a:pt x="196" y="367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6" y="365"/>
                    <a:pt x="196" y="365"/>
                    <a:pt x="196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91" y="365"/>
                    <a:pt x="191" y="365"/>
                    <a:pt x="191" y="365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6" y="361"/>
                    <a:pt x="186" y="361"/>
                    <a:pt x="186" y="361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3"/>
                    <a:pt x="182" y="353"/>
                    <a:pt x="182" y="353"/>
                  </a:cubicBezTo>
                  <a:cubicBezTo>
                    <a:pt x="182" y="351"/>
                    <a:pt x="182" y="350"/>
                    <a:pt x="181" y="349"/>
                  </a:cubicBezTo>
                  <a:cubicBezTo>
                    <a:pt x="181" y="349"/>
                    <a:pt x="181" y="349"/>
                    <a:pt x="181" y="349"/>
                  </a:cubicBezTo>
                  <a:cubicBezTo>
                    <a:pt x="181" y="348"/>
                    <a:pt x="181" y="346"/>
                    <a:pt x="180" y="345"/>
                  </a:cubicBezTo>
                  <a:cubicBezTo>
                    <a:pt x="180" y="345"/>
                    <a:pt x="180" y="345"/>
                    <a:pt x="180" y="345"/>
                  </a:cubicBezTo>
                  <a:cubicBezTo>
                    <a:pt x="179" y="341"/>
                    <a:pt x="178" y="338"/>
                    <a:pt x="177" y="334"/>
                  </a:cubicBezTo>
                  <a:cubicBezTo>
                    <a:pt x="177" y="334"/>
                    <a:pt x="177" y="334"/>
                    <a:pt x="177" y="334"/>
                  </a:cubicBezTo>
                  <a:cubicBezTo>
                    <a:pt x="177" y="326"/>
                    <a:pt x="178" y="319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80" y="308"/>
                    <a:pt x="181" y="304"/>
                    <a:pt x="182" y="300"/>
                  </a:cubicBezTo>
                  <a:cubicBezTo>
                    <a:pt x="182" y="300"/>
                    <a:pt x="182" y="300"/>
                    <a:pt x="182" y="300"/>
                  </a:cubicBezTo>
                  <a:cubicBezTo>
                    <a:pt x="184" y="297"/>
                    <a:pt x="185" y="293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9" y="287"/>
                    <a:pt x="191" y="283"/>
                    <a:pt x="193" y="280"/>
                  </a:cubicBezTo>
                  <a:cubicBezTo>
                    <a:pt x="193" y="280"/>
                    <a:pt x="193" y="280"/>
                    <a:pt x="193" y="280"/>
                  </a:cubicBezTo>
                  <a:cubicBezTo>
                    <a:pt x="195" y="276"/>
                    <a:pt x="197" y="273"/>
                    <a:pt x="199" y="269"/>
                  </a:cubicBezTo>
                  <a:cubicBezTo>
                    <a:pt x="199" y="269"/>
                    <a:pt x="199" y="269"/>
                    <a:pt x="199" y="26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194" y="268"/>
                    <a:pt x="181" y="276"/>
                    <a:pt x="168" y="284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3" y="288"/>
                    <a:pt x="160" y="289"/>
                    <a:pt x="154" y="285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3" y="285"/>
                    <a:pt x="152" y="285"/>
                    <a:pt x="151" y="285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0" y="285"/>
                    <a:pt x="150" y="284"/>
                    <a:pt x="149" y="283"/>
                  </a:cubicBezTo>
                  <a:cubicBezTo>
                    <a:pt x="149" y="283"/>
                    <a:pt x="149" y="283"/>
                    <a:pt x="149" y="283"/>
                  </a:cubicBezTo>
                  <a:cubicBezTo>
                    <a:pt x="148" y="283"/>
                    <a:pt x="147" y="282"/>
                    <a:pt x="146" y="282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5" y="281"/>
                    <a:pt x="145" y="280"/>
                    <a:pt x="145" y="279"/>
                  </a:cubicBezTo>
                  <a:cubicBezTo>
                    <a:pt x="145" y="279"/>
                    <a:pt x="145" y="279"/>
                    <a:pt x="145" y="279"/>
                  </a:cubicBezTo>
                  <a:cubicBezTo>
                    <a:pt x="142" y="278"/>
                    <a:pt x="140" y="276"/>
                    <a:pt x="138" y="274"/>
                  </a:cubicBezTo>
                  <a:cubicBezTo>
                    <a:pt x="138" y="274"/>
                    <a:pt x="138" y="274"/>
                    <a:pt x="138" y="274"/>
                  </a:cubicBezTo>
                  <a:cubicBezTo>
                    <a:pt x="138" y="274"/>
                    <a:pt x="137" y="273"/>
                    <a:pt x="136" y="273"/>
                  </a:cubicBezTo>
                  <a:cubicBezTo>
                    <a:pt x="136" y="273"/>
                    <a:pt x="136" y="273"/>
                    <a:pt x="136" y="273"/>
                  </a:cubicBezTo>
                  <a:cubicBezTo>
                    <a:pt x="136" y="273"/>
                    <a:pt x="135" y="273"/>
                    <a:pt x="134" y="272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3" y="272"/>
                    <a:pt x="133" y="272"/>
                    <a:pt x="132" y="271"/>
                  </a:cubicBezTo>
                  <a:cubicBezTo>
                    <a:pt x="132" y="271"/>
                    <a:pt x="132" y="271"/>
                    <a:pt x="132" y="271"/>
                  </a:cubicBezTo>
                  <a:cubicBezTo>
                    <a:pt x="132" y="271"/>
                    <a:pt x="131" y="270"/>
                    <a:pt x="131" y="269"/>
                  </a:cubicBezTo>
                  <a:cubicBezTo>
                    <a:pt x="131" y="269"/>
                    <a:pt x="131" y="269"/>
                    <a:pt x="131" y="269"/>
                  </a:cubicBezTo>
                  <a:cubicBezTo>
                    <a:pt x="130" y="270"/>
                    <a:pt x="129" y="270"/>
                    <a:pt x="128" y="270"/>
                  </a:cubicBezTo>
                  <a:cubicBezTo>
                    <a:pt x="128" y="270"/>
                    <a:pt x="128" y="270"/>
                    <a:pt x="128" y="270"/>
                  </a:cubicBezTo>
                  <a:cubicBezTo>
                    <a:pt x="127" y="271"/>
                    <a:pt x="126" y="271"/>
                    <a:pt x="126" y="271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5" y="272"/>
                    <a:pt x="125" y="273"/>
                    <a:pt x="125" y="273"/>
                  </a:cubicBezTo>
                  <a:cubicBezTo>
                    <a:pt x="125" y="273"/>
                    <a:pt x="125" y="273"/>
                    <a:pt x="125" y="273"/>
                  </a:cubicBezTo>
                  <a:cubicBezTo>
                    <a:pt x="124" y="274"/>
                    <a:pt x="124" y="274"/>
                    <a:pt x="123" y="275"/>
                  </a:cubicBezTo>
                  <a:cubicBezTo>
                    <a:pt x="123" y="275"/>
                    <a:pt x="123" y="275"/>
                    <a:pt x="123" y="275"/>
                  </a:cubicBezTo>
                  <a:cubicBezTo>
                    <a:pt x="123" y="276"/>
                    <a:pt x="123" y="277"/>
                    <a:pt x="122" y="278"/>
                  </a:cubicBezTo>
                  <a:cubicBezTo>
                    <a:pt x="122" y="278"/>
                    <a:pt x="122" y="278"/>
                    <a:pt x="122" y="278"/>
                  </a:cubicBezTo>
                  <a:cubicBezTo>
                    <a:pt x="122" y="279"/>
                    <a:pt x="122" y="279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0" y="280"/>
                    <a:pt x="119" y="281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19" y="281"/>
                    <a:pt x="119" y="281"/>
                    <a:pt x="118" y="281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63" y="378"/>
                    <a:pt x="63" y="378"/>
                    <a:pt x="63" y="378"/>
                  </a:cubicBezTo>
                  <a:cubicBezTo>
                    <a:pt x="20" y="459"/>
                    <a:pt x="20" y="459"/>
                    <a:pt x="20" y="459"/>
                  </a:cubicBezTo>
                  <a:lnTo>
                    <a:pt x="19" y="460"/>
                  </a:lnTo>
                  <a:close/>
                  <a:moveTo>
                    <a:pt x="1093" y="454"/>
                  </a:moveTo>
                  <a:cubicBezTo>
                    <a:pt x="1090" y="452"/>
                    <a:pt x="1090" y="452"/>
                    <a:pt x="1090" y="452"/>
                  </a:cubicBezTo>
                  <a:cubicBezTo>
                    <a:pt x="1090" y="452"/>
                    <a:pt x="1090" y="452"/>
                    <a:pt x="1090" y="452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8" y="450"/>
                    <a:pt x="1088" y="450"/>
                    <a:pt x="1088" y="450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7"/>
                    <a:pt x="1086" y="447"/>
                    <a:pt x="1086" y="447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3"/>
                    <a:pt x="1086" y="443"/>
                    <a:pt x="1086" y="443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40"/>
                    <a:pt x="1086" y="440"/>
                    <a:pt x="1086" y="440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6"/>
                    <a:pt x="1086" y="436"/>
                    <a:pt x="1086" y="436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6" y="433"/>
                    <a:pt x="1086" y="433"/>
                    <a:pt x="1086" y="433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89" y="428"/>
                    <a:pt x="1089" y="428"/>
                    <a:pt x="1089" y="428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095" y="425"/>
                    <a:pt x="1095" y="425"/>
                    <a:pt x="1095" y="425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2" y="421"/>
                    <a:pt x="1102" y="421"/>
                    <a:pt x="1102" y="421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09" y="417"/>
                    <a:pt x="1109" y="417"/>
                    <a:pt x="1109" y="417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15" y="411"/>
                    <a:pt x="1115" y="411"/>
                    <a:pt x="1115" y="411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1" y="407"/>
                    <a:pt x="1121" y="407"/>
                    <a:pt x="1121" y="407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28" y="402"/>
                    <a:pt x="1128" y="402"/>
                    <a:pt x="1128" y="402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34" y="398"/>
                    <a:pt x="1134" y="398"/>
                    <a:pt x="1134" y="398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42" y="394"/>
                    <a:pt x="1142" y="394"/>
                    <a:pt x="1142" y="39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69" y="374"/>
                    <a:pt x="1169" y="374"/>
                    <a:pt x="1169" y="374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1" y="371"/>
                    <a:pt x="1171" y="371"/>
                    <a:pt x="1171" y="371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4" y="367"/>
                    <a:pt x="1174" y="367"/>
                    <a:pt x="1174" y="367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77" y="364"/>
                    <a:pt x="1177" y="364"/>
                    <a:pt x="1177" y="364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0" y="358"/>
                    <a:pt x="1180" y="358"/>
                    <a:pt x="1180" y="358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2" y="354"/>
                    <a:pt x="1182" y="354"/>
                    <a:pt x="1182" y="354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4" y="349"/>
                    <a:pt x="1184" y="349"/>
                    <a:pt x="1184" y="349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44"/>
                    <a:pt x="1183" y="344"/>
                    <a:pt x="1183" y="344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83" y="338"/>
                    <a:pt x="1183" y="338"/>
                    <a:pt x="1183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7" y="338"/>
                    <a:pt x="1177" y="338"/>
                    <a:pt x="1177" y="338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5" y="340"/>
                    <a:pt x="1175" y="340"/>
                    <a:pt x="1175" y="340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4" y="343"/>
                    <a:pt x="1174" y="343"/>
                    <a:pt x="1174" y="343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2" y="345"/>
                    <a:pt x="1172" y="345"/>
                    <a:pt x="1172" y="345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71" y="347"/>
                    <a:pt x="1171" y="347"/>
                    <a:pt x="1171" y="347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8" y="349"/>
                    <a:pt x="1168" y="349"/>
                    <a:pt x="1168" y="349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6" y="350"/>
                    <a:pt x="1166" y="350"/>
                    <a:pt x="1166" y="350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2" y="352"/>
                    <a:pt x="1162" y="352"/>
                    <a:pt x="1162" y="352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60" y="353"/>
                    <a:pt x="1160" y="353"/>
                    <a:pt x="1160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6" y="353"/>
                    <a:pt x="1156" y="353"/>
                    <a:pt x="1156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4" y="353"/>
                    <a:pt x="1154" y="353"/>
                    <a:pt x="1154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3" y="353"/>
                    <a:pt x="1153" y="353"/>
                    <a:pt x="1153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51" y="353"/>
                    <a:pt x="1151" y="353"/>
                    <a:pt x="1151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9" y="353"/>
                    <a:pt x="1149" y="353"/>
                    <a:pt x="1149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7" y="353"/>
                    <a:pt x="1147" y="353"/>
                    <a:pt x="1147" y="353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6" y="352"/>
                    <a:pt x="1146" y="352"/>
                    <a:pt x="1146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5" y="352"/>
                    <a:pt x="1145" y="352"/>
                    <a:pt x="1145" y="352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3" y="351"/>
                    <a:pt x="1143" y="351"/>
                    <a:pt x="1143" y="351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50"/>
                    <a:pt x="1142" y="350"/>
                    <a:pt x="1142" y="350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8"/>
                    <a:pt x="1142" y="348"/>
                    <a:pt x="1142" y="348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7"/>
                    <a:pt x="1142" y="347"/>
                    <a:pt x="1142" y="347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5"/>
                    <a:pt x="1142" y="345"/>
                    <a:pt x="1142" y="345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3"/>
                    <a:pt x="1142" y="343"/>
                    <a:pt x="1142" y="343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42" y="341"/>
                    <a:pt x="1142" y="341"/>
                    <a:pt x="1142" y="341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70" y="322"/>
                    <a:pt x="1170" y="322"/>
                    <a:pt x="1170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9" y="322"/>
                    <a:pt x="1169" y="322"/>
                    <a:pt x="1169" y="322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20"/>
                    <a:pt x="1168" y="320"/>
                    <a:pt x="1168" y="320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9"/>
                    <a:pt x="1168" y="319"/>
                    <a:pt x="1168" y="319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7"/>
                    <a:pt x="1168" y="317"/>
                    <a:pt x="1168" y="317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6"/>
                    <a:pt x="1168" y="316"/>
                    <a:pt x="1168" y="316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4"/>
                    <a:pt x="1168" y="314"/>
                    <a:pt x="1168" y="314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68" y="312"/>
                    <a:pt x="1168" y="312"/>
                    <a:pt x="1168" y="312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0" y="310"/>
                    <a:pt x="1170" y="310"/>
                    <a:pt x="1170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1" y="310"/>
                    <a:pt x="1171" y="310"/>
                    <a:pt x="1171" y="310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2" y="308"/>
                    <a:pt x="1172" y="308"/>
                    <a:pt x="1172" y="308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3" y="306"/>
                    <a:pt x="1173" y="306"/>
                    <a:pt x="1173" y="306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5" y="303"/>
                    <a:pt x="1175" y="303"/>
                    <a:pt x="1175" y="303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301"/>
                    <a:pt x="1174" y="301"/>
                    <a:pt x="1174" y="301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8"/>
                    <a:pt x="1174" y="298"/>
                    <a:pt x="1174" y="298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6"/>
                    <a:pt x="1174" y="296"/>
                    <a:pt x="1174" y="296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4" y="294"/>
                    <a:pt x="1174" y="294"/>
                    <a:pt x="1174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2" y="294"/>
                    <a:pt x="1172" y="294"/>
                    <a:pt x="1172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70" y="294"/>
                    <a:pt x="1170" y="294"/>
                    <a:pt x="1170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8" y="294"/>
                    <a:pt x="1168" y="294"/>
                    <a:pt x="1168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6" y="294"/>
                    <a:pt x="1166" y="294"/>
                    <a:pt x="1166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5" y="294"/>
                    <a:pt x="1165" y="294"/>
                    <a:pt x="1165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2" y="294"/>
                    <a:pt x="1162" y="294"/>
                    <a:pt x="1162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60" y="294"/>
                    <a:pt x="1160" y="294"/>
                    <a:pt x="1160" y="294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9" y="293"/>
                    <a:pt x="1159" y="293"/>
                    <a:pt x="1159" y="293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7" y="295"/>
                    <a:pt x="1157" y="295"/>
                    <a:pt x="1157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6" y="295"/>
                    <a:pt x="1156" y="295"/>
                    <a:pt x="1156" y="295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5" y="296"/>
                    <a:pt x="1155" y="296"/>
                    <a:pt x="1155" y="296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3" y="298"/>
                    <a:pt x="1153" y="298"/>
                    <a:pt x="1153" y="298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2" y="299"/>
                    <a:pt x="1152" y="299"/>
                    <a:pt x="1152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0" y="299"/>
                    <a:pt x="1150" y="299"/>
                    <a:pt x="1150" y="299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3" y="295"/>
                    <a:pt x="1153" y="295"/>
                    <a:pt x="1153" y="295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58" y="289"/>
                    <a:pt x="1158" y="289"/>
                    <a:pt x="1158" y="289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65" y="284"/>
                    <a:pt x="1165" y="284"/>
                    <a:pt x="1165" y="284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2" y="280"/>
                    <a:pt x="1172" y="280"/>
                    <a:pt x="1172" y="280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78" y="276"/>
                    <a:pt x="1178" y="276"/>
                    <a:pt x="1178" y="276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85" y="272"/>
                    <a:pt x="1185" y="272"/>
                    <a:pt x="1185" y="272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2" y="268"/>
                    <a:pt x="1192" y="268"/>
                    <a:pt x="1192" y="268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199" y="262"/>
                    <a:pt x="1199" y="262"/>
                    <a:pt x="1199" y="262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3" y="259"/>
                    <a:pt x="1203" y="259"/>
                    <a:pt x="1203" y="259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08" y="256"/>
                    <a:pt x="1208" y="256"/>
                    <a:pt x="1208" y="256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2" y="254"/>
                    <a:pt x="1212" y="254"/>
                    <a:pt x="1212" y="254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17" y="249"/>
                    <a:pt x="1217" y="249"/>
                    <a:pt x="1217" y="249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0" y="245"/>
                    <a:pt x="1220" y="245"/>
                    <a:pt x="1220" y="245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3" y="240"/>
                    <a:pt x="1223" y="240"/>
                    <a:pt x="1223" y="240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5" y="234"/>
                    <a:pt x="1225" y="234"/>
                    <a:pt x="1225" y="234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6" y="228"/>
                    <a:pt x="1226" y="228"/>
                    <a:pt x="1226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8"/>
                    <a:pt x="1225" y="228"/>
                    <a:pt x="1225" y="228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5" y="226"/>
                    <a:pt x="1225" y="226"/>
                    <a:pt x="1225" y="226"/>
                  </a:cubicBezTo>
                  <a:cubicBezTo>
                    <a:pt x="1222" y="223"/>
                    <a:pt x="1221" y="222"/>
                    <a:pt x="1218" y="220"/>
                  </a:cubicBezTo>
                  <a:cubicBezTo>
                    <a:pt x="1218" y="220"/>
                    <a:pt x="1218" y="220"/>
                    <a:pt x="1218" y="220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7" y="218"/>
                    <a:pt x="1217" y="218"/>
                    <a:pt x="1217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13" y="218"/>
                    <a:pt x="1213" y="218"/>
                    <a:pt x="1213" y="218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6" y="224"/>
                    <a:pt x="1206" y="224"/>
                    <a:pt x="1206" y="224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94" y="237"/>
                    <a:pt x="1194" y="237"/>
                    <a:pt x="1194" y="237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9" y="243"/>
                    <a:pt x="1189" y="243"/>
                    <a:pt x="1189" y="243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81" y="248"/>
                    <a:pt x="1181" y="248"/>
                    <a:pt x="1181" y="248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75" y="252"/>
                    <a:pt x="1175" y="252"/>
                    <a:pt x="1175" y="252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68" y="253"/>
                    <a:pt x="1168" y="253"/>
                    <a:pt x="1168" y="253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50"/>
                    <a:pt x="1159" y="250"/>
                    <a:pt x="1159" y="250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59" y="247"/>
                    <a:pt x="1159" y="247"/>
                    <a:pt x="1159" y="247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4"/>
                    <a:pt x="1160" y="244"/>
                    <a:pt x="1160" y="244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0" y="241"/>
                    <a:pt x="1160" y="241"/>
                    <a:pt x="1160" y="241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7"/>
                    <a:pt x="1162" y="237"/>
                    <a:pt x="1162" y="237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2" y="234"/>
                    <a:pt x="1162" y="234"/>
                    <a:pt x="1162" y="234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4" y="230"/>
                    <a:pt x="1164" y="230"/>
                    <a:pt x="1164" y="230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7"/>
                    <a:pt x="1162" y="227"/>
                    <a:pt x="1162" y="227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62" y="223"/>
                    <a:pt x="1162" y="223"/>
                    <a:pt x="1162" y="223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37" y="232"/>
                    <a:pt x="1137" y="232"/>
                    <a:pt x="1137" y="232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106" y="254"/>
                    <a:pt x="1106" y="254"/>
                    <a:pt x="1106" y="254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9" y="256"/>
                    <a:pt x="1099" y="256"/>
                    <a:pt x="1099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93" y="256"/>
                    <a:pt x="1093" y="256"/>
                    <a:pt x="1093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8" y="256"/>
                    <a:pt x="1088" y="256"/>
                    <a:pt x="1088" y="256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82" y="253"/>
                    <a:pt x="1082" y="253"/>
                    <a:pt x="1082" y="253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6" y="251"/>
                    <a:pt x="1076" y="251"/>
                    <a:pt x="1076" y="251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71" y="248"/>
                    <a:pt x="1071" y="248"/>
                    <a:pt x="1071" y="248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6" y="245"/>
                    <a:pt x="1066" y="245"/>
                    <a:pt x="1066" y="245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60" y="242"/>
                    <a:pt x="1060" y="242"/>
                    <a:pt x="1060" y="242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41"/>
                    <a:pt x="1058" y="241"/>
                    <a:pt x="1058" y="241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8" y="239"/>
                    <a:pt x="1058" y="239"/>
                    <a:pt x="1058" y="239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8"/>
                    <a:pt x="1056" y="238"/>
                    <a:pt x="1056" y="238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6" y="235"/>
                    <a:pt x="1056" y="235"/>
                    <a:pt x="1056" y="235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4"/>
                    <a:pt x="1055" y="234"/>
                    <a:pt x="1055" y="234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2"/>
                    <a:pt x="1055" y="232"/>
                    <a:pt x="1055" y="232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30"/>
                    <a:pt x="1055" y="230"/>
                    <a:pt x="1055" y="230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5" y="228"/>
                    <a:pt x="1055" y="228"/>
                    <a:pt x="1055" y="228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58" y="229"/>
                    <a:pt x="1058" y="229"/>
                    <a:pt x="1058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3" y="229"/>
                    <a:pt x="1063" y="229"/>
                    <a:pt x="1063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67" y="229"/>
                    <a:pt x="1067" y="229"/>
                    <a:pt x="1067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76" y="229"/>
                    <a:pt x="1076" y="229"/>
                    <a:pt x="1076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1" y="229"/>
                    <a:pt x="1081" y="229"/>
                    <a:pt x="1081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86" y="229"/>
                    <a:pt x="1086" y="229"/>
                    <a:pt x="1086" y="229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2" y="227"/>
                    <a:pt x="1092" y="227"/>
                    <a:pt x="1092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098" y="227"/>
                    <a:pt x="1098" y="227"/>
                    <a:pt x="1098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05" y="227"/>
                    <a:pt x="1105" y="227"/>
                    <a:pt x="1105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1" y="227"/>
                    <a:pt x="1111" y="227"/>
                    <a:pt x="1111" y="227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18" y="225"/>
                    <a:pt x="1118" y="225"/>
                    <a:pt x="1118" y="225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24" y="224"/>
                    <a:pt x="1124" y="224"/>
                    <a:pt x="1124" y="224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1" y="222"/>
                    <a:pt x="1131" y="222"/>
                    <a:pt x="1131" y="222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37" y="219"/>
                    <a:pt x="1137" y="219"/>
                    <a:pt x="1137" y="219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43" y="215"/>
                    <a:pt x="1143" y="215"/>
                    <a:pt x="1143" y="215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9" y="192"/>
                    <a:pt x="1199" y="192"/>
                    <a:pt x="1199" y="192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7" y="191"/>
                    <a:pt x="1197" y="191"/>
                    <a:pt x="1197" y="191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6" y="189"/>
                    <a:pt x="1196" y="189"/>
                    <a:pt x="1196" y="189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4" y="188"/>
                    <a:pt x="1194" y="188"/>
                    <a:pt x="1194" y="188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3" y="186"/>
                    <a:pt x="1193" y="186"/>
                    <a:pt x="1193" y="186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91" y="185"/>
                    <a:pt x="1191" y="185"/>
                    <a:pt x="1191" y="185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9" y="184"/>
                    <a:pt x="1189" y="184"/>
                    <a:pt x="1189" y="184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7" y="183"/>
                    <a:pt x="1187" y="183"/>
                    <a:pt x="1187" y="183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4" y="181"/>
                    <a:pt x="1184" y="181"/>
                    <a:pt x="1184" y="181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80"/>
                    <a:pt x="1181" y="180"/>
                    <a:pt x="1181" y="180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7"/>
                    <a:pt x="1181" y="177"/>
                    <a:pt x="1181" y="177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4"/>
                    <a:pt x="1181" y="174"/>
                    <a:pt x="1181" y="174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1" y="171"/>
                    <a:pt x="1181" y="171"/>
                    <a:pt x="1181" y="171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8"/>
                    <a:pt x="1180" y="168"/>
                    <a:pt x="1180" y="168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80" y="164"/>
                    <a:pt x="1180" y="164"/>
                    <a:pt x="1180" y="164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9" y="158"/>
                    <a:pt x="1179" y="158"/>
                    <a:pt x="1179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5" y="158"/>
                    <a:pt x="1175" y="158"/>
                    <a:pt x="1175" y="158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71" y="162"/>
                    <a:pt x="1171" y="162"/>
                    <a:pt x="1171" y="162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8" y="165"/>
                    <a:pt x="1168" y="165"/>
                    <a:pt x="1168" y="165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64" y="168"/>
                    <a:pt x="1164" y="168"/>
                    <a:pt x="1164" y="168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9" y="170"/>
                    <a:pt x="1159" y="170"/>
                    <a:pt x="1159" y="170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4" y="171"/>
                    <a:pt x="1154" y="171"/>
                    <a:pt x="1154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50" y="171"/>
                    <a:pt x="1150" y="171"/>
                    <a:pt x="1150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6" y="171"/>
                    <a:pt x="1146" y="171"/>
                    <a:pt x="1146" y="171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1" y="169"/>
                    <a:pt x="1141" y="169"/>
                    <a:pt x="1141" y="169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40" y="166"/>
                    <a:pt x="1140" y="166"/>
                    <a:pt x="1140" y="166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9" y="162"/>
                    <a:pt x="1139" y="162"/>
                    <a:pt x="1139" y="162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7" y="159"/>
                    <a:pt x="1137" y="159"/>
                    <a:pt x="1137" y="159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6" y="155"/>
                    <a:pt x="1136" y="155"/>
                    <a:pt x="1136" y="155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51"/>
                    <a:pt x="1134" y="151"/>
                    <a:pt x="1134" y="151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4" y="147"/>
                    <a:pt x="1134" y="147"/>
                    <a:pt x="1134" y="147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5" y="144"/>
                    <a:pt x="1135" y="144"/>
                    <a:pt x="1135" y="144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1"/>
                    <a:pt x="1139" y="141"/>
                    <a:pt x="1139" y="141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39" y="143"/>
                    <a:pt x="1139" y="143"/>
                    <a:pt x="1139" y="143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0" y="144"/>
                    <a:pt x="1140" y="144"/>
                    <a:pt x="1140" y="144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1" y="146"/>
                    <a:pt x="1141" y="146"/>
                    <a:pt x="1141" y="146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5" y="147"/>
                    <a:pt x="1145" y="147"/>
                    <a:pt x="1145" y="147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47" y="148"/>
                    <a:pt x="1147" y="148"/>
                    <a:pt x="1147" y="148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0" y="149"/>
                    <a:pt x="1150" y="149"/>
                    <a:pt x="1150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2" y="149"/>
                    <a:pt x="1152" y="149"/>
                    <a:pt x="1152" y="149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5" y="148"/>
                    <a:pt x="1155" y="148"/>
                    <a:pt x="1155" y="148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58" y="147"/>
                    <a:pt x="1158" y="147"/>
                    <a:pt x="1158" y="147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1" y="146"/>
                    <a:pt x="1161" y="146"/>
                    <a:pt x="1161" y="146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5" y="145"/>
                    <a:pt x="1165" y="145"/>
                    <a:pt x="1165" y="145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69" y="143"/>
                    <a:pt x="1169" y="143"/>
                    <a:pt x="1169" y="143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1" y="142"/>
                    <a:pt x="1171" y="142"/>
                    <a:pt x="1171" y="142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4" y="140"/>
                    <a:pt x="1174" y="140"/>
                    <a:pt x="1174" y="140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6" y="138"/>
                    <a:pt x="1176" y="138"/>
                    <a:pt x="1176" y="138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9" y="133"/>
                    <a:pt x="1179" y="133"/>
                    <a:pt x="1179" y="133"/>
                  </a:cubicBezTo>
                  <a:cubicBezTo>
                    <a:pt x="1178" y="101"/>
                    <a:pt x="1178" y="101"/>
                    <a:pt x="1178" y="101"/>
                  </a:cubicBezTo>
                  <a:cubicBezTo>
                    <a:pt x="1178" y="99"/>
                    <a:pt x="1178" y="99"/>
                    <a:pt x="1178" y="99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79" y="73"/>
                    <a:pt x="1179" y="73"/>
                    <a:pt x="1179" y="73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1" y="75"/>
                    <a:pt x="1181" y="75"/>
                    <a:pt x="1181" y="75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4" y="77"/>
                    <a:pt x="1184" y="77"/>
                    <a:pt x="1184" y="77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87" y="79"/>
                    <a:pt x="1187" y="79"/>
                    <a:pt x="1187" y="79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2" y="83"/>
                    <a:pt x="1192" y="83"/>
                    <a:pt x="1192" y="83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5" y="85"/>
                    <a:pt x="1195" y="85"/>
                    <a:pt x="1195" y="85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198" y="87"/>
                    <a:pt x="1198" y="87"/>
                    <a:pt x="1198" y="87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1" y="89"/>
                    <a:pt x="1201" y="89"/>
                    <a:pt x="1201" y="89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4" y="97"/>
                    <a:pt x="1204" y="97"/>
                    <a:pt x="1204" y="97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6" y="103"/>
                    <a:pt x="1206" y="103"/>
                    <a:pt x="1206" y="103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4" y="111"/>
                    <a:pt x="1204" y="111"/>
                    <a:pt x="1204" y="111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3" y="118"/>
                    <a:pt x="1203" y="118"/>
                    <a:pt x="1203" y="118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27"/>
                    <a:pt x="1201" y="127"/>
                    <a:pt x="1201" y="127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1" y="134"/>
                    <a:pt x="1201" y="134"/>
                    <a:pt x="1201" y="134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2" y="141"/>
                    <a:pt x="1202" y="141"/>
                    <a:pt x="1202" y="141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07" y="146"/>
                    <a:pt x="1207" y="146"/>
                    <a:pt x="1207" y="146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1" y="145"/>
                    <a:pt x="1211" y="145"/>
                    <a:pt x="1211" y="145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3" y="142"/>
                    <a:pt x="1213" y="142"/>
                    <a:pt x="1213" y="142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5" y="139"/>
                    <a:pt x="1215" y="139"/>
                    <a:pt x="1215" y="139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6" y="136"/>
                    <a:pt x="1216" y="136"/>
                    <a:pt x="1216" y="136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7" y="131"/>
                    <a:pt x="1217" y="131"/>
                    <a:pt x="1217" y="131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8"/>
                    <a:pt x="1216" y="128"/>
                    <a:pt x="1216" y="128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23"/>
                    <a:pt x="1216" y="123"/>
                    <a:pt x="1216" y="123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9"/>
                    <a:pt x="1216" y="119"/>
                    <a:pt x="1216" y="119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6" y="114"/>
                    <a:pt x="1216" y="114"/>
                    <a:pt x="1216" y="114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7" y="115"/>
                    <a:pt x="1217" y="115"/>
                    <a:pt x="1217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8" y="115"/>
                    <a:pt x="1218" y="115"/>
                    <a:pt x="1218" y="115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19" y="116"/>
                    <a:pt x="1219" y="116"/>
                    <a:pt x="1219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1" y="116"/>
                    <a:pt x="1221" y="116"/>
                    <a:pt x="1221" y="116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2" y="118"/>
                    <a:pt x="1222" y="118"/>
                    <a:pt x="1222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8"/>
                    <a:pt x="1225" y="118"/>
                    <a:pt x="1225" y="118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5" y="119"/>
                    <a:pt x="1225" y="119"/>
                    <a:pt x="1225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29" y="119"/>
                    <a:pt x="1229" y="119"/>
                    <a:pt x="1229" y="119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34" y="117"/>
                    <a:pt x="1234" y="117"/>
                    <a:pt x="1234" y="117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45" y="102"/>
                    <a:pt x="1245" y="102"/>
                    <a:pt x="1245" y="102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5" y="151"/>
                    <a:pt x="1225" y="151"/>
                    <a:pt x="1225" y="151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2" y="152"/>
                    <a:pt x="1222" y="152"/>
                    <a:pt x="1222" y="152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20" y="153"/>
                    <a:pt x="1220" y="153"/>
                    <a:pt x="1220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8" y="153"/>
                    <a:pt x="1218" y="153"/>
                    <a:pt x="1218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7" y="153"/>
                    <a:pt x="1217" y="153"/>
                    <a:pt x="1217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5" y="153"/>
                    <a:pt x="1215" y="153"/>
                    <a:pt x="1215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4" y="153"/>
                    <a:pt x="1214" y="153"/>
                    <a:pt x="1214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2" y="153"/>
                    <a:pt x="1212" y="153"/>
                    <a:pt x="1212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11" y="153"/>
                    <a:pt x="1211" y="153"/>
                    <a:pt x="1211" y="153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7" y="157"/>
                    <a:pt x="1207" y="157"/>
                    <a:pt x="1207" y="157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4" y="161"/>
                    <a:pt x="1204" y="161"/>
                    <a:pt x="1204" y="161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66"/>
                    <a:pt x="1203" y="166"/>
                    <a:pt x="1203" y="166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3" y="171"/>
                    <a:pt x="1203" y="171"/>
                    <a:pt x="1203" y="171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76"/>
                    <a:pt x="1202" y="176"/>
                    <a:pt x="1202" y="176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2" y="181"/>
                    <a:pt x="1202" y="181"/>
                    <a:pt x="1202" y="181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3" y="185"/>
                    <a:pt x="1203" y="185"/>
                    <a:pt x="1203" y="185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06" y="188"/>
                    <a:pt x="1206" y="188"/>
                    <a:pt x="1206" y="188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46" y="170"/>
                    <a:pt x="1246" y="170"/>
                    <a:pt x="1246" y="170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2" y="66"/>
                    <a:pt x="1262" y="66"/>
                    <a:pt x="1262" y="66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60" y="63"/>
                    <a:pt x="1260" y="63"/>
                    <a:pt x="1260" y="63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9" y="60"/>
                    <a:pt x="1259" y="60"/>
                    <a:pt x="1259" y="60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8"/>
                    <a:pt x="1258" y="58"/>
                    <a:pt x="1258" y="58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8" y="54"/>
                    <a:pt x="1258" y="54"/>
                    <a:pt x="1258" y="54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51"/>
                    <a:pt x="1257" y="51"/>
                    <a:pt x="1257" y="51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7"/>
                    <a:pt x="1257" y="47"/>
                    <a:pt x="1257" y="47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57" y="44"/>
                    <a:pt x="1257" y="44"/>
                    <a:pt x="1257" y="44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0" y="40"/>
                    <a:pt x="1260" y="40"/>
                    <a:pt x="1260" y="40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2" y="41"/>
                    <a:pt x="1262" y="41"/>
                    <a:pt x="1262" y="41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4" y="40"/>
                    <a:pt x="1264" y="40"/>
                    <a:pt x="1264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68" y="40"/>
                    <a:pt x="1268" y="40"/>
                    <a:pt x="1268" y="40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1" y="38"/>
                    <a:pt x="1271" y="38"/>
                    <a:pt x="1271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3" y="38"/>
                    <a:pt x="1273" y="38"/>
                    <a:pt x="1273" y="38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6" y="37"/>
                    <a:pt x="1276" y="37"/>
                    <a:pt x="1276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79" y="37"/>
                    <a:pt x="1279" y="37"/>
                    <a:pt x="1279" y="37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38"/>
                    <a:pt x="1282" y="38"/>
                    <a:pt x="1282" y="38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2" y="54"/>
                    <a:pt x="1282" y="54"/>
                    <a:pt x="1282" y="54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80" y="69"/>
                    <a:pt x="1280" y="69"/>
                    <a:pt x="1280" y="69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6" y="84"/>
                    <a:pt x="1276" y="84"/>
                    <a:pt x="1276" y="84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73" y="99"/>
                    <a:pt x="1273" y="99"/>
                    <a:pt x="1273" y="99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8" y="114"/>
                    <a:pt x="1268" y="114"/>
                    <a:pt x="1268" y="114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4" y="129"/>
                    <a:pt x="1264" y="129"/>
                    <a:pt x="1264" y="129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1" y="144"/>
                    <a:pt x="1261" y="144"/>
                    <a:pt x="1261" y="144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0" y="159"/>
                    <a:pt x="1260" y="159"/>
                    <a:pt x="1260" y="159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263" y="161"/>
                    <a:pt x="1263" y="161"/>
                    <a:pt x="1263" y="161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03" y="152"/>
                    <a:pt x="1303" y="152"/>
                    <a:pt x="1303" y="152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20" y="176"/>
                    <a:pt x="1320" y="176"/>
                    <a:pt x="1320" y="176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11" y="174"/>
                    <a:pt x="1311" y="174"/>
                    <a:pt x="1311" y="174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301" y="172"/>
                    <a:pt x="1301" y="172"/>
                    <a:pt x="1301" y="172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92" y="171"/>
                    <a:pt x="1292" y="171"/>
                    <a:pt x="1292" y="171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83" y="170"/>
                    <a:pt x="1283" y="170"/>
                    <a:pt x="1283" y="170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74" y="171"/>
                    <a:pt x="1274" y="171"/>
                    <a:pt x="1274" y="171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64" y="172"/>
                    <a:pt x="1264" y="172"/>
                    <a:pt x="1264" y="172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55" y="175"/>
                    <a:pt x="1255" y="175"/>
                    <a:pt x="1255" y="175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248" y="180"/>
                    <a:pt x="1248" y="180"/>
                    <a:pt x="1248" y="180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7"/>
                    <a:pt x="1181" y="217"/>
                    <a:pt x="1181" y="217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19"/>
                    <a:pt x="1181" y="219"/>
                    <a:pt x="1181" y="219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1"/>
                    <a:pt x="1181" y="221"/>
                    <a:pt x="1181" y="221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4"/>
                    <a:pt x="1181" y="224"/>
                    <a:pt x="1181" y="224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6"/>
                    <a:pt x="1181" y="226"/>
                    <a:pt x="1181" y="226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1" y="228"/>
                    <a:pt x="1181" y="228"/>
                    <a:pt x="1181" y="228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3" y="229"/>
                    <a:pt x="1183" y="229"/>
                    <a:pt x="1183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188" y="229"/>
                    <a:pt x="1188" y="229"/>
                    <a:pt x="1188" y="229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5" y="204"/>
                    <a:pt x="1225" y="204"/>
                    <a:pt x="1225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29" y="204"/>
                    <a:pt x="1229" y="204"/>
                    <a:pt x="1229" y="204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3" y="203"/>
                    <a:pt x="1233" y="203"/>
                    <a:pt x="1233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37" y="203"/>
                    <a:pt x="1237" y="203"/>
                    <a:pt x="1237" y="203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2" y="202"/>
                    <a:pt x="1242" y="202"/>
                    <a:pt x="1242" y="202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45" y="203"/>
                    <a:pt x="1245" y="203"/>
                    <a:pt x="1245" y="203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1" y="204"/>
                    <a:pt x="1251" y="204"/>
                    <a:pt x="1251" y="204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59" y="207"/>
                    <a:pt x="1259" y="207"/>
                    <a:pt x="1259" y="207"/>
                  </a:cubicBezTo>
                  <a:cubicBezTo>
                    <a:pt x="1244" y="229"/>
                    <a:pt x="1237" y="234"/>
                    <a:pt x="1237" y="235"/>
                  </a:cubicBezTo>
                  <a:cubicBezTo>
                    <a:pt x="1237" y="235"/>
                    <a:pt x="1237" y="235"/>
                    <a:pt x="1237" y="235"/>
                  </a:cubicBezTo>
                  <a:cubicBezTo>
                    <a:pt x="1237" y="236"/>
                    <a:pt x="1237" y="236"/>
                    <a:pt x="1237" y="236"/>
                  </a:cubicBezTo>
                  <a:cubicBezTo>
                    <a:pt x="1234" y="239"/>
                    <a:pt x="1234" y="239"/>
                    <a:pt x="1234" y="239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1" y="242"/>
                    <a:pt x="1231" y="242"/>
                    <a:pt x="1231" y="242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3"/>
                    <a:pt x="1230" y="243"/>
                    <a:pt x="1230" y="243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5"/>
                    <a:pt x="1230" y="245"/>
                    <a:pt x="1230" y="245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6"/>
                    <a:pt x="1230" y="246"/>
                    <a:pt x="1230" y="246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8"/>
                    <a:pt x="1230" y="248"/>
                    <a:pt x="1230" y="248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49"/>
                    <a:pt x="1230" y="249"/>
                    <a:pt x="1230" y="249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0" y="251"/>
                    <a:pt x="1230" y="251"/>
                    <a:pt x="1230" y="251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1" y="252"/>
                    <a:pt x="1231" y="252"/>
                    <a:pt x="1231" y="252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2" y="253"/>
                    <a:pt x="1232" y="253"/>
                    <a:pt x="1232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3"/>
                    <a:pt x="1233" y="253"/>
                    <a:pt x="1233" y="253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3" y="255"/>
                    <a:pt x="1233" y="255"/>
                    <a:pt x="1233" y="255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5" y="256"/>
                    <a:pt x="1235" y="256"/>
                    <a:pt x="1235" y="256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7" y="257"/>
                    <a:pt x="1237" y="257"/>
                    <a:pt x="1237" y="257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6" y="263"/>
                    <a:pt x="1236" y="263"/>
                    <a:pt x="1236" y="263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4" y="266"/>
                    <a:pt x="1234" y="266"/>
                    <a:pt x="1234" y="266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2" y="267"/>
                    <a:pt x="1232" y="267"/>
                    <a:pt x="1232" y="267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30" y="269"/>
                    <a:pt x="1230" y="269"/>
                    <a:pt x="1230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9" y="269"/>
                    <a:pt x="1229" y="269"/>
                    <a:pt x="1229" y="269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5" y="271"/>
                    <a:pt x="1225" y="271"/>
                    <a:pt x="1225" y="271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3" y="272"/>
                    <a:pt x="1223" y="272"/>
                    <a:pt x="1223" y="272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21" y="274"/>
                    <a:pt x="1221" y="274"/>
                    <a:pt x="1221" y="274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9" y="275"/>
                    <a:pt x="1219" y="275"/>
                    <a:pt x="1219" y="275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7" y="278"/>
                    <a:pt x="1217" y="278"/>
                    <a:pt x="1217" y="278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0"/>
                    <a:pt x="1218" y="280"/>
                    <a:pt x="1218" y="280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18" y="282"/>
                    <a:pt x="1218" y="282"/>
                    <a:pt x="1218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1" y="282"/>
                    <a:pt x="1221" y="282"/>
                    <a:pt x="1221" y="282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2" y="284"/>
                    <a:pt x="1222" y="284"/>
                    <a:pt x="1222" y="284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5" y="285"/>
                    <a:pt x="1225" y="285"/>
                    <a:pt x="1225" y="285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26" y="286"/>
                    <a:pt x="1226" y="286"/>
                    <a:pt x="1226" y="286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7"/>
                    <a:pt x="1230" y="287"/>
                    <a:pt x="1230" y="287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89"/>
                    <a:pt x="1230" y="289"/>
                    <a:pt x="1230" y="289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0"/>
                    <a:pt x="1230" y="290"/>
                    <a:pt x="1230" y="290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0" y="291"/>
                    <a:pt x="1230" y="291"/>
                    <a:pt x="1230" y="291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2"/>
                    <a:pt x="1231" y="292"/>
                    <a:pt x="1231" y="292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4"/>
                    <a:pt x="1231" y="294"/>
                    <a:pt x="1231" y="294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5"/>
                    <a:pt x="1231" y="295"/>
                    <a:pt x="1231" y="295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31" y="296"/>
                    <a:pt x="1231" y="296"/>
                    <a:pt x="1231" y="296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5" y="298"/>
                    <a:pt x="1225" y="298"/>
                    <a:pt x="1225" y="298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1"/>
                    <a:pt x="1223" y="301"/>
                    <a:pt x="1223" y="301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3" y="302"/>
                    <a:pt x="1223" y="302"/>
                    <a:pt x="1223" y="302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5"/>
                    <a:pt x="1225" y="305"/>
                    <a:pt x="1225" y="305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5" y="306"/>
                    <a:pt x="1225" y="306"/>
                    <a:pt x="1225" y="306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6" y="309"/>
                    <a:pt x="1226" y="309"/>
                    <a:pt x="1226" y="309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0"/>
                    <a:pt x="1227" y="310"/>
                    <a:pt x="1227" y="310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2"/>
                    <a:pt x="1227" y="312"/>
                    <a:pt x="1227" y="312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7" y="313"/>
                    <a:pt x="1227" y="313"/>
                    <a:pt x="1227" y="313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5" y="316"/>
                    <a:pt x="1225" y="316"/>
                    <a:pt x="1225" y="316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2" y="317"/>
                    <a:pt x="1222" y="317"/>
                    <a:pt x="1222" y="317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20" y="318"/>
                    <a:pt x="1220" y="318"/>
                    <a:pt x="1220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8" y="318"/>
                    <a:pt x="1218" y="318"/>
                    <a:pt x="1218" y="318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5" y="319"/>
                    <a:pt x="1215" y="319"/>
                    <a:pt x="1215" y="319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3" y="320"/>
                    <a:pt x="1213" y="320"/>
                    <a:pt x="1213" y="320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10" y="321"/>
                    <a:pt x="1210" y="321"/>
                    <a:pt x="1210" y="321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9" y="322"/>
                    <a:pt x="1209" y="322"/>
                    <a:pt x="1209" y="322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207" y="406"/>
                    <a:pt x="1207" y="406"/>
                    <a:pt x="1207" y="406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9" y="407"/>
                    <a:pt x="1199" y="407"/>
                    <a:pt x="1199" y="407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5" y="404"/>
                    <a:pt x="1195" y="404"/>
                    <a:pt x="1195" y="404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92" y="400"/>
                    <a:pt x="1192" y="400"/>
                    <a:pt x="1192" y="400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7" y="398"/>
                    <a:pt x="1187" y="398"/>
                    <a:pt x="1187" y="398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82" y="396"/>
                    <a:pt x="1182" y="396"/>
                    <a:pt x="1182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6" y="396"/>
                    <a:pt x="1176" y="396"/>
                    <a:pt x="1176" y="396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71" y="394"/>
                    <a:pt x="1171" y="394"/>
                    <a:pt x="1171" y="394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6" y="392"/>
                    <a:pt x="1166" y="392"/>
                    <a:pt x="1166" y="392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61" y="389"/>
                    <a:pt x="1161" y="389"/>
                    <a:pt x="1161" y="389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55" y="390"/>
                    <a:pt x="1155" y="390"/>
                    <a:pt x="1155" y="390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32" y="409"/>
                    <a:pt x="1132" y="409"/>
                    <a:pt x="1132" y="409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4" y="414"/>
                    <a:pt x="1124" y="414"/>
                    <a:pt x="1124" y="414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20" y="420"/>
                    <a:pt x="1120" y="420"/>
                    <a:pt x="1120" y="420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7" y="426"/>
                    <a:pt x="1117" y="426"/>
                    <a:pt x="1117" y="426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4" y="432"/>
                    <a:pt x="1114" y="432"/>
                    <a:pt x="1114" y="432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10" y="439"/>
                    <a:pt x="1110" y="439"/>
                    <a:pt x="1110" y="439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6" y="445"/>
                    <a:pt x="1106" y="445"/>
                    <a:pt x="1106" y="445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101" y="451"/>
                    <a:pt x="1101" y="451"/>
                    <a:pt x="1101" y="451"/>
                  </a:cubicBezTo>
                  <a:cubicBezTo>
                    <a:pt x="1096" y="454"/>
                    <a:pt x="1096" y="454"/>
                    <a:pt x="1096" y="454"/>
                  </a:cubicBezTo>
                  <a:lnTo>
                    <a:pt x="1093" y="454"/>
                  </a:lnTo>
                  <a:close/>
                  <a:moveTo>
                    <a:pt x="425" y="424"/>
                  </a:moveTo>
                  <a:cubicBezTo>
                    <a:pt x="422" y="424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21" y="424"/>
                    <a:pt x="421" y="424"/>
                    <a:pt x="421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9" y="424"/>
                    <a:pt x="419" y="424"/>
                    <a:pt x="419" y="424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8" y="423"/>
                    <a:pt x="418" y="423"/>
                    <a:pt x="418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6" y="423"/>
                    <a:pt x="416" y="423"/>
                    <a:pt x="416" y="423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5" y="421"/>
                    <a:pt x="415" y="421"/>
                    <a:pt x="415" y="421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3" y="420"/>
                    <a:pt x="413" y="420"/>
                    <a:pt x="413" y="420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2" y="418"/>
                    <a:pt x="412" y="418"/>
                    <a:pt x="412" y="418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5"/>
                    <a:pt x="409" y="415"/>
                    <a:pt x="409" y="415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9" y="414"/>
                    <a:pt x="409" y="414"/>
                    <a:pt x="409" y="414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6" y="413"/>
                    <a:pt x="406" y="413"/>
                    <a:pt x="406" y="413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5" y="412"/>
                    <a:pt x="405" y="412"/>
                    <a:pt x="405" y="412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4" y="411"/>
                    <a:pt x="404" y="411"/>
                    <a:pt x="404" y="411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3" y="410"/>
                    <a:pt x="403" y="410"/>
                    <a:pt x="403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2" y="410"/>
                    <a:pt x="402" y="410"/>
                    <a:pt x="402" y="410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9"/>
                    <a:pt x="401" y="409"/>
                    <a:pt x="401" y="409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1" y="408"/>
                    <a:pt x="401" y="408"/>
                    <a:pt x="401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8"/>
                    <a:pt x="400" y="408"/>
                    <a:pt x="400" y="408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7"/>
                    <a:pt x="400" y="407"/>
                    <a:pt x="400" y="407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6"/>
                    <a:pt x="400" y="406"/>
                    <a:pt x="400" y="406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0" y="404"/>
                    <a:pt x="400" y="404"/>
                    <a:pt x="400" y="404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06" y="400"/>
                    <a:pt x="406" y="400"/>
                    <a:pt x="406" y="400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17" y="401"/>
                    <a:pt x="417" y="401"/>
                    <a:pt x="417" y="401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28" y="398"/>
                    <a:pt x="428" y="398"/>
                    <a:pt x="428" y="398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3" y="396"/>
                    <a:pt x="433" y="396"/>
                    <a:pt x="433" y="396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38" y="395"/>
                    <a:pt x="438" y="395"/>
                    <a:pt x="438" y="395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3" y="392"/>
                    <a:pt x="443" y="392"/>
                    <a:pt x="443" y="392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48" y="389"/>
                    <a:pt x="448" y="389"/>
                    <a:pt x="448" y="389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4" y="385"/>
                    <a:pt x="454" y="385"/>
                    <a:pt x="454" y="385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59" y="381"/>
                    <a:pt x="459" y="381"/>
                    <a:pt x="459" y="381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4" y="377"/>
                    <a:pt x="464" y="377"/>
                    <a:pt x="464" y="377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68" y="372"/>
                    <a:pt x="468" y="372"/>
                    <a:pt x="468" y="372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4" y="367"/>
                    <a:pt x="474" y="367"/>
                    <a:pt x="474" y="367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78" y="363"/>
                    <a:pt x="478" y="363"/>
                    <a:pt x="478" y="363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3" y="357"/>
                    <a:pt x="483" y="357"/>
                    <a:pt x="483" y="357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6" y="359"/>
                    <a:pt x="486" y="359"/>
                    <a:pt x="486" y="359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81" y="367"/>
                    <a:pt x="481" y="367"/>
                    <a:pt x="481" y="367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6" y="374"/>
                    <a:pt x="476" y="374"/>
                    <a:pt x="476" y="374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70" y="381"/>
                    <a:pt x="470" y="381"/>
                    <a:pt x="470" y="381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63" y="388"/>
                    <a:pt x="463" y="388"/>
                    <a:pt x="463" y="388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51" y="403"/>
                    <a:pt x="451" y="403"/>
                    <a:pt x="451" y="403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4" y="411"/>
                    <a:pt x="444" y="411"/>
                    <a:pt x="444" y="411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41" y="419"/>
                    <a:pt x="441" y="419"/>
                    <a:pt x="441" y="419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8" y="420"/>
                    <a:pt x="438" y="420"/>
                    <a:pt x="438" y="420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6" y="421"/>
                    <a:pt x="436" y="421"/>
                    <a:pt x="436" y="421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4" y="422"/>
                    <a:pt x="434" y="422"/>
                    <a:pt x="434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9" y="424"/>
                    <a:pt x="429" y="424"/>
                    <a:pt x="429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6" y="424"/>
                    <a:pt x="426" y="424"/>
                    <a:pt x="426" y="424"/>
                  </a:cubicBezTo>
                  <a:cubicBezTo>
                    <a:pt x="425" y="424"/>
                    <a:pt x="425" y="424"/>
                    <a:pt x="425" y="424"/>
                  </a:cubicBezTo>
                  <a:close/>
                  <a:moveTo>
                    <a:pt x="1686" y="419"/>
                  </a:moveTo>
                  <a:cubicBezTo>
                    <a:pt x="1683" y="419"/>
                    <a:pt x="1683" y="419"/>
                    <a:pt x="1683" y="419"/>
                  </a:cubicBezTo>
                  <a:cubicBezTo>
                    <a:pt x="1683" y="419"/>
                    <a:pt x="1683" y="419"/>
                    <a:pt x="1683" y="419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81" y="418"/>
                    <a:pt x="1681" y="418"/>
                    <a:pt x="1681" y="418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8" y="417"/>
                    <a:pt x="1678" y="417"/>
                    <a:pt x="1678" y="417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7" y="415"/>
                    <a:pt x="1677" y="415"/>
                    <a:pt x="1677" y="415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3" y="414"/>
                    <a:pt x="1673" y="414"/>
                    <a:pt x="1673" y="414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71" y="412"/>
                    <a:pt x="1671" y="412"/>
                    <a:pt x="1671" y="412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8" y="411"/>
                    <a:pt x="1668" y="411"/>
                    <a:pt x="1668" y="411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5" y="410"/>
                    <a:pt x="1665" y="410"/>
                    <a:pt x="1665" y="410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9"/>
                    <a:pt x="1662" y="349"/>
                    <a:pt x="1662" y="349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2" y="348"/>
                    <a:pt x="1662" y="348"/>
                    <a:pt x="1662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3" y="348"/>
                    <a:pt x="1663" y="348"/>
                    <a:pt x="1663" y="348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5" y="347"/>
                    <a:pt x="1665" y="347"/>
                    <a:pt x="1665" y="347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6" y="348"/>
                    <a:pt x="1666" y="348"/>
                    <a:pt x="1666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8" y="348"/>
                    <a:pt x="1668" y="348"/>
                    <a:pt x="1668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69" y="348"/>
                    <a:pt x="1669" y="348"/>
                    <a:pt x="1669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1" y="348"/>
                    <a:pt x="1671" y="348"/>
                    <a:pt x="1671" y="348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3" y="357"/>
                    <a:pt x="1673" y="357"/>
                    <a:pt x="1673" y="357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79" y="366"/>
                    <a:pt x="1679" y="366"/>
                    <a:pt x="1679" y="366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4" y="374"/>
                    <a:pt x="1684" y="374"/>
                    <a:pt x="1684" y="374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89" y="382"/>
                    <a:pt x="1689" y="382"/>
                    <a:pt x="1689" y="382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3" y="391"/>
                    <a:pt x="1693" y="391"/>
                    <a:pt x="1693" y="391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399"/>
                    <a:pt x="1696" y="399"/>
                    <a:pt x="1696" y="399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6" y="408"/>
                    <a:pt x="1696" y="408"/>
                    <a:pt x="1696" y="408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5" y="415"/>
                    <a:pt x="1695" y="415"/>
                    <a:pt x="1695" y="415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3" y="416"/>
                    <a:pt x="1693" y="416"/>
                    <a:pt x="1693" y="416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2" y="417"/>
                    <a:pt x="1692" y="417"/>
                    <a:pt x="1692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91" y="417"/>
                    <a:pt x="1691" y="417"/>
                    <a:pt x="1691" y="417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9" y="418"/>
                    <a:pt x="1689" y="418"/>
                    <a:pt x="1689" y="418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8" y="419"/>
                    <a:pt x="1688" y="419"/>
                    <a:pt x="1688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7" y="419"/>
                    <a:pt x="1687" y="419"/>
                    <a:pt x="1687" y="419"/>
                  </a:cubicBezTo>
                  <a:cubicBezTo>
                    <a:pt x="1686" y="419"/>
                    <a:pt x="1686" y="419"/>
                    <a:pt x="1686" y="419"/>
                  </a:cubicBezTo>
                  <a:close/>
                  <a:moveTo>
                    <a:pt x="573" y="412"/>
                  </a:moveTo>
                  <a:cubicBezTo>
                    <a:pt x="574" y="413"/>
                    <a:pt x="574" y="413"/>
                    <a:pt x="574" y="413"/>
                  </a:cubicBezTo>
                  <a:cubicBezTo>
                    <a:pt x="574" y="413"/>
                    <a:pt x="574" y="413"/>
                    <a:pt x="574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5" y="413"/>
                    <a:pt x="575" y="413"/>
                    <a:pt x="575" y="413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6" y="412"/>
                    <a:pt x="576" y="412"/>
                    <a:pt x="576" y="412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8" y="411"/>
                    <a:pt x="578" y="411"/>
                    <a:pt x="578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79" y="411"/>
                    <a:pt x="579" y="411"/>
                    <a:pt x="579" y="411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0" y="410"/>
                    <a:pt x="580" y="410"/>
                    <a:pt x="580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1" y="410"/>
                    <a:pt x="581" y="410"/>
                    <a:pt x="581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2" y="410"/>
                    <a:pt x="582" y="410"/>
                    <a:pt x="582" y="410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1" y="393"/>
                    <a:pt x="581" y="393"/>
                    <a:pt x="581" y="393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80" y="376"/>
                    <a:pt x="580" y="376"/>
                    <a:pt x="580" y="376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8" y="359"/>
                    <a:pt x="578" y="359"/>
                    <a:pt x="578" y="359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3" y="324"/>
                    <a:pt x="573" y="324"/>
                    <a:pt x="573" y="324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1" y="308"/>
                    <a:pt x="571" y="308"/>
                    <a:pt x="571" y="308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74" y="274"/>
                    <a:pt x="574" y="274"/>
                    <a:pt x="574" y="274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8" y="259"/>
                    <a:pt x="588" y="259"/>
                    <a:pt x="588" y="259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89" y="256"/>
                    <a:pt x="589" y="256"/>
                    <a:pt x="589" y="256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2" y="253"/>
                    <a:pt x="592" y="253"/>
                    <a:pt x="592" y="253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3" y="250"/>
                    <a:pt x="593" y="250"/>
                    <a:pt x="593" y="250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5"/>
                    <a:pt x="595" y="245"/>
                    <a:pt x="595" y="245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42"/>
                    <a:pt x="595" y="242"/>
                    <a:pt x="595" y="242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5" y="238"/>
                    <a:pt x="595" y="238"/>
                    <a:pt x="595" y="238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34"/>
                    <a:pt x="593" y="234"/>
                    <a:pt x="593" y="234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3" y="229"/>
                    <a:pt x="593" y="229"/>
                    <a:pt x="593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91" y="229"/>
                    <a:pt x="591" y="229"/>
                    <a:pt x="591" y="229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0"/>
                    <a:pt x="588" y="230"/>
                    <a:pt x="588" y="230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1"/>
                    <a:pt x="588" y="231"/>
                    <a:pt x="588" y="231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8" y="233"/>
                    <a:pt x="588" y="233"/>
                    <a:pt x="588" y="233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4"/>
                    <a:pt x="589" y="234"/>
                    <a:pt x="589" y="234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89" y="236"/>
                    <a:pt x="589" y="236"/>
                    <a:pt x="589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6"/>
                    <a:pt x="591" y="236"/>
                    <a:pt x="591" y="236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91" y="238"/>
                    <a:pt x="591" y="238"/>
                    <a:pt x="591" y="238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7" y="242"/>
                    <a:pt x="587" y="242"/>
                    <a:pt x="587" y="242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6" y="244"/>
                    <a:pt x="586" y="244"/>
                    <a:pt x="586" y="244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3" y="247"/>
                    <a:pt x="583" y="247"/>
                    <a:pt x="583" y="247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2" y="250"/>
                    <a:pt x="582" y="250"/>
                    <a:pt x="582" y="250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80" y="253"/>
                    <a:pt x="580" y="253"/>
                    <a:pt x="580" y="253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8" y="255"/>
                    <a:pt x="578" y="255"/>
                    <a:pt x="578" y="255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5" y="256"/>
                    <a:pt x="575" y="256"/>
                    <a:pt x="575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73" y="256"/>
                    <a:pt x="573" y="256"/>
                    <a:pt x="573" y="256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69" y="255"/>
                    <a:pt x="569" y="255"/>
                    <a:pt x="569" y="255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71" y="227"/>
                    <a:pt x="571" y="227"/>
                    <a:pt x="571" y="227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593" y="205"/>
                    <a:pt x="593" y="205"/>
                    <a:pt x="593" y="205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19" y="183"/>
                    <a:pt x="619" y="183"/>
                    <a:pt x="619" y="183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7" y="156"/>
                    <a:pt x="647" y="156"/>
                    <a:pt x="647" y="156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3"/>
                    <a:pt x="646" y="153"/>
                    <a:pt x="646" y="153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6" y="150"/>
                    <a:pt x="646" y="150"/>
                    <a:pt x="646" y="150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7"/>
                    <a:pt x="645" y="147"/>
                    <a:pt x="645" y="147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5" y="143"/>
                    <a:pt x="645" y="143"/>
                    <a:pt x="645" y="143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3" y="142"/>
                    <a:pt x="643" y="142"/>
                    <a:pt x="643" y="142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41" y="139"/>
                    <a:pt x="641" y="139"/>
                    <a:pt x="641" y="139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9" y="137"/>
                    <a:pt x="639" y="137"/>
                    <a:pt x="639" y="137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7" y="134"/>
                    <a:pt x="627" y="134"/>
                    <a:pt x="627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20" y="134"/>
                    <a:pt x="620" y="134"/>
                    <a:pt x="620" y="134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14" y="138"/>
                    <a:pt x="614" y="138"/>
                    <a:pt x="614" y="138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7" y="142"/>
                    <a:pt x="607" y="142"/>
                    <a:pt x="607" y="142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601" y="146"/>
                    <a:pt x="601" y="146"/>
                    <a:pt x="601" y="146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96" y="151"/>
                    <a:pt x="596" y="151"/>
                    <a:pt x="596" y="151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9" y="156"/>
                    <a:pt x="589" y="156"/>
                    <a:pt x="589" y="156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3" y="157"/>
                    <a:pt x="583" y="157"/>
                    <a:pt x="583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7"/>
                    <a:pt x="580" y="157"/>
                    <a:pt x="580" y="157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80" y="154"/>
                    <a:pt x="580" y="154"/>
                    <a:pt x="580" y="154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79" y="152"/>
                    <a:pt x="579" y="152"/>
                    <a:pt x="579" y="152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9"/>
                    <a:pt x="580" y="149"/>
                    <a:pt x="580" y="149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7"/>
                    <a:pt x="580" y="147"/>
                    <a:pt x="580" y="147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0" y="145"/>
                    <a:pt x="580" y="145"/>
                    <a:pt x="580" y="145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1" y="143"/>
                    <a:pt x="581" y="143"/>
                    <a:pt x="581" y="143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583" y="141"/>
                    <a:pt x="583" y="141"/>
                    <a:pt x="583" y="141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3" y="107"/>
                    <a:pt x="623" y="107"/>
                    <a:pt x="623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7" y="106"/>
                    <a:pt x="627" y="106"/>
                    <a:pt x="627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1" y="105"/>
                    <a:pt x="631" y="105"/>
                    <a:pt x="631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4" y="105"/>
                    <a:pt x="634" y="105"/>
                    <a:pt x="634" y="105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38" y="104"/>
                    <a:pt x="638" y="104"/>
                    <a:pt x="638" y="104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1" y="103"/>
                    <a:pt x="641" y="103"/>
                    <a:pt x="641" y="103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2" y="100"/>
                    <a:pt x="642" y="100"/>
                    <a:pt x="642" y="100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40" y="99"/>
                    <a:pt x="640" y="99"/>
                    <a:pt x="640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9" y="99"/>
                    <a:pt x="639" y="99"/>
                    <a:pt x="639" y="99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8" y="98"/>
                    <a:pt x="638" y="98"/>
                    <a:pt x="638" y="98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7" y="97"/>
                    <a:pt x="637" y="97"/>
                    <a:pt x="637" y="97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5" y="96"/>
                    <a:pt x="635" y="96"/>
                    <a:pt x="635" y="96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4" y="95"/>
                    <a:pt x="634" y="95"/>
                    <a:pt x="634" y="95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3" y="94"/>
                    <a:pt x="633" y="94"/>
                    <a:pt x="633" y="94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631" y="92"/>
                    <a:pt x="631" y="92"/>
                    <a:pt x="631" y="92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7" y="110"/>
                    <a:pt x="587" y="110"/>
                    <a:pt x="587" y="11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4" y="104"/>
                    <a:pt x="584" y="104"/>
                    <a:pt x="584" y="104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102"/>
                    <a:pt x="585" y="102"/>
                    <a:pt x="585" y="102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5" y="99"/>
                    <a:pt x="585" y="99"/>
                    <a:pt x="585" y="99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7"/>
                    <a:pt x="586" y="97"/>
                    <a:pt x="586" y="97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5"/>
                    <a:pt x="586" y="95"/>
                    <a:pt x="586" y="95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92"/>
                    <a:pt x="586" y="92"/>
                    <a:pt x="586" y="92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6" y="89"/>
                    <a:pt x="586" y="89"/>
                    <a:pt x="586" y="89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6"/>
                    <a:pt x="587" y="86"/>
                    <a:pt x="587" y="86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7" y="82"/>
                    <a:pt x="587" y="82"/>
                    <a:pt x="587" y="82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89" y="76"/>
                    <a:pt x="589" y="76"/>
                    <a:pt x="589" y="76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2" y="71"/>
                    <a:pt x="592" y="71"/>
                    <a:pt x="592" y="71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64"/>
                    <a:pt x="593" y="64"/>
                    <a:pt x="593" y="64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52"/>
                    <a:pt x="595" y="52"/>
                    <a:pt x="595" y="52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5" y="47"/>
                    <a:pt x="595" y="47"/>
                    <a:pt x="595" y="47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93" y="40"/>
                    <a:pt x="593" y="40"/>
                    <a:pt x="593" y="40"/>
                  </a:cubicBezTo>
                  <a:cubicBezTo>
                    <a:pt x="566" y="20"/>
                    <a:pt x="566" y="20"/>
                    <a:pt x="566" y="20"/>
                  </a:cubicBezTo>
                  <a:cubicBezTo>
                    <a:pt x="561" y="19"/>
                    <a:pt x="561" y="19"/>
                    <a:pt x="561" y="19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2" y="33"/>
                    <a:pt x="562" y="33"/>
                    <a:pt x="562" y="33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4" y="45"/>
                    <a:pt x="564" y="45"/>
                    <a:pt x="564" y="45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5" y="58"/>
                    <a:pt x="565" y="58"/>
                    <a:pt x="565" y="58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70"/>
                    <a:pt x="567" y="70"/>
                    <a:pt x="567" y="70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83"/>
                    <a:pt x="567" y="83"/>
                    <a:pt x="567" y="83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5" y="109"/>
                    <a:pt x="565" y="109"/>
                    <a:pt x="565" y="109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64" y="120"/>
                    <a:pt x="564" y="120"/>
                    <a:pt x="564" y="120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501" y="146"/>
                    <a:pt x="501" y="146"/>
                    <a:pt x="501" y="146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6" y="159"/>
                    <a:pt x="466" y="159"/>
                    <a:pt x="466" y="159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67" y="163"/>
                    <a:pt x="467" y="163"/>
                    <a:pt x="467" y="163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1" y="165"/>
                    <a:pt x="471" y="165"/>
                    <a:pt x="471" y="165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4" y="167"/>
                    <a:pt x="474" y="167"/>
                    <a:pt x="474" y="167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78" y="168"/>
                    <a:pt x="478" y="168"/>
                    <a:pt x="478" y="168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1" y="169"/>
                    <a:pt x="481" y="169"/>
                    <a:pt x="481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5" y="169"/>
                    <a:pt x="485" y="169"/>
                    <a:pt x="485" y="169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89" y="170"/>
                    <a:pt x="489" y="170"/>
                    <a:pt x="489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499" y="171"/>
                    <a:pt x="499" y="171"/>
                    <a:pt x="499" y="171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06" y="170"/>
                    <a:pt x="506" y="170"/>
                    <a:pt x="506" y="170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3" y="168"/>
                    <a:pt x="513" y="168"/>
                    <a:pt x="513" y="168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19" y="164"/>
                    <a:pt x="519" y="164"/>
                    <a:pt x="519" y="164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3" y="161"/>
                    <a:pt x="523" y="161"/>
                    <a:pt x="523" y="161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28" y="157"/>
                    <a:pt x="528" y="157"/>
                    <a:pt x="528" y="157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4" y="154"/>
                    <a:pt x="534" y="154"/>
                    <a:pt x="534" y="154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39" y="149"/>
                    <a:pt x="539" y="149"/>
                    <a:pt x="539" y="149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3" y="131"/>
                    <a:pt x="563" y="131"/>
                    <a:pt x="563" y="131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3"/>
                    <a:pt x="566" y="133"/>
                    <a:pt x="566" y="133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6"/>
                    <a:pt x="566" y="136"/>
                    <a:pt x="566" y="136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39"/>
                    <a:pt x="566" y="139"/>
                    <a:pt x="566" y="139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2"/>
                    <a:pt x="566" y="142"/>
                    <a:pt x="566" y="142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6" y="143"/>
                    <a:pt x="566" y="143"/>
                    <a:pt x="566" y="143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5" y="146"/>
                    <a:pt x="565" y="146"/>
                    <a:pt x="565" y="146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48"/>
                    <a:pt x="564" y="148"/>
                    <a:pt x="564" y="148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0"/>
                    <a:pt x="564" y="150"/>
                    <a:pt x="564" y="150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64" y="152"/>
                    <a:pt x="564" y="152"/>
                    <a:pt x="564" y="152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38" y="171"/>
                    <a:pt x="538" y="171"/>
                    <a:pt x="538" y="171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2" y="163"/>
                    <a:pt x="562" y="163"/>
                    <a:pt x="562" y="163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5" y="166"/>
                    <a:pt x="565" y="166"/>
                    <a:pt x="565" y="166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69"/>
                    <a:pt x="564" y="169"/>
                    <a:pt x="564" y="169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4" y="171"/>
                    <a:pt x="564" y="171"/>
                    <a:pt x="564" y="171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4"/>
                    <a:pt x="563" y="174"/>
                    <a:pt x="563" y="174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3" y="176"/>
                    <a:pt x="563" y="176"/>
                    <a:pt x="563" y="176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60" y="180"/>
                    <a:pt x="560" y="180"/>
                    <a:pt x="560" y="180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8" y="182"/>
                    <a:pt x="558" y="182"/>
                    <a:pt x="558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56" y="182"/>
                    <a:pt x="556" y="182"/>
                    <a:pt x="556" y="182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9" y="198"/>
                    <a:pt x="539" y="198"/>
                    <a:pt x="539" y="198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5" y="201"/>
                    <a:pt x="535" y="201"/>
                    <a:pt x="535" y="201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32" y="205"/>
                    <a:pt x="532" y="205"/>
                    <a:pt x="532" y="205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7" y="209"/>
                    <a:pt x="527" y="209"/>
                    <a:pt x="527" y="209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4" y="213"/>
                    <a:pt x="524" y="213"/>
                    <a:pt x="524" y="213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20" y="216"/>
                    <a:pt x="520" y="216"/>
                    <a:pt x="520" y="216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7" y="219"/>
                    <a:pt x="517" y="219"/>
                    <a:pt x="517" y="219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13" y="221"/>
                    <a:pt x="513" y="221"/>
                    <a:pt x="513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9" y="221"/>
                    <a:pt x="509" y="221"/>
                    <a:pt x="509" y="221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9"/>
                    <a:pt x="507" y="219"/>
                    <a:pt x="507" y="219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7" y="217"/>
                    <a:pt x="507" y="217"/>
                    <a:pt x="507" y="217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8" y="215"/>
                    <a:pt x="508" y="215"/>
                    <a:pt x="508" y="215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4"/>
                    <a:pt x="509" y="214"/>
                    <a:pt x="509" y="214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09" y="212"/>
                    <a:pt x="509" y="212"/>
                    <a:pt x="509" y="212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10"/>
                    <a:pt x="510" y="210"/>
                    <a:pt x="510" y="210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0" y="208"/>
                    <a:pt x="510" y="208"/>
                    <a:pt x="510" y="208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9" y="208"/>
                    <a:pt x="509" y="208"/>
                    <a:pt x="509" y="208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8" y="210"/>
                    <a:pt x="508" y="210"/>
                    <a:pt x="508" y="210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2"/>
                    <a:pt x="507" y="212"/>
                    <a:pt x="507" y="212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7" y="213"/>
                    <a:pt x="507" y="213"/>
                    <a:pt x="507" y="213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5" y="214"/>
                    <a:pt x="505" y="214"/>
                    <a:pt x="505" y="214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4" y="215"/>
                    <a:pt x="504" y="215"/>
                    <a:pt x="504" y="215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3" y="217"/>
                    <a:pt x="503" y="217"/>
                    <a:pt x="503" y="217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500" y="223"/>
                    <a:pt x="500" y="223"/>
                    <a:pt x="500" y="223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7" y="228"/>
                    <a:pt x="497" y="228"/>
                    <a:pt x="497" y="228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4" y="233"/>
                    <a:pt x="494" y="233"/>
                    <a:pt x="494" y="233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90" y="237"/>
                    <a:pt x="490" y="237"/>
                    <a:pt x="490" y="237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7" y="243"/>
                    <a:pt x="487" y="243"/>
                    <a:pt x="487" y="243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6" y="247"/>
                    <a:pt x="486" y="247"/>
                    <a:pt x="486" y="247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5" y="252"/>
                    <a:pt x="485" y="252"/>
                    <a:pt x="485" y="252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6"/>
                    <a:pt x="489" y="256"/>
                    <a:pt x="489" y="256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89" y="257"/>
                    <a:pt x="489" y="257"/>
                    <a:pt x="489" y="257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0" y="258"/>
                    <a:pt x="490" y="258"/>
                    <a:pt x="490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4" y="258"/>
                    <a:pt x="494" y="258"/>
                    <a:pt x="494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6" y="258"/>
                    <a:pt x="496" y="258"/>
                    <a:pt x="496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7" y="258"/>
                    <a:pt x="497" y="258"/>
                    <a:pt x="497" y="258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499" y="257"/>
                    <a:pt x="499" y="257"/>
                    <a:pt x="499" y="257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06" y="250"/>
                    <a:pt x="506" y="250"/>
                    <a:pt x="506" y="250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4" y="242"/>
                    <a:pt x="514" y="242"/>
                    <a:pt x="514" y="242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19" y="233"/>
                    <a:pt x="519" y="233"/>
                    <a:pt x="519" y="23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25" y="223"/>
                    <a:pt x="525" y="223"/>
                    <a:pt x="525" y="223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37" y="205"/>
                    <a:pt x="537" y="205"/>
                    <a:pt x="537" y="205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44" y="198"/>
                    <a:pt x="544" y="198"/>
                    <a:pt x="544" y="198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5" y="190"/>
                    <a:pt x="555" y="190"/>
                    <a:pt x="555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6" y="190"/>
                    <a:pt x="556" y="190"/>
                    <a:pt x="556" y="190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7" y="189"/>
                    <a:pt x="557" y="189"/>
                    <a:pt x="557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8" y="189"/>
                    <a:pt x="558" y="189"/>
                    <a:pt x="558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59" y="189"/>
                    <a:pt x="559" y="189"/>
                    <a:pt x="559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89"/>
                    <a:pt x="561" y="189"/>
                    <a:pt x="561" y="189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2"/>
                    <a:pt x="561" y="192"/>
                    <a:pt x="561" y="192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5"/>
                    <a:pt x="561" y="195"/>
                    <a:pt x="561" y="195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1" y="198"/>
                    <a:pt x="561" y="198"/>
                    <a:pt x="561" y="198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2" y="200"/>
                    <a:pt x="562" y="200"/>
                    <a:pt x="562" y="200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3"/>
                    <a:pt x="561" y="203"/>
                    <a:pt x="561" y="203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5"/>
                    <a:pt x="561" y="205"/>
                    <a:pt x="561" y="205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08"/>
                    <a:pt x="561" y="208"/>
                    <a:pt x="561" y="208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61" y="210"/>
                    <a:pt x="561" y="210"/>
                    <a:pt x="561" y="210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9" y="211"/>
                    <a:pt x="559" y="211"/>
                    <a:pt x="559" y="211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8" y="212"/>
                    <a:pt x="558" y="212"/>
                    <a:pt x="558" y="212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7" y="213"/>
                    <a:pt x="557" y="213"/>
                    <a:pt x="557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6" y="213"/>
                    <a:pt x="556" y="213"/>
                    <a:pt x="556" y="213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5" y="214"/>
                    <a:pt x="555" y="214"/>
                    <a:pt x="555" y="214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5"/>
                    <a:pt x="553" y="215"/>
                    <a:pt x="553" y="215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7"/>
                    <a:pt x="553" y="217"/>
                    <a:pt x="553" y="217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19"/>
                    <a:pt x="553" y="219"/>
                    <a:pt x="553" y="219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0"/>
                    <a:pt x="553" y="220"/>
                    <a:pt x="553" y="220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3" y="222"/>
                    <a:pt x="553" y="222"/>
                    <a:pt x="553" y="222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4" y="223"/>
                    <a:pt x="554" y="223"/>
                    <a:pt x="554" y="223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5" y="225"/>
                    <a:pt x="555" y="225"/>
                    <a:pt x="555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56" y="225"/>
                    <a:pt x="556" y="225"/>
                    <a:pt x="556" y="225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62" y="227"/>
                    <a:pt x="562" y="227"/>
                    <a:pt x="562" y="227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8" y="268"/>
                    <a:pt x="558" y="268"/>
                    <a:pt x="558" y="268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5" y="269"/>
                    <a:pt x="555" y="269"/>
                    <a:pt x="555" y="269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51" y="270"/>
                    <a:pt x="551" y="270"/>
                    <a:pt x="551" y="270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8" y="272"/>
                    <a:pt x="548" y="272"/>
                    <a:pt x="548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6" y="272"/>
                    <a:pt x="546" y="272"/>
                    <a:pt x="546" y="272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3" y="274"/>
                    <a:pt x="543" y="274"/>
                    <a:pt x="543" y="274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41" y="275"/>
                    <a:pt x="541" y="275"/>
                    <a:pt x="541" y="275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9" y="276"/>
                    <a:pt x="539" y="276"/>
                    <a:pt x="539" y="276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8" y="279"/>
                    <a:pt x="538" y="279"/>
                    <a:pt x="538" y="279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0"/>
                    <a:pt x="539" y="280"/>
                    <a:pt x="539" y="280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39" y="281"/>
                    <a:pt x="539" y="281"/>
                    <a:pt x="539" y="281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3"/>
                    <a:pt x="541" y="283"/>
                    <a:pt x="541" y="283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3" y="285"/>
                    <a:pt x="543" y="285"/>
                    <a:pt x="543" y="285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5" y="286"/>
                    <a:pt x="545" y="286"/>
                    <a:pt x="545" y="286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7" y="287"/>
                    <a:pt x="547" y="287"/>
                    <a:pt x="547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49" y="287"/>
                    <a:pt x="549" y="287"/>
                    <a:pt x="549" y="287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0" y="288"/>
                    <a:pt x="550" y="288"/>
                    <a:pt x="550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3" y="288"/>
                    <a:pt x="553" y="288"/>
                    <a:pt x="553" y="288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4" y="289"/>
                    <a:pt x="554" y="289"/>
                    <a:pt x="554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6" y="289"/>
                    <a:pt x="556" y="289"/>
                    <a:pt x="556" y="289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4" y="375"/>
                    <a:pt x="554" y="375"/>
                    <a:pt x="554" y="375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50" y="378"/>
                    <a:pt x="550" y="378"/>
                    <a:pt x="550" y="378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5" y="379"/>
                    <a:pt x="545" y="379"/>
                    <a:pt x="545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6" y="379"/>
                    <a:pt x="536" y="379"/>
                    <a:pt x="536" y="379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32" y="378"/>
                    <a:pt x="532" y="378"/>
                    <a:pt x="532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6" y="378"/>
                    <a:pt x="526" y="378"/>
                    <a:pt x="526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23" y="378"/>
                    <a:pt x="523" y="378"/>
                    <a:pt x="523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8" y="378"/>
                    <a:pt x="518" y="378"/>
                    <a:pt x="518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5" y="378"/>
                    <a:pt x="515" y="378"/>
                    <a:pt x="515" y="378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14" y="381"/>
                    <a:pt x="514" y="381"/>
                    <a:pt x="514" y="381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22" y="383"/>
                    <a:pt x="522" y="383"/>
                    <a:pt x="522" y="383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1" y="386"/>
                    <a:pt x="531" y="386"/>
                    <a:pt x="531" y="386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38" y="390"/>
                    <a:pt x="538" y="390"/>
                    <a:pt x="538" y="390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46" y="393"/>
                    <a:pt x="546" y="393"/>
                    <a:pt x="546" y="393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3" y="397"/>
                    <a:pt x="553" y="397"/>
                    <a:pt x="553" y="397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59" y="402"/>
                    <a:pt x="559" y="402"/>
                    <a:pt x="559" y="402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65" y="408"/>
                    <a:pt x="565" y="408"/>
                    <a:pt x="565" y="408"/>
                  </a:cubicBezTo>
                  <a:cubicBezTo>
                    <a:pt x="571" y="412"/>
                    <a:pt x="571" y="412"/>
                    <a:pt x="571" y="412"/>
                  </a:cubicBezTo>
                  <a:lnTo>
                    <a:pt x="573" y="412"/>
                  </a:lnTo>
                  <a:close/>
                  <a:moveTo>
                    <a:pt x="1446" y="406"/>
                  </a:moveTo>
                  <a:cubicBezTo>
                    <a:pt x="1469" y="399"/>
                    <a:pt x="1469" y="399"/>
                    <a:pt x="1469" y="399"/>
                  </a:cubicBezTo>
                  <a:cubicBezTo>
                    <a:pt x="1469" y="399"/>
                    <a:pt x="1469" y="399"/>
                    <a:pt x="1469" y="399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69" y="398"/>
                    <a:pt x="1469" y="398"/>
                    <a:pt x="1469" y="398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2" y="397"/>
                    <a:pt x="1472" y="397"/>
                    <a:pt x="1472" y="397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3" y="396"/>
                    <a:pt x="1473" y="396"/>
                    <a:pt x="1473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6" y="396"/>
                    <a:pt x="1476" y="396"/>
                    <a:pt x="1476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7" y="396"/>
                    <a:pt x="1477" y="396"/>
                    <a:pt x="1477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79" y="396"/>
                    <a:pt x="1479" y="396"/>
                    <a:pt x="1479" y="396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0" y="395"/>
                    <a:pt x="1480" y="395"/>
                    <a:pt x="1480" y="395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482" y="393"/>
                    <a:pt x="1482" y="393"/>
                    <a:pt x="1482" y="393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09" y="378"/>
                    <a:pt x="1509" y="378"/>
                    <a:pt x="1509" y="378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17" y="377"/>
                    <a:pt x="1517" y="377"/>
                    <a:pt x="1517" y="377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3" y="374"/>
                    <a:pt x="1523" y="374"/>
                    <a:pt x="1523" y="374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28" y="370"/>
                    <a:pt x="1528" y="370"/>
                    <a:pt x="1528" y="370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3" y="366"/>
                    <a:pt x="1533" y="366"/>
                    <a:pt x="1533" y="366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38" y="362"/>
                    <a:pt x="1538" y="362"/>
                    <a:pt x="1538" y="362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2" y="357"/>
                    <a:pt x="1542" y="357"/>
                    <a:pt x="1542" y="357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45" y="353"/>
                    <a:pt x="1545" y="353"/>
                    <a:pt x="1545" y="353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50" y="348"/>
                    <a:pt x="1550" y="348"/>
                    <a:pt x="1550" y="348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68" y="312"/>
                    <a:pt x="1568" y="312"/>
                    <a:pt x="1568" y="312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3" y="269"/>
                    <a:pt x="1583" y="269"/>
                    <a:pt x="1583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4" y="269"/>
                    <a:pt x="1584" y="269"/>
                    <a:pt x="1584" y="269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6" y="267"/>
                    <a:pt x="1586" y="267"/>
                    <a:pt x="1586" y="267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88" y="266"/>
                    <a:pt x="1588" y="266"/>
                    <a:pt x="1588" y="266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1" y="264"/>
                    <a:pt x="1591" y="264"/>
                    <a:pt x="1591" y="264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3" y="263"/>
                    <a:pt x="1593" y="263"/>
                    <a:pt x="1593" y="263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7" y="262"/>
                    <a:pt x="1597" y="262"/>
                    <a:pt x="1597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599" y="262"/>
                    <a:pt x="1599" y="262"/>
                    <a:pt x="1599" y="262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1"/>
                    <a:pt x="1602" y="261"/>
                    <a:pt x="1602" y="261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2" y="260"/>
                    <a:pt x="1602" y="260"/>
                    <a:pt x="1602" y="260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4" y="258"/>
                    <a:pt x="1604" y="258"/>
                    <a:pt x="1604" y="258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6" y="257"/>
                    <a:pt x="1606" y="257"/>
                    <a:pt x="1606" y="257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09" y="256"/>
                    <a:pt x="1609" y="256"/>
                    <a:pt x="1609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1" y="256"/>
                    <a:pt x="1611" y="256"/>
                    <a:pt x="1611" y="256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3" y="255"/>
                    <a:pt x="1613" y="255"/>
                    <a:pt x="1613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6" y="255"/>
                    <a:pt x="1616" y="255"/>
                    <a:pt x="1616" y="255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19" y="254"/>
                    <a:pt x="1619" y="254"/>
                    <a:pt x="1619" y="254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7" y="217"/>
                    <a:pt x="1697" y="217"/>
                    <a:pt x="1697" y="217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5" y="215"/>
                    <a:pt x="1695" y="215"/>
                    <a:pt x="1695" y="215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91" y="214"/>
                    <a:pt x="1691" y="214"/>
                    <a:pt x="1691" y="214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8" y="212"/>
                    <a:pt x="1688" y="212"/>
                    <a:pt x="1688" y="212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5" y="210"/>
                    <a:pt x="1685" y="210"/>
                    <a:pt x="1685" y="210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82" y="209"/>
                    <a:pt x="1682" y="209"/>
                    <a:pt x="1682" y="209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9" y="207"/>
                    <a:pt x="1679" y="207"/>
                    <a:pt x="1679" y="207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5" y="206"/>
                    <a:pt x="1675" y="206"/>
                    <a:pt x="1675" y="206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73" y="205"/>
                    <a:pt x="1673" y="205"/>
                    <a:pt x="1673" y="205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64" y="214"/>
                    <a:pt x="1664" y="214"/>
                    <a:pt x="1664" y="214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54" y="221"/>
                    <a:pt x="1654" y="221"/>
                    <a:pt x="1654" y="221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45" y="229"/>
                    <a:pt x="1645" y="229"/>
                    <a:pt x="1645" y="229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36" y="234"/>
                    <a:pt x="1636" y="234"/>
                    <a:pt x="1636" y="234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24" y="240"/>
                    <a:pt x="1624" y="240"/>
                    <a:pt x="1624" y="240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13" y="244"/>
                    <a:pt x="1613" y="244"/>
                    <a:pt x="1613" y="244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602" y="248"/>
                    <a:pt x="1602" y="248"/>
                    <a:pt x="1602" y="248"/>
                  </a:cubicBezTo>
                  <a:cubicBezTo>
                    <a:pt x="1590" y="251"/>
                    <a:pt x="1590" y="251"/>
                    <a:pt x="1590" y="251"/>
                  </a:cubicBezTo>
                  <a:cubicBezTo>
                    <a:pt x="1586" y="249"/>
                    <a:pt x="1586" y="249"/>
                    <a:pt x="1586" y="249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41"/>
                    <a:pt x="1606" y="141"/>
                    <a:pt x="1606" y="141"/>
                  </a:cubicBezTo>
                  <a:cubicBezTo>
                    <a:pt x="1606" y="138"/>
                    <a:pt x="1607" y="134"/>
                    <a:pt x="1607" y="131"/>
                  </a:cubicBezTo>
                  <a:cubicBezTo>
                    <a:pt x="1607" y="131"/>
                    <a:pt x="1607" y="131"/>
                    <a:pt x="1607" y="131"/>
                  </a:cubicBezTo>
                  <a:cubicBezTo>
                    <a:pt x="1605" y="123"/>
                    <a:pt x="1605" y="122"/>
                    <a:pt x="1601" y="114"/>
                  </a:cubicBezTo>
                  <a:cubicBezTo>
                    <a:pt x="1601" y="114"/>
                    <a:pt x="1601" y="114"/>
                    <a:pt x="1601" y="114"/>
                  </a:cubicBezTo>
                  <a:cubicBezTo>
                    <a:pt x="1599" y="112"/>
                    <a:pt x="1597" y="109"/>
                    <a:pt x="1595" y="106"/>
                  </a:cubicBezTo>
                  <a:cubicBezTo>
                    <a:pt x="1595" y="106"/>
                    <a:pt x="1595" y="106"/>
                    <a:pt x="1595" y="106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8" y="100"/>
                    <a:pt x="1588" y="100"/>
                    <a:pt x="1588" y="100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80" y="94"/>
                    <a:pt x="1580" y="94"/>
                    <a:pt x="1580" y="94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71" y="87"/>
                    <a:pt x="1571" y="87"/>
                    <a:pt x="1571" y="87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4" y="81"/>
                    <a:pt x="1564" y="81"/>
                    <a:pt x="1564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2" y="81"/>
                    <a:pt x="1562" y="81"/>
                    <a:pt x="1562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60" y="81"/>
                    <a:pt x="1560" y="81"/>
                    <a:pt x="1560" y="81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8" y="80"/>
                    <a:pt x="1558" y="80"/>
                    <a:pt x="1558" y="80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7" y="79"/>
                    <a:pt x="1557" y="79"/>
                    <a:pt x="1557" y="79"/>
                  </a:cubicBezTo>
                  <a:cubicBezTo>
                    <a:pt x="1554" y="80"/>
                    <a:pt x="1554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1" y="80"/>
                    <a:pt x="1551" y="80"/>
                    <a:pt x="1551" y="80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0" y="82"/>
                    <a:pt x="1550" y="82"/>
                    <a:pt x="1550" y="82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56" y="90"/>
                    <a:pt x="1556" y="90"/>
                    <a:pt x="1556" y="90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0" y="99"/>
                    <a:pt x="1560" y="99"/>
                    <a:pt x="1560" y="99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2" y="107"/>
                    <a:pt x="1562" y="107"/>
                    <a:pt x="1562" y="107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5" y="114"/>
                    <a:pt x="1565" y="114"/>
                    <a:pt x="1565" y="114"/>
                  </a:cubicBezTo>
                  <a:cubicBezTo>
                    <a:pt x="1566" y="120"/>
                    <a:pt x="1566" y="125"/>
                    <a:pt x="1567" y="130"/>
                  </a:cubicBezTo>
                  <a:cubicBezTo>
                    <a:pt x="1567" y="130"/>
                    <a:pt x="1567" y="130"/>
                    <a:pt x="1567" y="130"/>
                  </a:cubicBezTo>
                  <a:cubicBezTo>
                    <a:pt x="1571" y="145"/>
                    <a:pt x="1574" y="143"/>
                    <a:pt x="1572" y="160"/>
                  </a:cubicBezTo>
                  <a:cubicBezTo>
                    <a:pt x="1572" y="160"/>
                    <a:pt x="1572" y="160"/>
                    <a:pt x="1572" y="160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75"/>
                    <a:pt x="1572" y="175"/>
                    <a:pt x="1572" y="175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2" y="190"/>
                    <a:pt x="1572" y="190"/>
                    <a:pt x="1572" y="190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4" y="205"/>
                    <a:pt x="1574" y="205"/>
                    <a:pt x="1574" y="205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2" y="220"/>
                    <a:pt x="1572" y="220"/>
                    <a:pt x="1572" y="220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70" y="234"/>
                    <a:pt x="1570" y="234"/>
                    <a:pt x="1570" y="234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65" y="248"/>
                    <a:pt x="1565" y="248"/>
                    <a:pt x="1565" y="248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58" y="259"/>
                    <a:pt x="1558" y="259"/>
                    <a:pt x="1558" y="25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511" y="269"/>
                    <a:pt x="1511" y="269"/>
                    <a:pt x="1511" y="269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69" y="282"/>
                    <a:pt x="1469" y="282"/>
                    <a:pt x="1469" y="282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55" y="286"/>
                    <a:pt x="1455" y="286"/>
                    <a:pt x="1455" y="286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42" y="290"/>
                    <a:pt x="1442" y="290"/>
                    <a:pt x="1442" y="290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27" y="295"/>
                    <a:pt x="1427" y="295"/>
                    <a:pt x="1427" y="295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15" y="299"/>
                    <a:pt x="1415" y="299"/>
                    <a:pt x="1415" y="299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401" y="305"/>
                    <a:pt x="1401" y="305"/>
                    <a:pt x="1401" y="305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87" y="310"/>
                    <a:pt x="1387" y="310"/>
                    <a:pt x="1387" y="310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74" y="313"/>
                    <a:pt x="1374" y="313"/>
                    <a:pt x="1374" y="313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61" y="316"/>
                    <a:pt x="1361" y="316"/>
                    <a:pt x="1361" y="316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3" y="337"/>
                    <a:pt x="1393" y="337"/>
                    <a:pt x="1393" y="337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0" y="338"/>
                    <a:pt x="1400" y="338"/>
                    <a:pt x="1400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3" y="338"/>
                    <a:pt x="1403" y="338"/>
                    <a:pt x="1403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07" y="338"/>
                    <a:pt x="1407" y="338"/>
                    <a:pt x="1407" y="338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1" y="337"/>
                    <a:pt x="1411" y="337"/>
                    <a:pt x="1411" y="337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5" y="335"/>
                    <a:pt x="1415" y="335"/>
                    <a:pt x="1415" y="335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17" y="333"/>
                    <a:pt x="1417" y="333"/>
                    <a:pt x="1417" y="333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20" y="330"/>
                    <a:pt x="1420" y="330"/>
                    <a:pt x="1420" y="330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50" y="315"/>
                    <a:pt x="1450" y="315"/>
                    <a:pt x="1450" y="315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63" y="310"/>
                    <a:pt x="1463" y="310"/>
                    <a:pt x="1463" y="310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76" y="305"/>
                    <a:pt x="1476" y="305"/>
                    <a:pt x="1476" y="305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489" y="299"/>
                    <a:pt x="1489" y="299"/>
                    <a:pt x="1489" y="299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03" y="292"/>
                    <a:pt x="1503" y="292"/>
                    <a:pt x="1503" y="292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16" y="287"/>
                    <a:pt x="1516" y="287"/>
                    <a:pt x="1516" y="287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28" y="282"/>
                    <a:pt x="1528" y="282"/>
                    <a:pt x="1528" y="282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42" y="279"/>
                    <a:pt x="1542" y="279"/>
                    <a:pt x="1542" y="279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7"/>
                    <a:pt x="1556" y="277"/>
                    <a:pt x="1556" y="277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6" y="279"/>
                    <a:pt x="1556" y="279"/>
                    <a:pt x="1556" y="279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0"/>
                    <a:pt x="1557" y="280"/>
                    <a:pt x="1557" y="280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7" y="282"/>
                    <a:pt x="1557" y="282"/>
                    <a:pt x="1557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2"/>
                    <a:pt x="1558" y="282"/>
                    <a:pt x="1558" y="282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4"/>
                    <a:pt x="1558" y="284"/>
                    <a:pt x="1558" y="284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8" y="286"/>
                    <a:pt x="1558" y="286"/>
                    <a:pt x="1558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9" y="286"/>
                    <a:pt x="1559" y="286"/>
                    <a:pt x="1559" y="286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52" y="301"/>
                    <a:pt x="1552" y="301"/>
                    <a:pt x="1552" y="301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7" y="314"/>
                    <a:pt x="1547" y="314"/>
                    <a:pt x="1547" y="314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40" y="328"/>
                    <a:pt x="1540" y="328"/>
                    <a:pt x="1540" y="328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33" y="339"/>
                    <a:pt x="1533" y="339"/>
                    <a:pt x="1533" y="339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23" y="351"/>
                    <a:pt x="1523" y="351"/>
                    <a:pt x="1523" y="35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14" y="361"/>
                    <a:pt x="1514" y="361"/>
                    <a:pt x="1514" y="361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502" y="370"/>
                    <a:pt x="1502" y="370"/>
                    <a:pt x="1502" y="370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90" y="378"/>
                    <a:pt x="1490" y="378"/>
                    <a:pt x="1490" y="378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84" y="382"/>
                    <a:pt x="1484" y="382"/>
                    <a:pt x="1484" y="382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8" y="386"/>
                    <a:pt x="1478" y="386"/>
                    <a:pt x="1478" y="386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70" y="389"/>
                    <a:pt x="1470" y="389"/>
                    <a:pt x="1470" y="389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63" y="391"/>
                    <a:pt x="1463" y="391"/>
                    <a:pt x="1463" y="391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56" y="395"/>
                    <a:pt x="1456" y="395"/>
                    <a:pt x="1456" y="395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9" y="397"/>
                    <a:pt x="1449" y="397"/>
                    <a:pt x="1449" y="397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4" y="401"/>
                    <a:pt x="1444" y="401"/>
                    <a:pt x="1444" y="401"/>
                  </a:cubicBezTo>
                  <a:cubicBezTo>
                    <a:pt x="1442" y="406"/>
                    <a:pt x="1442" y="406"/>
                    <a:pt x="1442" y="406"/>
                  </a:cubicBezTo>
                  <a:lnTo>
                    <a:pt x="1446" y="406"/>
                  </a:lnTo>
                  <a:close/>
                  <a:moveTo>
                    <a:pt x="303" y="401"/>
                  </a:moveTo>
                  <a:cubicBezTo>
                    <a:pt x="312" y="401"/>
                    <a:pt x="312" y="401"/>
                    <a:pt x="312" y="401"/>
                  </a:cubicBezTo>
                  <a:cubicBezTo>
                    <a:pt x="312" y="401"/>
                    <a:pt x="312" y="401"/>
                    <a:pt x="312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3" y="401"/>
                    <a:pt x="313" y="401"/>
                    <a:pt x="313" y="401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5" y="399"/>
                    <a:pt x="315" y="399"/>
                    <a:pt x="315" y="399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7" y="398"/>
                    <a:pt x="317" y="398"/>
                    <a:pt x="317" y="398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0" y="396"/>
                    <a:pt x="320" y="396"/>
                    <a:pt x="320" y="396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3" y="394"/>
                    <a:pt x="323" y="394"/>
                    <a:pt x="323" y="394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90"/>
                    <a:pt x="327" y="390"/>
                    <a:pt x="327" y="390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8"/>
                    <a:pt x="327" y="388"/>
                    <a:pt x="327" y="388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7"/>
                    <a:pt x="327" y="387"/>
                    <a:pt x="327" y="387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7" y="385"/>
                    <a:pt x="327" y="385"/>
                    <a:pt x="327" y="385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4"/>
                    <a:pt x="326" y="384"/>
                    <a:pt x="326" y="384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6" y="383"/>
                    <a:pt x="326" y="383"/>
                    <a:pt x="326" y="383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2"/>
                    <a:pt x="324" y="382"/>
                    <a:pt x="324" y="382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4" y="381"/>
                    <a:pt x="324" y="381"/>
                    <a:pt x="324" y="381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20" y="377"/>
                    <a:pt x="320" y="377"/>
                    <a:pt x="320" y="377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6" y="372"/>
                    <a:pt x="316" y="372"/>
                    <a:pt x="316" y="372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305" y="364"/>
                    <a:pt x="305" y="364"/>
                    <a:pt x="305" y="364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9" y="361"/>
                    <a:pt x="299" y="361"/>
                    <a:pt x="299" y="361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93" y="357"/>
                    <a:pt x="293" y="357"/>
                    <a:pt x="293" y="357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6" y="354"/>
                    <a:pt x="286" y="354"/>
                    <a:pt x="286" y="354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81" y="352"/>
                    <a:pt x="281" y="352"/>
                    <a:pt x="281" y="352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8" y="353"/>
                    <a:pt x="278" y="353"/>
                    <a:pt x="278" y="353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7" y="354"/>
                    <a:pt x="277" y="354"/>
                    <a:pt x="277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5"/>
                    <a:pt x="275" y="355"/>
                    <a:pt x="275" y="355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5" y="356"/>
                    <a:pt x="275" y="356"/>
                    <a:pt x="275" y="356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79" y="360"/>
                    <a:pt x="279" y="360"/>
                    <a:pt x="279" y="360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4" y="364"/>
                    <a:pt x="284" y="364"/>
                    <a:pt x="284" y="364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1" y="374"/>
                    <a:pt x="291" y="374"/>
                    <a:pt x="291" y="374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2" y="380"/>
                    <a:pt x="292" y="380"/>
                    <a:pt x="292" y="380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84"/>
                    <a:pt x="294" y="384"/>
                    <a:pt x="294" y="384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4" y="390"/>
                    <a:pt x="294" y="390"/>
                    <a:pt x="294" y="390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5"/>
                    <a:pt x="295" y="395"/>
                    <a:pt x="295" y="395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5" y="396"/>
                    <a:pt x="295" y="396"/>
                    <a:pt x="295" y="396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6" y="397"/>
                    <a:pt x="296" y="397"/>
                    <a:pt x="296" y="397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7" y="398"/>
                    <a:pt x="297" y="398"/>
                    <a:pt x="297" y="398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399"/>
                    <a:pt x="298" y="399"/>
                    <a:pt x="298" y="399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298" y="400"/>
                    <a:pt x="298" y="400"/>
                    <a:pt x="298" y="400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0" y="401"/>
                    <a:pt x="300" y="401"/>
                    <a:pt x="300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1" y="401"/>
                    <a:pt x="301" y="401"/>
                    <a:pt x="301" y="401"/>
                  </a:cubicBezTo>
                  <a:cubicBezTo>
                    <a:pt x="303" y="401"/>
                    <a:pt x="303" y="401"/>
                    <a:pt x="303" y="401"/>
                  </a:cubicBezTo>
                  <a:close/>
                  <a:moveTo>
                    <a:pt x="1278" y="393"/>
                  </a:moveTo>
                  <a:cubicBezTo>
                    <a:pt x="1278" y="392"/>
                    <a:pt x="1278" y="392"/>
                    <a:pt x="1278" y="392"/>
                  </a:cubicBezTo>
                  <a:cubicBezTo>
                    <a:pt x="1278" y="392"/>
                    <a:pt x="1278" y="392"/>
                    <a:pt x="1278" y="392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8" y="391"/>
                    <a:pt x="1278" y="391"/>
                    <a:pt x="1278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79" y="391"/>
                    <a:pt x="1279" y="391"/>
                    <a:pt x="1279" y="391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1" y="390"/>
                    <a:pt x="1281" y="390"/>
                    <a:pt x="1281" y="390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3" y="389"/>
                    <a:pt x="1283" y="389"/>
                    <a:pt x="1283" y="389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5" y="388"/>
                    <a:pt x="1285" y="388"/>
                    <a:pt x="1285" y="388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6" y="387"/>
                    <a:pt x="1286" y="387"/>
                    <a:pt x="1286" y="387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89" y="384"/>
                    <a:pt x="1289" y="384"/>
                    <a:pt x="1289" y="384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0" y="382"/>
                    <a:pt x="1290" y="382"/>
                    <a:pt x="1290" y="382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80"/>
                    <a:pt x="1291" y="380"/>
                    <a:pt x="1291" y="380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7"/>
                    <a:pt x="1291" y="377"/>
                    <a:pt x="1291" y="377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4"/>
                    <a:pt x="1291" y="374"/>
                    <a:pt x="1291" y="374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71"/>
                    <a:pt x="1291" y="371"/>
                    <a:pt x="1291" y="371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91" y="368"/>
                    <a:pt x="1291" y="368"/>
                    <a:pt x="1291" y="368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9" y="367"/>
                    <a:pt x="1289" y="367"/>
                    <a:pt x="1289" y="367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7" y="364"/>
                    <a:pt x="1287" y="364"/>
                    <a:pt x="1287" y="364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5" y="362"/>
                    <a:pt x="1285" y="362"/>
                    <a:pt x="1285" y="362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4" y="359"/>
                    <a:pt x="1284" y="359"/>
                    <a:pt x="1284" y="359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81" y="358"/>
                    <a:pt x="1281" y="358"/>
                    <a:pt x="1281" y="358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9" y="356"/>
                    <a:pt x="1279" y="356"/>
                    <a:pt x="1279" y="356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7" y="355"/>
                    <a:pt x="1277" y="355"/>
                    <a:pt x="1277" y="355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75" y="353"/>
                    <a:pt x="1275" y="353"/>
                    <a:pt x="1275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9" y="353"/>
                    <a:pt x="1269" y="353"/>
                    <a:pt x="1269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5" y="353"/>
                    <a:pt x="1265" y="353"/>
                    <a:pt x="1265" y="353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60" y="352"/>
                    <a:pt x="1260" y="352"/>
                    <a:pt x="1260" y="352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6" y="351"/>
                    <a:pt x="1256" y="351"/>
                    <a:pt x="1256" y="351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51" y="352"/>
                    <a:pt x="1251" y="352"/>
                    <a:pt x="1251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8" y="352"/>
                    <a:pt x="1248" y="352"/>
                    <a:pt x="1248" y="352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42" y="353"/>
                    <a:pt x="1242" y="353"/>
                    <a:pt x="1242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3"/>
                    <a:pt x="1239" y="353"/>
                    <a:pt x="1239" y="353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39" y="359"/>
                    <a:pt x="1239" y="359"/>
                    <a:pt x="1239" y="359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44" y="363"/>
                    <a:pt x="1244" y="363"/>
                    <a:pt x="1244" y="363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1" y="366"/>
                    <a:pt x="1251" y="366"/>
                    <a:pt x="1251" y="366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56" y="369"/>
                    <a:pt x="1256" y="369"/>
                    <a:pt x="1256" y="369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1" y="373"/>
                    <a:pt x="1261" y="373"/>
                    <a:pt x="1261" y="373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5" y="378"/>
                    <a:pt x="1265" y="378"/>
                    <a:pt x="1265" y="378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69" y="382"/>
                    <a:pt x="1269" y="382"/>
                    <a:pt x="1269" y="382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4" y="388"/>
                    <a:pt x="1274" y="388"/>
                    <a:pt x="1274" y="388"/>
                  </a:cubicBezTo>
                  <a:cubicBezTo>
                    <a:pt x="1278" y="393"/>
                    <a:pt x="1278" y="393"/>
                    <a:pt x="1278" y="393"/>
                  </a:cubicBezTo>
                  <a:close/>
                  <a:moveTo>
                    <a:pt x="1179" y="386"/>
                  </a:moveTo>
                  <a:cubicBezTo>
                    <a:pt x="1179" y="386"/>
                    <a:pt x="1179" y="386"/>
                    <a:pt x="1179" y="386"/>
                  </a:cubicBezTo>
                  <a:cubicBezTo>
                    <a:pt x="1179" y="386"/>
                    <a:pt x="1179" y="386"/>
                    <a:pt x="1179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1" y="386"/>
                    <a:pt x="1181" y="386"/>
                    <a:pt x="1181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2" y="386"/>
                    <a:pt x="1182" y="386"/>
                    <a:pt x="1182" y="386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4" y="385"/>
                    <a:pt x="1184" y="385"/>
                    <a:pt x="1184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5" y="385"/>
                    <a:pt x="1185" y="385"/>
                    <a:pt x="1185" y="385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7" y="384"/>
                    <a:pt x="1187" y="384"/>
                    <a:pt x="1187" y="384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8" y="383"/>
                    <a:pt x="1188" y="383"/>
                    <a:pt x="1188" y="383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9" y="382"/>
                    <a:pt x="1189" y="382"/>
                    <a:pt x="1189" y="382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81"/>
                    <a:pt x="1188" y="381"/>
                    <a:pt x="1188" y="381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9"/>
                    <a:pt x="1188" y="379"/>
                    <a:pt x="1188" y="379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8"/>
                    <a:pt x="1188" y="378"/>
                    <a:pt x="1188" y="378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8" y="375"/>
                    <a:pt x="1188" y="375"/>
                    <a:pt x="1188" y="375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4"/>
                    <a:pt x="1187" y="374"/>
                    <a:pt x="1187" y="374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1"/>
                    <a:pt x="1187" y="371"/>
                    <a:pt x="1187" y="371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70"/>
                    <a:pt x="1187" y="370"/>
                    <a:pt x="1187" y="370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7" y="367"/>
                    <a:pt x="1187" y="367"/>
                    <a:pt x="1187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3" y="367"/>
                    <a:pt x="1183" y="367"/>
                    <a:pt x="1183" y="367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81" y="370"/>
                    <a:pt x="1181" y="370"/>
                    <a:pt x="1181" y="370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9" y="372"/>
                    <a:pt x="1179" y="372"/>
                    <a:pt x="1179" y="372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7" y="375"/>
                    <a:pt x="1177" y="375"/>
                    <a:pt x="1177" y="375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5" y="376"/>
                    <a:pt x="1175" y="376"/>
                    <a:pt x="1175" y="376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2" y="378"/>
                    <a:pt x="1172" y="378"/>
                    <a:pt x="1172" y="378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1" y="380"/>
                    <a:pt x="1171" y="380"/>
                    <a:pt x="1171" y="380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1"/>
                    <a:pt x="1170" y="381"/>
                    <a:pt x="1170" y="381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0" y="382"/>
                    <a:pt x="1170" y="382"/>
                    <a:pt x="1170" y="382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1" y="383"/>
                    <a:pt x="1171" y="383"/>
                    <a:pt x="1171" y="383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2" y="384"/>
                    <a:pt x="1172" y="384"/>
                    <a:pt x="1172" y="384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3" y="385"/>
                    <a:pt x="1173" y="385"/>
                    <a:pt x="1173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4" y="385"/>
                    <a:pt x="1174" y="385"/>
                    <a:pt x="1174" y="385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5" y="386"/>
                    <a:pt x="1175" y="386"/>
                    <a:pt x="1175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6" y="386"/>
                    <a:pt x="1176" y="386"/>
                    <a:pt x="1176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7" y="386"/>
                    <a:pt x="1177" y="386"/>
                    <a:pt x="1177" y="386"/>
                  </a:cubicBezTo>
                  <a:cubicBezTo>
                    <a:pt x="1179" y="386"/>
                    <a:pt x="1179" y="386"/>
                    <a:pt x="1179" y="386"/>
                  </a:cubicBezTo>
                  <a:close/>
                  <a:moveTo>
                    <a:pt x="778" y="381"/>
                  </a:moveTo>
                  <a:cubicBezTo>
                    <a:pt x="728" y="357"/>
                    <a:pt x="728" y="357"/>
                    <a:pt x="728" y="357"/>
                  </a:cubicBezTo>
                  <a:cubicBezTo>
                    <a:pt x="728" y="357"/>
                    <a:pt x="728" y="357"/>
                    <a:pt x="728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7"/>
                    <a:pt x="726" y="357"/>
                    <a:pt x="726" y="357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6" y="355"/>
                    <a:pt x="726" y="355"/>
                    <a:pt x="726" y="355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7" y="353"/>
                    <a:pt x="727" y="353"/>
                    <a:pt x="727" y="353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1"/>
                    <a:pt x="728" y="351"/>
                    <a:pt x="728" y="351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8" y="350"/>
                    <a:pt x="728" y="350"/>
                    <a:pt x="728" y="350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29" y="348"/>
                    <a:pt x="729" y="348"/>
                    <a:pt x="729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1" y="348"/>
                    <a:pt x="731" y="348"/>
                    <a:pt x="731" y="348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3" y="347"/>
                    <a:pt x="733" y="347"/>
                    <a:pt x="733" y="347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6" y="346"/>
                    <a:pt x="736" y="346"/>
                    <a:pt x="736" y="346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39" y="345"/>
                    <a:pt x="739" y="345"/>
                    <a:pt x="739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1" y="345"/>
                    <a:pt x="741" y="345"/>
                    <a:pt x="741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3" y="345"/>
                    <a:pt x="743" y="345"/>
                    <a:pt x="743" y="345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5" y="346"/>
                    <a:pt x="745" y="346"/>
                    <a:pt x="745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6"/>
                    <a:pt x="748" y="346"/>
                    <a:pt x="748" y="346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8" y="347"/>
                    <a:pt x="748" y="347"/>
                    <a:pt x="748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49" y="347"/>
                    <a:pt x="749" y="347"/>
                    <a:pt x="749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0" y="347"/>
                    <a:pt x="750" y="347"/>
                    <a:pt x="750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2" y="347"/>
                    <a:pt x="752" y="347"/>
                    <a:pt x="752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3" y="347"/>
                    <a:pt x="753" y="347"/>
                    <a:pt x="753" y="347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4" y="346"/>
                    <a:pt x="754" y="346"/>
                    <a:pt x="754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5" y="346"/>
                    <a:pt x="755" y="346"/>
                    <a:pt x="755" y="346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8" y="344"/>
                    <a:pt x="758" y="344"/>
                    <a:pt x="758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59" y="344"/>
                    <a:pt x="759" y="344"/>
                    <a:pt x="759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0" y="344"/>
                    <a:pt x="760" y="344"/>
                    <a:pt x="760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2" y="344"/>
                    <a:pt x="762" y="344"/>
                    <a:pt x="762" y="344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3" y="345"/>
                    <a:pt x="763" y="345"/>
                    <a:pt x="763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4" y="345"/>
                    <a:pt x="764" y="345"/>
                    <a:pt x="764" y="345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67" y="346"/>
                    <a:pt x="767" y="346"/>
                    <a:pt x="767" y="346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79" y="345"/>
                    <a:pt x="779" y="345"/>
                    <a:pt x="779" y="345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792" y="342"/>
                    <a:pt x="792" y="342"/>
                    <a:pt x="792" y="342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05" y="340"/>
                    <a:pt x="805" y="340"/>
                    <a:pt x="805" y="340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20" y="336"/>
                    <a:pt x="820" y="336"/>
                    <a:pt x="820" y="336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31" y="332"/>
                    <a:pt x="831" y="332"/>
                    <a:pt x="831" y="332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44" y="325"/>
                    <a:pt x="844" y="325"/>
                    <a:pt x="844" y="325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55" y="318"/>
                    <a:pt x="855" y="318"/>
                    <a:pt x="855" y="31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866" y="308"/>
                    <a:pt x="866" y="308"/>
                    <a:pt x="866" y="30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0" y="268"/>
                    <a:pt x="900" y="268"/>
                    <a:pt x="900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1" y="268"/>
                    <a:pt x="901" y="268"/>
                    <a:pt x="901" y="268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3" y="266"/>
                    <a:pt x="903" y="266"/>
                    <a:pt x="903" y="266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5" y="264"/>
                    <a:pt x="905" y="264"/>
                    <a:pt x="905" y="264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7" y="261"/>
                    <a:pt x="907" y="261"/>
                    <a:pt x="907" y="261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08" y="259"/>
                    <a:pt x="908" y="259"/>
                    <a:pt x="908" y="259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1" y="257"/>
                    <a:pt x="911" y="257"/>
                    <a:pt x="911" y="257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3" y="256"/>
                    <a:pt x="913" y="256"/>
                    <a:pt x="913" y="256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16" y="253"/>
                    <a:pt x="916" y="253"/>
                    <a:pt x="916" y="253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2" y="247"/>
                    <a:pt x="922" y="247"/>
                    <a:pt x="922" y="247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28" y="242"/>
                    <a:pt x="928" y="242"/>
                    <a:pt x="928" y="242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34" y="235"/>
                    <a:pt x="934" y="235"/>
                    <a:pt x="934" y="235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1" y="229"/>
                    <a:pt x="941" y="229"/>
                    <a:pt x="941" y="229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46" y="223"/>
                    <a:pt x="946" y="223"/>
                    <a:pt x="946" y="223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1" y="215"/>
                    <a:pt x="951" y="215"/>
                    <a:pt x="951" y="215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56" y="208"/>
                    <a:pt x="956" y="208"/>
                    <a:pt x="956" y="208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61" y="200"/>
                    <a:pt x="961" y="200"/>
                    <a:pt x="961" y="200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9" y="198"/>
                    <a:pt x="959" y="198"/>
                    <a:pt x="959" y="198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6" y="196"/>
                    <a:pt x="956" y="196"/>
                    <a:pt x="956" y="196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3" y="195"/>
                    <a:pt x="953" y="195"/>
                    <a:pt x="953" y="195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50" y="194"/>
                    <a:pt x="950" y="194"/>
                    <a:pt x="950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6" y="194"/>
                    <a:pt x="946" y="194"/>
                    <a:pt x="946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43" y="194"/>
                    <a:pt x="943" y="194"/>
                    <a:pt x="943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9" y="194"/>
                    <a:pt x="939" y="194"/>
                    <a:pt x="939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36" y="194"/>
                    <a:pt x="936" y="194"/>
                    <a:pt x="936" y="194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27" y="198"/>
                    <a:pt x="927" y="198"/>
                    <a:pt x="927" y="198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8" y="200"/>
                    <a:pt x="918" y="200"/>
                    <a:pt x="918" y="200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10" y="202"/>
                    <a:pt x="910" y="202"/>
                    <a:pt x="910" y="202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901" y="203"/>
                    <a:pt x="901" y="203"/>
                    <a:pt x="901" y="203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92" y="205"/>
                    <a:pt x="892" y="205"/>
                    <a:pt x="892" y="205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84" y="206"/>
                    <a:pt x="884" y="206"/>
                    <a:pt x="884" y="206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75" y="207"/>
                    <a:pt x="875" y="207"/>
                    <a:pt x="875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7" y="207"/>
                    <a:pt x="867" y="207"/>
                    <a:pt x="867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5" y="207"/>
                    <a:pt x="865" y="207"/>
                    <a:pt x="865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3" y="207"/>
                    <a:pt x="863" y="207"/>
                    <a:pt x="863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61" y="207"/>
                    <a:pt x="861" y="207"/>
                    <a:pt x="861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9" y="207"/>
                    <a:pt x="859" y="207"/>
                    <a:pt x="859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7" y="207"/>
                    <a:pt x="857" y="207"/>
                    <a:pt x="857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5" y="207"/>
                    <a:pt x="855" y="207"/>
                    <a:pt x="855" y="207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3" y="206"/>
                    <a:pt x="853" y="206"/>
                    <a:pt x="853" y="206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52" y="204"/>
                    <a:pt x="852" y="204"/>
                    <a:pt x="852" y="204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9" y="203"/>
                    <a:pt x="849" y="203"/>
                    <a:pt x="849" y="203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7" y="200"/>
                    <a:pt x="847" y="200"/>
                    <a:pt x="847" y="200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4" y="199"/>
                    <a:pt x="844" y="199"/>
                    <a:pt x="844" y="199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42" y="196"/>
                    <a:pt x="842" y="196"/>
                    <a:pt x="842" y="196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9" y="194"/>
                    <a:pt x="839" y="194"/>
                    <a:pt x="839" y="194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8" y="191"/>
                    <a:pt x="838" y="191"/>
                    <a:pt x="838" y="191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8"/>
                    <a:pt x="836" y="188"/>
                    <a:pt x="836" y="188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4"/>
                    <a:pt x="836" y="184"/>
                    <a:pt x="836" y="184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6" y="183"/>
                    <a:pt x="836" y="183"/>
                    <a:pt x="836" y="183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8" y="182"/>
                    <a:pt x="838" y="182"/>
                    <a:pt x="838" y="182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39" y="181"/>
                    <a:pt x="839" y="181"/>
                    <a:pt x="839" y="181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9"/>
                    <a:pt x="840" y="179"/>
                    <a:pt x="840" y="179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0" y="178"/>
                    <a:pt x="840" y="178"/>
                    <a:pt x="840" y="178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2" y="177"/>
                    <a:pt x="842" y="177"/>
                    <a:pt x="842" y="177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3" y="176"/>
                    <a:pt x="843" y="176"/>
                    <a:pt x="843" y="176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5" y="174"/>
                    <a:pt x="845" y="174"/>
                    <a:pt x="845" y="174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47" y="177"/>
                    <a:pt x="847" y="177"/>
                    <a:pt x="847" y="177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0" y="178"/>
                    <a:pt x="850" y="178"/>
                    <a:pt x="850" y="178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4" y="179"/>
                    <a:pt x="854" y="179"/>
                    <a:pt x="854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58" y="179"/>
                    <a:pt x="858" y="179"/>
                    <a:pt x="858" y="179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2" y="180"/>
                    <a:pt x="862" y="180"/>
                    <a:pt x="862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66" y="180"/>
                    <a:pt x="866" y="180"/>
                    <a:pt x="866" y="180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0" y="181"/>
                    <a:pt x="870" y="181"/>
                    <a:pt x="870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874" y="181"/>
                    <a:pt x="874" y="181"/>
                    <a:pt x="874" y="181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41" y="179"/>
                    <a:pt x="941" y="179"/>
                    <a:pt x="941" y="179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6" y="176"/>
                    <a:pt x="976" y="176"/>
                    <a:pt x="976" y="176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79" y="180"/>
                    <a:pt x="979" y="180"/>
                    <a:pt x="979" y="180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3" y="183"/>
                    <a:pt x="983" y="183"/>
                    <a:pt x="983" y="183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5" y="186"/>
                    <a:pt x="985" y="186"/>
                    <a:pt x="985" y="186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0"/>
                    <a:pt x="988" y="190"/>
                    <a:pt x="988" y="190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8" y="195"/>
                    <a:pt x="988" y="195"/>
                    <a:pt x="988" y="195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0"/>
                    <a:pt x="989" y="200"/>
                    <a:pt x="989" y="200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4"/>
                    <a:pt x="989" y="204"/>
                    <a:pt x="989" y="204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9" y="208"/>
                    <a:pt x="989" y="208"/>
                    <a:pt x="989" y="208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7" y="212"/>
                    <a:pt x="987" y="212"/>
                    <a:pt x="987" y="212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6" y="214"/>
                    <a:pt x="986" y="214"/>
                    <a:pt x="986" y="214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4" y="215"/>
                    <a:pt x="984" y="215"/>
                    <a:pt x="984" y="215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83" y="216"/>
                    <a:pt x="983" y="216"/>
                    <a:pt x="983" y="216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9" y="219"/>
                    <a:pt x="979" y="219"/>
                    <a:pt x="979" y="219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7" y="221"/>
                    <a:pt x="977" y="221"/>
                    <a:pt x="977" y="221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3"/>
                    <a:pt x="975" y="223"/>
                    <a:pt x="975" y="223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75" y="225"/>
                    <a:pt x="975" y="225"/>
                    <a:pt x="975" y="225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9" y="231"/>
                    <a:pt x="969" y="231"/>
                    <a:pt x="969" y="231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64" y="237"/>
                    <a:pt x="964" y="237"/>
                    <a:pt x="964" y="237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7" y="243"/>
                    <a:pt x="957" y="243"/>
                    <a:pt x="957" y="243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53" y="249"/>
                    <a:pt x="953" y="249"/>
                    <a:pt x="953" y="249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7" y="256"/>
                    <a:pt x="947" y="256"/>
                    <a:pt x="947" y="256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42" y="261"/>
                    <a:pt x="942" y="261"/>
                    <a:pt x="942" y="261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35" y="266"/>
                    <a:pt x="935" y="266"/>
                    <a:pt x="935" y="266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29" y="269"/>
                    <a:pt x="929" y="269"/>
                    <a:pt x="929" y="269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6" y="308"/>
                    <a:pt x="906" y="308"/>
                    <a:pt x="906" y="308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08" y="313"/>
                    <a:pt x="908" y="313"/>
                    <a:pt x="908" y="313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14" y="315"/>
                    <a:pt x="914" y="315"/>
                    <a:pt x="914" y="315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1" y="314"/>
                    <a:pt x="921" y="314"/>
                    <a:pt x="921" y="314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27" y="312"/>
                    <a:pt x="927" y="312"/>
                    <a:pt x="927" y="312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34" y="310"/>
                    <a:pt x="934" y="310"/>
                    <a:pt x="934" y="310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1" y="307"/>
                    <a:pt x="941" y="307"/>
                    <a:pt x="941" y="307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47" y="304"/>
                    <a:pt x="947" y="304"/>
                    <a:pt x="947" y="304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53" y="302"/>
                    <a:pt x="953" y="302"/>
                    <a:pt x="953" y="302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299"/>
                    <a:pt x="960" y="299"/>
                    <a:pt x="960" y="299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0" y="301"/>
                    <a:pt x="960" y="301"/>
                    <a:pt x="960" y="301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3"/>
                    <a:pt x="963" y="303"/>
                    <a:pt x="963" y="303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3" y="305"/>
                    <a:pt x="963" y="305"/>
                    <a:pt x="963" y="305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07"/>
                    <a:pt x="965" y="307"/>
                    <a:pt x="965" y="307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0"/>
                    <a:pt x="965" y="310"/>
                    <a:pt x="965" y="310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1"/>
                    <a:pt x="965" y="311"/>
                    <a:pt x="965" y="311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5" y="313"/>
                    <a:pt x="965" y="313"/>
                    <a:pt x="965" y="313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6" y="315"/>
                    <a:pt x="966" y="315"/>
                    <a:pt x="966" y="315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4" y="317"/>
                    <a:pt x="964" y="317"/>
                    <a:pt x="964" y="317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1" y="318"/>
                    <a:pt x="961" y="318"/>
                    <a:pt x="961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60" y="318"/>
                    <a:pt x="960" y="318"/>
                    <a:pt x="960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9" y="318"/>
                    <a:pt x="959" y="318"/>
                    <a:pt x="959" y="318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6" y="319"/>
                    <a:pt x="956" y="319"/>
                    <a:pt x="956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5" y="319"/>
                    <a:pt x="955" y="319"/>
                    <a:pt x="955" y="319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0"/>
                    <a:pt x="953" y="320"/>
                    <a:pt x="953" y="320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953" y="321"/>
                    <a:pt x="953" y="321"/>
                    <a:pt x="953" y="32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2" y="341"/>
                    <a:pt x="882" y="341"/>
                    <a:pt x="882" y="341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1" y="342"/>
                    <a:pt x="881" y="342"/>
                    <a:pt x="881" y="342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80" y="343"/>
                    <a:pt x="880" y="343"/>
                    <a:pt x="880" y="343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8" y="344"/>
                    <a:pt x="878" y="344"/>
                    <a:pt x="878" y="344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7" y="345"/>
                    <a:pt x="877" y="345"/>
                    <a:pt x="877" y="345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6" y="346"/>
                    <a:pt x="876" y="346"/>
                    <a:pt x="876" y="346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5" y="347"/>
                    <a:pt x="875" y="347"/>
                    <a:pt x="875" y="347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71" y="348"/>
                    <a:pt x="871" y="348"/>
                    <a:pt x="871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8" y="348"/>
                    <a:pt x="868" y="348"/>
                    <a:pt x="868" y="348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6" y="349"/>
                    <a:pt x="866" y="349"/>
                    <a:pt x="866" y="349"/>
                  </a:cubicBezTo>
                  <a:cubicBezTo>
                    <a:pt x="865" y="349"/>
                    <a:pt x="864" y="349"/>
                    <a:pt x="864" y="350"/>
                  </a:cubicBezTo>
                  <a:cubicBezTo>
                    <a:pt x="864" y="350"/>
                    <a:pt x="864" y="350"/>
                    <a:pt x="864" y="350"/>
                  </a:cubicBezTo>
                  <a:cubicBezTo>
                    <a:pt x="860" y="352"/>
                    <a:pt x="859" y="351"/>
                    <a:pt x="855" y="353"/>
                  </a:cubicBezTo>
                  <a:cubicBezTo>
                    <a:pt x="855" y="353"/>
                    <a:pt x="855" y="353"/>
                    <a:pt x="855" y="353"/>
                  </a:cubicBezTo>
                  <a:cubicBezTo>
                    <a:pt x="855" y="353"/>
                    <a:pt x="854" y="353"/>
                    <a:pt x="853" y="353"/>
                  </a:cubicBezTo>
                  <a:cubicBezTo>
                    <a:pt x="853" y="354"/>
                    <a:pt x="852" y="355"/>
                    <a:pt x="851" y="355"/>
                  </a:cubicBezTo>
                  <a:cubicBezTo>
                    <a:pt x="850" y="356"/>
                    <a:pt x="850" y="357"/>
                    <a:pt x="849" y="358"/>
                  </a:cubicBezTo>
                  <a:cubicBezTo>
                    <a:pt x="849" y="358"/>
                    <a:pt x="849" y="358"/>
                    <a:pt x="849" y="358"/>
                  </a:cubicBezTo>
                  <a:cubicBezTo>
                    <a:pt x="848" y="358"/>
                    <a:pt x="848" y="358"/>
                    <a:pt x="847" y="358"/>
                  </a:cubicBezTo>
                  <a:cubicBezTo>
                    <a:pt x="847" y="358"/>
                    <a:pt x="847" y="358"/>
                    <a:pt x="847" y="358"/>
                  </a:cubicBezTo>
                  <a:cubicBezTo>
                    <a:pt x="844" y="359"/>
                    <a:pt x="842" y="359"/>
                    <a:pt x="839" y="360"/>
                  </a:cubicBezTo>
                  <a:cubicBezTo>
                    <a:pt x="839" y="360"/>
                    <a:pt x="839" y="360"/>
                    <a:pt x="839" y="360"/>
                  </a:cubicBezTo>
                  <a:cubicBezTo>
                    <a:pt x="838" y="360"/>
                    <a:pt x="836" y="360"/>
                    <a:pt x="835" y="360"/>
                  </a:cubicBezTo>
                  <a:cubicBezTo>
                    <a:pt x="835" y="360"/>
                    <a:pt x="835" y="360"/>
                    <a:pt x="835" y="360"/>
                  </a:cubicBezTo>
                  <a:cubicBezTo>
                    <a:pt x="835" y="360"/>
                    <a:pt x="834" y="361"/>
                    <a:pt x="833" y="361"/>
                  </a:cubicBezTo>
                  <a:cubicBezTo>
                    <a:pt x="833" y="361"/>
                    <a:pt x="833" y="361"/>
                    <a:pt x="833" y="361"/>
                  </a:cubicBezTo>
                  <a:cubicBezTo>
                    <a:pt x="833" y="361"/>
                    <a:pt x="833" y="361"/>
                    <a:pt x="832" y="362"/>
                  </a:cubicBezTo>
                  <a:cubicBezTo>
                    <a:pt x="832" y="362"/>
                    <a:pt x="832" y="362"/>
                    <a:pt x="832" y="362"/>
                  </a:cubicBezTo>
                  <a:cubicBezTo>
                    <a:pt x="831" y="362"/>
                    <a:pt x="830" y="363"/>
                    <a:pt x="829" y="364"/>
                  </a:cubicBezTo>
                  <a:cubicBezTo>
                    <a:pt x="829" y="364"/>
                    <a:pt x="829" y="364"/>
                    <a:pt x="829" y="364"/>
                  </a:cubicBezTo>
                  <a:cubicBezTo>
                    <a:pt x="829" y="364"/>
                    <a:pt x="828" y="364"/>
                    <a:pt x="828" y="364"/>
                  </a:cubicBezTo>
                  <a:cubicBezTo>
                    <a:pt x="828" y="364"/>
                    <a:pt x="828" y="364"/>
                    <a:pt x="828" y="364"/>
                  </a:cubicBezTo>
                  <a:cubicBezTo>
                    <a:pt x="825" y="364"/>
                    <a:pt x="822" y="365"/>
                    <a:pt x="820" y="365"/>
                  </a:cubicBezTo>
                  <a:cubicBezTo>
                    <a:pt x="820" y="365"/>
                    <a:pt x="820" y="365"/>
                    <a:pt x="820" y="365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6" y="366"/>
                    <a:pt x="816" y="366"/>
                    <a:pt x="816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5" y="366"/>
                    <a:pt x="815" y="366"/>
                    <a:pt x="815" y="366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11" y="369"/>
                    <a:pt x="811" y="369"/>
                    <a:pt x="811" y="369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8" y="372"/>
                    <a:pt x="808" y="372"/>
                    <a:pt x="808" y="372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4" y="375"/>
                    <a:pt x="804" y="375"/>
                    <a:pt x="804" y="375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90" y="381"/>
                    <a:pt x="790" y="381"/>
                    <a:pt x="790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5" y="381"/>
                    <a:pt x="785" y="381"/>
                    <a:pt x="785" y="381"/>
                  </a:cubicBezTo>
                  <a:cubicBezTo>
                    <a:pt x="781" y="381"/>
                    <a:pt x="781" y="381"/>
                    <a:pt x="781" y="381"/>
                  </a:cubicBezTo>
                  <a:lnTo>
                    <a:pt x="778" y="381"/>
                  </a:lnTo>
                  <a:close/>
                  <a:moveTo>
                    <a:pt x="200" y="359"/>
                  </a:moveTo>
                  <a:cubicBezTo>
                    <a:pt x="204" y="360"/>
                    <a:pt x="204" y="360"/>
                    <a:pt x="204" y="360"/>
                  </a:cubicBezTo>
                  <a:cubicBezTo>
                    <a:pt x="204" y="360"/>
                    <a:pt x="204" y="360"/>
                    <a:pt x="204" y="360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08" y="359"/>
                    <a:pt x="208" y="359"/>
                    <a:pt x="208" y="359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1" y="358"/>
                    <a:pt x="211" y="358"/>
                    <a:pt x="211" y="358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5" y="355"/>
                    <a:pt x="215" y="355"/>
                    <a:pt x="215" y="355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0" y="351"/>
                    <a:pt x="220" y="351"/>
                    <a:pt x="220" y="351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5" y="347"/>
                    <a:pt x="226" y="346"/>
                    <a:pt x="227" y="345"/>
                  </a:cubicBezTo>
                  <a:cubicBezTo>
                    <a:pt x="227" y="345"/>
                    <a:pt x="227" y="345"/>
                    <a:pt x="227" y="345"/>
                  </a:cubicBezTo>
                  <a:cubicBezTo>
                    <a:pt x="227" y="344"/>
                    <a:pt x="227" y="343"/>
                    <a:pt x="227" y="342"/>
                  </a:cubicBezTo>
                  <a:cubicBezTo>
                    <a:pt x="227" y="342"/>
                    <a:pt x="227" y="342"/>
                    <a:pt x="227" y="342"/>
                  </a:cubicBezTo>
                  <a:cubicBezTo>
                    <a:pt x="227" y="341"/>
                    <a:pt x="227" y="340"/>
                    <a:pt x="227" y="339"/>
                  </a:cubicBezTo>
                  <a:cubicBezTo>
                    <a:pt x="227" y="339"/>
                    <a:pt x="227" y="339"/>
                    <a:pt x="227" y="339"/>
                  </a:cubicBezTo>
                  <a:cubicBezTo>
                    <a:pt x="227" y="338"/>
                    <a:pt x="227" y="338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6"/>
                    <a:pt x="228" y="335"/>
                    <a:pt x="229" y="334"/>
                  </a:cubicBezTo>
                  <a:cubicBezTo>
                    <a:pt x="229" y="334"/>
                    <a:pt x="229" y="334"/>
                    <a:pt x="229" y="334"/>
                  </a:cubicBezTo>
                  <a:cubicBezTo>
                    <a:pt x="229" y="333"/>
                    <a:pt x="229" y="332"/>
                    <a:pt x="229" y="331"/>
                  </a:cubicBezTo>
                  <a:cubicBezTo>
                    <a:pt x="229" y="331"/>
                    <a:pt x="229" y="331"/>
                    <a:pt x="229" y="331"/>
                  </a:cubicBezTo>
                  <a:cubicBezTo>
                    <a:pt x="229" y="330"/>
                    <a:pt x="229" y="329"/>
                    <a:pt x="230" y="328"/>
                  </a:cubicBezTo>
                  <a:cubicBezTo>
                    <a:pt x="230" y="328"/>
                    <a:pt x="230" y="328"/>
                    <a:pt x="230" y="328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5"/>
                    <a:pt x="229" y="325"/>
                    <a:pt x="229" y="325"/>
                  </a:cubicBezTo>
                  <a:cubicBezTo>
                    <a:pt x="229" y="324"/>
                    <a:pt x="229" y="324"/>
                    <a:pt x="229" y="323"/>
                  </a:cubicBezTo>
                  <a:cubicBezTo>
                    <a:pt x="229" y="323"/>
                    <a:pt x="229" y="323"/>
                    <a:pt x="229" y="323"/>
                  </a:cubicBezTo>
                  <a:cubicBezTo>
                    <a:pt x="228" y="323"/>
                    <a:pt x="227" y="323"/>
                    <a:pt x="225" y="324"/>
                  </a:cubicBezTo>
                  <a:cubicBezTo>
                    <a:pt x="225" y="324"/>
                    <a:pt x="225" y="324"/>
                    <a:pt x="225" y="324"/>
                  </a:cubicBezTo>
                  <a:cubicBezTo>
                    <a:pt x="225" y="324"/>
                    <a:pt x="224" y="324"/>
                    <a:pt x="224" y="324"/>
                  </a:cubicBezTo>
                  <a:cubicBezTo>
                    <a:pt x="224" y="324"/>
                    <a:pt x="224" y="324"/>
                    <a:pt x="224" y="324"/>
                  </a:cubicBezTo>
                  <a:cubicBezTo>
                    <a:pt x="223" y="324"/>
                    <a:pt x="221" y="324"/>
                    <a:pt x="220" y="324"/>
                  </a:cubicBezTo>
                  <a:cubicBezTo>
                    <a:pt x="220" y="324"/>
                    <a:pt x="220" y="324"/>
                    <a:pt x="220" y="324"/>
                  </a:cubicBezTo>
                  <a:cubicBezTo>
                    <a:pt x="220" y="324"/>
                    <a:pt x="219" y="324"/>
                    <a:pt x="218" y="324"/>
                  </a:cubicBezTo>
                  <a:cubicBezTo>
                    <a:pt x="218" y="324"/>
                    <a:pt x="218" y="324"/>
                    <a:pt x="218" y="324"/>
                  </a:cubicBezTo>
                  <a:cubicBezTo>
                    <a:pt x="217" y="325"/>
                    <a:pt x="216" y="325"/>
                    <a:pt x="215" y="325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4" y="325"/>
                    <a:pt x="214" y="325"/>
                    <a:pt x="213" y="325"/>
                  </a:cubicBezTo>
                  <a:cubicBezTo>
                    <a:pt x="213" y="325"/>
                    <a:pt x="213" y="325"/>
                    <a:pt x="213" y="325"/>
                  </a:cubicBezTo>
                  <a:cubicBezTo>
                    <a:pt x="212" y="325"/>
                    <a:pt x="211" y="325"/>
                    <a:pt x="211" y="325"/>
                  </a:cubicBezTo>
                  <a:cubicBezTo>
                    <a:pt x="211" y="325"/>
                    <a:pt x="211" y="325"/>
                    <a:pt x="211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5"/>
                    <a:pt x="210" y="325"/>
                    <a:pt x="210" y="325"/>
                  </a:cubicBezTo>
                  <a:cubicBezTo>
                    <a:pt x="210" y="324"/>
                    <a:pt x="209" y="323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2"/>
                    <a:pt x="209" y="322"/>
                    <a:pt x="209" y="322"/>
                  </a:cubicBezTo>
                  <a:cubicBezTo>
                    <a:pt x="209" y="321"/>
                    <a:pt x="210" y="321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20"/>
                    <a:pt x="210" y="320"/>
                    <a:pt x="210" y="320"/>
                  </a:cubicBezTo>
                  <a:cubicBezTo>
                    <a:pt x="210" y="319"/>
                    <a:pt x="210" y="319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8"/>
                    <a:pt x="211" y="318"/>
                  </a:cubicBezTo>
                  <a:cubicBezTo>
                    <a:pt x="211" y="318"/>
                    <a:pt x="211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2" y="317"/>
                    <a:pt x="212" y="317"/>
                  </a:cubicBezTo>
                  <a:cubicBezTo>
                    <a:pt x="212" y="317"/>
                    <a:pt x="213" y="316"/>
                    <a:pt x="213" y="316"/>
                  </a:cubicBezTo>
                  <a:cubicBezTo>
                    <a:pt x="213" y="316"/>
                    <a:pt x="213" y="316"/>
                    <a:pt x="213" y="316"/>
                  </a:cubicBezTo>
                  <a:cubicBezTo>
                    <a:pt x="213" y="316"/>
                    <a:pt x="214" y="316"/>
                    <a:pt x="214" y="316"/>
                  </a:cubicBezTo>
                  <a:cubicBezTo>
                    <a:pt x="214" y="316"/>
                    <a:pt x="214" y="316"/>
                    <a:pt x="214" y="316"/>
                  </a:cubicBezTo>
                  <a:cubicBezTo>
                    <a:pt x="215" y="316"/>
                    <a:pt x="215" y="316"/>
                    <a:pt x="216" y="315"/>
                  </a:cubicBezTo>
                  <a:cubicBezTo>
                    <a:pt x="216" y="315"/>
                    <a:pt x="216" y="315"/>
                    <a:pt x="216" y="315"/>
                  </a:cubicBezTo>
                  <a:cubicBezTo>
                    <a:pt x="217" y="315"/>
                    <a:pt x="218" y="315"/>
                    <a:pt x="218" y="315"/>
                  </a:cubicBezTo>
                  <a:cubicBezTo>
                    <a:pt x="218" y="315"/>
                    <a:pt x="218" y="315"/>
                    <a:pt x="218" y="315"/>
                  </a:cubicBezTo>
                  <a:cubicBezTo>
                    <a:pt x="219" y="315"/>
                    <a:pt x="220" y="314"/>
                    <a:pt x="220" y="313"/>
                  </a:cubicBezTo>
                  <a:cubicBezTo>
                    <a:pt x="220" y="313"/>
                    <a:pt x="220" y="313"/>
                    <a:pt x="220" y="313"/>
                  </a:cubicBezTo>
                  <a:cubicBezTo>
                    <a:pt x="221" y="313"/>
                    <a:pt x="221" y="313"/>
                    <a:pt x="221" y="312"/>
                  </a:cubicBezTo>
                  <a:cubicBezTo>
                    <a:pt x="221" y="312"/>
                    <a:pt x="221" y="312"/>
                    <a:pt x="221" y="312"/>
                  </a:cubicBezTo>
                  <a:cubicBezTo>
                    <a:pt x="223" y="312"/>
                    <a:pt x="224" y="312"/>
                    <a:pt x="225" y="311"/>
                  </a:cubicBezTo>
                  <a:cubicBezTo>
                    <a:pt x="225" y="311"/>
                    <a:pt x="225" y="311"/>
                    <a:pt x="225" y="311"/>
                  </a:cubicBezTo>
                  <a:cubicBezTo>
                    <a:pt x="225" y="311"/>
                    <a:pt x="225" y="311"/>
                    <a:pt x="225" y="310"/>
                  </a:cubicBezTo>
                  <a:cubicBezTo>
                    <a:pt x="225" y="310"/>
                    <a:pt x="225" y="310"/>
                    <a:pt x="225" y="310"/>
                  </a:cubicBezTo>
                  <a:cubicBezTo>
                    <a:pt x="227" y="310"/>
                    <a:pt x="228" y="309"/>
                    <a:pt x="229" y="309"/>
                  </a:cubicBezTo>
                  <a:cubicBezTo>
                    <a:pt x="229" y="309"/>
                    <a:pt x="229" y="309"/>
                    <a:pt x="229" y="309"/>
                  </a:cubicBezTo>
                  <a:cubicBezTo>
                    <a:pt x="229" y="308"/>
                    <a:pt x="229" y="307"/>
                    <a:pt x="229" y="307"/>
                  </a:cubicBezTo>
                  <a:cubicBezTo>
                    <a:pt x="229" y="307"/>
                    <a:pt x="229" y="307"/>
                    <a:pt x="229" y="307"/>
                  </a:cubicBezTo>
                  <a:cubicBezTo>
                    <a:pt x="229" y="306"/>
                    <a:pt x="229" y="306"/>
                    <a:pt x="230" y="305"/>
                  </a:cubicBezTo>
                  <a:cubicBezTo>
                    <a:pt x="230" y="305"/>
                    <a:pt x="230" y="305"/>
                    <a:pt x="230" y="305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1" y="303"/>
                    <a:pt x="231" y="303"/>
                    <a:pt x="231" y="303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301"/>
                    <a:pt x="233" y="301"/>
                    <a:pt x="233" y="301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3" y="299"/>
                    <a:pt x="233" y="299"/>
                    <a:pt x="233" y="299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4" y="297"/>
                    <a:pt x="234" y="297"/>
                    <a:pt x="234" y="297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36" y="293"/>
                    <a:pt x="236" y="293"/>
                    <a:pt x="236" y="293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09" y="302"/>
                    <a:pt x="208" y="302"/>
                    <a:pt x="208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7" y="302"/>
                    <a:pt x="207" y="302"/>
                    <a:pt x="207" y="302"/>
                  </a:cubicBezTo>
                  <a:cubicBezTo>
                    <a:pt x="206" y="302"/>
                    <a:pt x="206" y="302"/>
                    <a:pt x="206" y="301"/>
                  </a:cubicBezTo>
                  <a:cubicBezTo>
                    <a:pt x="206" y="301"/>
                    <a:pt x="206" y="301"/>
                    <a:pt x="206" y="301"/>
                  </a:cubicBezTo>
                  <a:cubicBezTo>
                    <a:pt x="206" y="301"/>
                    <a:pt x="206" y="300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9"/>
                    <a:pt x="206" y="299"/>
                  </a:cubicBezTo>
                  <a:cubicBezTo>
                    <a:pt x="206" y="299"/>
                    <a:pt x="206" y="298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7"/>
                    <a:pt x="206" y="297"/>
                  </a:cubicBezTo>
                  <a:cubicBezTo>
                    <a:pt x="206" y="297"/>
                    <a:pt x="206" y="296"/>
                    <a:pt x="206" y="295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207" y="294"/>
                    <a:pt x="208" y="292"/>
                    <a:pt x="210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15" y="290"/>
                    <a:pt x="215" y="290"/>
                    <a:pt x="215" y="290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27" y="286"/>
                    <a:pt x="227" y="286"/>
                    <a:pt x="227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37" y="281"/>
                    <a:pt x="237" y="281"/>
                    <a:pt x="237" y="281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47" y="274"/>
                    <a:pt x="247" y="274"/>
                    <a:pt x="247" y="274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1" y="269"/>
                    <a:pt x="251" y="269"/>
                    <a:pt x="251" y="269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50" y="263"/>
                    <a:pt x="250" y="263"/>
                    <a:pt x="250" y="263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9"/>
                    <a:pt x="249" y="259"/>
                    <a:pt x="249" y="259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7" y="254"/>
                    <a:pt x="247" y="254"/>
                    <a:pt x="247" y="254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6" y="251"/>
                    <a:pt x="246" y="251"/>
                    <a:pt x="246" y="251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3" y="248"/>
                    <a:pt x="243" y="248"/>
                    <a:pt x="243" y="248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42" y="245"/>
                    <a:pt x="242" y="245"/>
                    <a:pt x="242" y="245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4" y="268"/>
                    <a:pt x="214" y="268"/>
                    <a:pt x="214" y="268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12" y="279"/>
                    <a:pt x="212" y="279"/>
                    <a:pt x="212" y="279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9" y="283"/>
                    <a:pt x="209" y="283"/>
                    <a:pt x="209" y="283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2" y="291"/>
                    <a:pt x="202" y="291"/>
                    <a:pt x="202" y="291"/>
                  </a:cubicBezTo>
                  <a:cubicBezTo>
                    <a:pt x="201" y="292"/>
                    <a:pt x="200" y="293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8" y="295"/>
                    <a:pt x="197" y="296"/>
                    <a:pt x="195" y="297"/>
                  </a:cubicBezTo>
                  <a:cubicBezTo>
                    <a:pt x="195" y="297"/>
                    <a:pt x="195" y="297"/>
                    <a:pt x="195" y="297"/>
                  </a:cubicBezTo>
                  <a:cubicBezTo>
                    <a:pt x="194" y="299"/>
                    <a:pt x="194" y="300"/>
                    <a:pt x="193" y="301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92" y="304"/>
                    <a:pt x="192" y="307"/>
                    <a:pt x="191" y="310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1" y="312"/>
                    <a:pt x="190" y="315"/>
                    <a:pt x="190" y="317"/>
                  </a:cubicBezTo>
                  <a:cubicBezTo>
                    <a:pt x="190" y="317"/>
                    <a:pt x="190" y="317"/>
                    <a:pt x="190" y="317"/>
                  </a:cubicBezTo>
                  <a:cubicBezTo>
                    <a:pt x="189" y="320"/>
                    <a:pt x="189" y="322"/>
                    <a:pt x="189" y="324"/>
                  </a:cubicBezTo>
                  <a:cubicBezTo>
                    <a:pt x="189" y="324"/>
                    <a:pt x="189" y="324"/>
                    <a:pt x="189" y="324"/>
                  </a:cubicBezTo>
                  <a:cubicBezTo>
                    <a:pt x="189" y="327"/>
                    <a:pt x="189" y="330"/>
                    <a:pt x="190" y="332"/>
                  </a:cubicBezTo>
                  <a:cubicBezTo>
                    <a:pt x="190" y="332"/>
                    <a:pt x="190" y="332"/>
                    <a:pt x="190" y="332"/>
                  </a:cubicBezTo>
                  <a:cubicBezTo>
                    <a:pt x="190" y="335"/>
                    <a:pt x="190" y="337"/>
                    <a:pt x="190" y="339"/>
                  </a:cubicBezTo>
                  <a:cubicBezTo>
                    <a:pt x="190" y="339"/>
                    <a:pt x="190" y="339"/>
                    <a:pt x="190" y="339"/>
                  </a:cubicBezTo>
                  <a:cubicBezTo>
                    <a:pt x="191" y="342"/>
                    <a:pt x="192" y="344"/>
                    <a:pt x="193" y="346"/>
                  </a:cubicBezTo>
                  <a:cubicBezTo>
                    <a:pt x="193" y="346"/>
                    <a:pt x="193" y="346"/>
                    <a:pt x="193" y="346"/>
                  </a:cubicBezTo>
                  <a:cubicBezTo>
                    <a:pt x="194" y="349"/>
                    <a:pt x="194" y="351"/>
                    <a:pt x="195" y="353"/>
                  </a:cubicBezTo>
                  <a:cubicBezTo>
                    <a:pt x="195" y="353"/>
                    <a:pt x="195" y="353"/>
                    <a:pt x="195" y="353"/>
                  </a:cubicBezTo>
                  <a:cubicBezTo>
                    <a:pt x="200" y="359"/>
                    <a:pt x="200" y="359"/>
                    <a:pt x="200" y="359"/>
                  </a:cubicBezTo>
                  <a:close/>
                  <a:moveTo>
                    <a:pt x="634" y="347"/>
                  </a:moveTo>
                  <a:cubicBezTo>
                    <a:pt x="633" y="347"/>
                    <a:pt x="633" y="347"/>
                    <a:pt x="633" y="347"/>
                  </a:cubicBezTo>
                  <a:cubicBezTo>
                    <a:pt x="633" y="347"/>
                    <a:pt x="633" y="347"/>
                    <a:pt x="633" y="347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3" y="346"/>
                    <a:pt x="633" y="346"/>
                    <a:pt x="633" y="346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5"/>
                    <a:pt x="631" y="345"/>
                    <a:pt x="631" y="345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1" y="344"/>
                    <a:pt x="631" y="344"/>
                    <a:pt x="631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4"/>
                    <a:pt x="630" y="344"/>
                    <a:pt x="630" y="344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30" y="343"/>
                    <a:pt x="630" y="343"/>
                    <a:pt x="630" y="343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2"/>
                    <a:pt x="629" y="342"/>
                    <a:pt x="629" y="342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40"/>
                    <a:pt x="629" y="340"/>
                    <a:pt x="629" y="340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29" y="338"/>
                    <a:pt x="629" y="338"/>
                    <a:pt x="629" y="338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30" y="333"/>
                    <a:pt x="630" y="333"/>
                    <a:pt x="630" y="333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9" y="330"/>
                    <a:pt x="629" y="330"/>
                    <a:pt x="629" y="330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8" y="325"/>
                    <a:pt x="628" y="325"/>
                    <a:pt x="628" y="325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5" y="323"/>
                    <a:pt x="625" y="323"/>
                    <a:pt x="625" y="323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3" y="318"/>
                    <a:pt x="623" y="318"/>
                    <a:pt x="623" y="318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20" y="315"/>
                    <a:pt x="620" y="315"/>
                    <a:pt x="620" y="315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8" y="310"/>
                    <a:pt x="618" y="310"/>
                    <a:pt x="618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6" y="310"/>
                    <a:pt x="616" y="310"/>
                    <a:pt x="616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5" y="310"/>
                    <a:pt x="615" y="310"/>
                    <a:pt x="615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2" y="310"/>
                    <a:pt x="612" y="310"/>
                    <a:pt x="612" y="310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11" y="309"/>
                    <a:pt x="611" y="309"/>
                    <a:pt x="611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9" y="309"/>
                    <a:pt x="609" y="309"/>
                    <a:pt x="609" y="309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8" y="307"/>
                    <a:pt x="608" y="307"/>
                    <a:pt x="608" y="307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6"/>
                    <a:pt x="607" y="306"/>
                    <a:pt x="607" y="306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07" y="304"/>
                    <a:pt x="607" y="304"/>
                    <a:pt x="607" y="304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14" y="305"/>
                    <a:pt x="614" y="305"/>
                    <a:pt x="614" y="305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0" y="307"/>
                    <a:pt x="620" y="307"/>
                    <a:pt x="620" y="307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27" y="310"/>
                    <a:pt x="627" y="310"/>
                    <a:pt x="627" y="310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35" y="311"/>
                    <a:pt x="635" y="311"/>
                    <a:pt x="635" y="311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1" y="316"/>
                    <a:pt x="641" y="316"/>
                    <a:pt x="641" y="316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47" y="320"/>
                    <a:pt x="647" y="320"/>
                    <a:pt x="647" y="320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53" y="324"/>
                    <a:pt x="653" y="324"/>
                    <a:pt x="653" y="324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27"/>
                    <a:pt x="660" y="327"/>
                    <a:pt x="660" y="327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60" y="334"/>
                    <a:pt x="660" y="334"/>
                    <a:pt x="660" y="334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7" y="337"/>
                    <a:pt x="657" y="337"/>
                    <a:pt x="657" y="337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4" y="338"/>
                    <a:pt x="654" y="338"/>
                    <a:pt x="654" y="338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9" y="339"/>
                    <a:pt x="649" y="339"/>
                    <a:pt x="649" y="339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6" y="341"/>
                    <a:pt x="646" y="341"/>
                    <a:pt x="646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3" y="341"/>
                    <a:pt x="643" y="341"/>
                    <a:pt x="643" y="341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40" y="342"/>
                    <a:pt x="640" y="342"/>
                    <a:pt x="640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8" y="342"/>
                    <a:pt x="638" y="342"/>
                    <a:pt x="638" y="342"/>
                  </a:cubicBezTo>
                  <a:cubicBezTo>
                    <a:pt x="635" y="347"/>
                    <a:pt x="635" y="347"/>
                    <a:pt x="635" y="347"/>
                  </a:cubicBezTo>
                  <a:lnTo>
                    <a:pt x="634" y="347"/>
                  </a:lnTo>
                  <a:close/>
                  <a:moveTo>
                    <a:pt x="137" y="267"/>
                  </a:moveTo>
                  <a:cubicBezTo>
                    <a:pt x="181" y="255"/>
                    <a:pt x="181" y="255"/>
                    <a:pt x="181" y="255"/>
                  </a:cubicBezTo>
                  <a:cubicBezTo>
                    <a:pt x="181" y="255"/>
                    <a:pt x="181" y="255"/>
                    <a:pt x="181" y="255"/>
                  </a:cubicBezTo>
                  <a:cubicBezTo>
                    <a:pt x="186" y="253"/>
                    <a:pt x="191" y="251"/>
                    <a:pt x="196" y="250"/>
                  </a:cubicBezTo>
                  <a:cubicBezTo>
                    <a:pt x="196" y="250"/>
                    <a:pt x="196" y="250"/>
                    <a:pt x="196" y="250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11" y="243"/>
                    <a:pt x="211" y="243"/>
                    <a:pt x="211" y="243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37" y="226"/>
                    <a:pt x="237" y="226"/>
                    <a:pt x="237" y="22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49" y="216"/>
                    <a:pt x="249" y="216"/>
                    <a:pt x="249" y="216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59" y="205"/>
                    <a:pt x="259" y="205"/>
                    <a:pt x="259" y="205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68" y="193"/>
                    <a:pt x="268" y="193"/>
                    <a:pt x="268" y="193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74" y="176"/>
                    <a:pt x="274" y="176"/>
                    <a:pt x="274" y="17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1"/>
                    <a:pt x="232" y="201"/>
                    <a:pt x="232" y="201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3"/>
                    <a:pt x="232" y="203"/>
                    <a:pt x="232" y="203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08"/>
                    <a:pt x="231" y="208"/>
                    <a:pt x="231" y="208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0"/>
                    <a:pt x="231" y="210"/>
                    <a:pt x="231" y="210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2"/>
                    <a:pt x="231" y="212"/>
                    <a:pt x="231" y="212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31" y="213"/>
                    <a:pt x="231" y="213"/>
                    <a:pt x="231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1" y="211"/>
                    <a:pt x="221" y="211"/>
                    <a:pt x="221" y="211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20" y="210"/>
                    <a:pt x="220" y="210"/>
                    <a:pt x="220" y="210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9" y="208"/>
                    <a:pt x="219" y="208"/>
                    <a:pt x="219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7" y="208"/>
                    <a:pt x="217" y="208"/>
                    <a:pt x="217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6" y="232"/>
                    <a:pt x="166" y="232"/>
                    <a:pt x="166" y="232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60" y="238"/>
                    <a:pt x="160" y="238"/>
                    <a:pt x="160" y="238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55" y="241"/>
                    <a:pt x="155" y="241"/>
                    <a:pt x="155" y="241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9" y="244"/>
                    <a:pt x="149" y="244"/>
                    <a:pt x="149" y="244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45" y="247"/>
                    <a:pt x="145" y="247"/>
                    <a:pt x="145" y="247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8" y="251"/>
                    <a:pt x="138" y="251"/>
                    <a:pt x="138" y="251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5" y="255"/>
                    <a:pt x="135" y="255"/>
                    <a:pt x="135" y="255"/>
                  </a:cubicBezTo>
                  <a:cubicBezTo>
                    <a:pt x="134" y="256"/>
                    <a:pt x="133" y="258"/>
                    <a:pt x="132" y="260"/>
                  </a:cubicBezTo>
                  <a:cubicBezTo>
                    <a:pt x="132" y="260"/>
                    <a:pt x="132" y="260"/>
                    <a:pt x="132" y="260"/>
                  </a:cubicBezTo>
                  <a:cubicBezTo>
                    <a:pt x="132" y="262"/>
                    <a:pt x="131" y="263"/>
                    <a:pt x="131" y="265"/>
                  </a:cubicBezTo>
                  <a:cubicBezTo>
                    <a:pt x="131" y="265"/>
                    <a:pt x="131" y="265"/>
                    <a:pt x="131" y="265"/>
                  </a:cubicBezTo>
                  <a:cubicBezTo>
                    <a:pt x="133" y="265"/>
                    <a:pt x="135" y="266"/>
                    <a:pt x="137" y="267"/>
                  </a:cubicBezTo>
                  <a:close/>
                  <a:moveTo>
                    <a:pt x="576" y="207"/>
                  </a:moveTo>
                  <a:cubicBezTo>
                    <a:pt x="581" y="167"/>
                    <a:pt x="581" y="167"/>
                    <a:pt x="581" y="167"/>
                  </a:cubicBezTo>
                  <a:cubicBezTo>
                    <a:pt x="581" y="167"/>
                    <a:pt x="581" y="167"/>
                    <a:pt x="581" y="167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27" y="138"/>
                    <a:pt x="627" y="138"/>
                    <a:pt x="627" y="138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30" y="149"/>
                    <a:pt x="630" y="149"/>
                    <a:pt x="630" y="149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8" y="157"/>
                    <a:pt x="628" y="157"/>
                    <a:pt x="628" y="157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23" y="163"/>
                    <a:pt x="623" y="163"/>
                    <a:pt x="623" y="163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9" y="169"/>
                    <a:pt x="619" y="169"/>
                    <a:pt x="619" y="169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12" y="175"/>
                    <a:pt x="612" y="175"/>
                    <a:pt x="612" y="175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7" y="181"/>
                    <a:pt x="607" y="181"/>
                    <a:pt x="607" y="181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601" y="187"/>
                    <a:pt x="601" y="187"/>
                    <a:pt x="601" y="187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7" y="193"/>
                    <a:pt x="597" y="193"/>
                    <a:pt x="597" y="193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3" y="196"/>
                    <a:pt x="593" y="196"/>
                    <a:pt x="593" y="196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92" y="198"/>
                    <a:pt x="592" y="198"/>
                    <a:pt x="592" y="19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7" y="201"/>
                    <a:pt x="587" y="201"/>
                    <a:pt x="587" y="201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4" y="204"/>
                    <a:pt x="584" y="204"/>
                    <a:pt x="584" y="204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82" y="206"/>
                    <a:pt x="582" y="206"/>
                    <a:pt x="582" y="206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9" y="207"/>
                    <a:pt x="579" y="207"/>
                    <a:pt x="579" y="207"/>
                  </a:cubicBezTo>
                  <a:cubicBezTo>
                    <a:pt x="576" y="207"/>
                    <a:pt x="576" y="207"/>
                    <a:pt x="576" y="207"/>
                  </a:cubicBezTo>
                  <a:close/>
                  <a:moveTo>
                    <a:pt x="1844" y="194"/>
                  </a:moveTo>
                  <a:cubicBezTo>
                    <a:pt x="1845" y="193"/>
                    <a:pt x="1845" y="193"/>
                    <a:pt x="1845" y="193"/>
                  </a:cubicBezTo>
                  <a:cubicBezTo>
                    <a:pt x="1845" y="193"/>
                    <a:pt x="1845" y="193"/>
                    <a:pt x="1845" y="193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7" y="192"/>
                    <a:pt x="1847" y="192"/>
                    <a:pt x="1847" y="192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49" y="191"/>
                    <a:pt x="1849" y="191"/>
                    <a:pt x="1849" y="191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1" y="189"/>
                    <a:pt x="1851" y="189"/>
                    <a:pt x="1851" y="189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2" y="188"/>
                    <a:pt x="1852" y="188"/>
                    <a:pt x="1852" y="188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3" y="186"/>
                    <a:pt x="1853" y="186"/>
                    <a:pt x="1853" y="186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4" y="185"/>
                    <a:pt x="1854" y="185"/>
                    <a:pt x="1854" y="185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5" y="183"/>
                    <a:pt x="1855" y="183"/>
                    <a:pt x="1855" y="183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3" y="182"/>
                    <a:pt x="1853" y="182"/>
                    <a:pt x="1853" y="182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2" y="180"/>
                    <a:pt x="1852" y="180"/>
                    <a:pt x="1852" y="180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9"/>
                    <a:pt x="1850" y="179"/>
                    <a:pt x="1850" y="179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50" y="177"/>
                    <a:pt x="1850" y="177"/>
                    <a:pt x="1850" y="177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8" y="176"/>
                    <a:pt x="1848" y="176"/>
                    <a:pt x="1848" y="176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4"/>
                    <a:pt x="1847" y="174"/>
                    <a:pt x="1847" y="174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3"/>
                    <a:pt x="1847" y="173"/>
                    <a:pt x="1847" y="173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7" y="171"/>
                    <a:pt x="1847" y="171"/>
                    <a:pt x="1847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5" y="171"/>
                    <a:pt x="1845" y="171"/>
                    <a:pt x="1845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4" y="171"/>
                    <a:pt x="1844" y="171"/>
                    <a:pt x="1844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2" y="171"/>
                    <a:pt x="1842" y="171"/>
                    <a:pt x="1842" y="171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40" y="172"/>
                    <a:pt x="1840" y="172"/>
                    <a:pt x="1840" y="172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3"/>
                    <a:pt x="1838" y="173"/>
                    <a:pt x="1838" y="173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6"/>
                    <a:pt x="1838" y="176"/>
                    <a:pt x="1838" y="176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79"/>
                    <a:pt x="1838" y="179"/>
                    <a:pt x="1838" y="179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38" y="182"/>
                    <a:pt x="1838" y="182"/>
                    <a:pt x="1838" y="182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5"/>
                    <a:pt x="1840" y="185"/>
                    <a:pt x="1840" y="185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0" y="187"/>
                    <a:pt x="1840" y="187"/>
                    <a:pt x="1840" y="187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89"/>
                    <a:pt x="1841" y="189"/>
                    <a:pt x="1841" y="189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1" y="192"/>
                    <a:pt x="1841" y="192"/>
                    <a:pt x="1841" y="192"/>
                  </a:cubicBezTo>
                  <a:cubicBezTo>
                    <a:pt x="1842" y="194"/>
                    <a:pt x="1842" y="194"/>
                    <a:pt x="1842" y="194"/>
                  </a:cubicBezTo>
                  <a:lnTo>
                    <a:pt x="1844" y="194"/>
                  </a:lnTo>
                  <a:close/>
                  <a:moveTo>
                    <a:pt x="1916" y="194"/>
                  </a:moveTo>
                  <a:cubicBezTo>
                    <a:pt x="1918" y="191"/>
                    <a:pt x="1918" y="191"/>
                    <a:pt x="1918" y="191"/>
                  </a:cubicBezTo>
                  <a:cubicBezTo>
                    <a:pt x="1918" y="191"/>
                    <a:pt x="1918" y="191"/>
                    <a:pt x="1918" y="191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1" y="186"/>
                    <a:pt x="1921" y="186"/>
                    <a:pt x="1921" y="186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3" y="183"/>
                    <a:pt x="1923" y="183"/>
                    <a:pt x="1923" y="183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7"/>
                    <a:pt x="1924" y="177"/>
                    <a:pt x="1924" y="177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73"/>
                    <a:pt x="1924" y="173"/>
                    <a:pt x="1924" y="173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4" y="169"/>
                    <a:pt x="1924" y="169"/>
                    <a:pt x="1924" y="169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1" y="165"/>
                    <a:pt x="1921" y="165"/>
                    <a:pt x="1921" y="165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20" y="160"/>
                    <a:pt x="1920" y="160"/>
                    <a:pt x="1920" y="160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14" y="158"/>
                    <a:pt x="1914" y="158"/>
                    <a:pt x="1914" y="158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8" y="159"/>
                    <a:pt x="1908" y="159"/>
                    <a:pt x="1908" y="159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3"/>
                    <a:pt x="1907" y="163"/>
                    <a:pt x="1907" y="163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6"/>
                    <a:pt x="1907" y="166"/>
                    <a:pt x="1907" y="166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7" y="169"/>
                    <a:pt x="1907" y="169"/>
                    <a:pt x="1907" y="169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8" y="171"/>
                    <a:pt x="1908" y="171"/>
                    <a:pt x="1908" y="171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4"/>
                    <a:pt x="1907" y="174"/>
                    <a:pt x="1907" y="174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7" y="177"/>
                    <a:pt x="1907" y="177"/>
                    <a:pt x="1907" y="177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6" y="180"/>
                    <a:pt x="1906" y="180"/>
                    <a:pt x="1906" y="180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3"/>
                    <a:pt x="1905" y="183"/>
                    <a:pt x="1905" y="183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5" y="185"/>
                    <a:pt x="1905" y="185"/>
                    <a:pt x="1905" y="185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6" y="187"/>
                    <a:pt x="1906" y="187"/>
                    <a:pt x="1906" y="187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7" y="189"/>
                    <a:pt x="1907" y="189"/>
                    <a:pt x="1907" y="189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8" y="190"/>
                    <a:pt x="1908" y="190"/>
                    <a:pt x="1908" y="190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09" y="192"/>
                    <a:pt x="1909" y="192"/>
                    <a:pt x="1909" y="192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0" y="193"/>
                    <a:pt x="1910" y="193"/>
                    <a:pt x="1910" y="193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1" y="194"/>
                    <a:pt x="1911" y="194"/>
                    <a:pt x="1911" y="194"/>
                  </a:cubicBezTo>
                  <a:cubicBezTo>
                    <a:pt x="1914" y="194"/>
                    <a:pt x="1914" y="194"/>
                    <a:pt x="1914" y="194"/>
                  </a:cubicBezTo>
                  <a:lnTo>
                    <a:pt x="1916" y="194"/>
                  </a:lnTo>
                  <a:close/>
                  <a:moveTo>
                    <a:pt x="1879" y="168"/>
                  </a:moveTo>
                  <a:cubicBezTo>
                    <a:pt x="1881" y="168"/>
                    <a:pt x="1881" y="168"/>
                    <a:pt x="1881" y="168"/>
                  </a:cubicBezTo>
                  <a:cubicBezTo>
                    <a:pt x="1881" y="168"/>
                    <a:pt x="1881" y="168"/>
                    <a:pt x="1881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2" y="168"/>
                    <a:pt x="1882" y="168"/>
                    <a:pt x="1882" y="168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3" y="167"/>
                    <a:pt x="1883" y="167"/>
                    <a:pt x="1883" y="167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5" y="165"/>
                    <a:pt x="1885" y="165"/>
                    <a:pt x="1885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6" y="165"/>
                    <a:pt x="1886" y="165"/>
                    <a:pt x="1886" y="165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7" y="164"/>
                    <a:pt x="1887" y="164"/>
                    <a:pt x="1887" y="164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88" y="163"/>
                    <a:pt x="1888" y="163"/>
                    <a:pt x="1888" y="163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1" y="162"/>
                    <a:pt x="1891" y="162"/>
                    <a:pt x="1891" y="162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9"/>
                    <a:pt x="1890" y="159"/>
                    <a:pt x="1890" y="159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90" y="157"/>
                    <a:pt x="1890" y="157"/>
                    <a:pt x="1890" y="157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8" y="154"/>
                    <a:pt x="1888" y="154"/>
                    <a:pt x="1888" y="154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6" y="150"/>
                    <a:pt x="1886" y="150"/>
                    <a:pt x="1886" y="150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82" y="148"/>
                    <a:pt x="1882" y="148"/>
                    <a:pt x="1882" y="148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8" y="145"/>
                    <a:pt x="1878" y="145"/>
                    <a:pt x="1878" y="145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5" y="144"/>
                    <a:pt x="1875" y="144"/>
                    <a:pt x="1875" y="144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2" y="143"/>
                    <a:pt x="1872" y="143"/>
                    <a:pt x="1872" y="143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70" y="145"/>
                    <a:pt x="1870" y="145"/>
                    <a:pt x="1870" y="145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9" y="147"/>
                    <a:pt x="1869" y="147"/>
                    <a:pt x="1869" y="147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7" y="149"/>
                    <a:pt x="1867" y="149"/>
                    <a:pt x="1867" y="149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6" y="150"/>
                    <a:pt x="1866" y="150"/>
                    <a:pt x="1866" y="150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4" y="152"/>
                    <a:pt x="1864" y="152"/>
                    <a:pt x="1864" y="152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3" y="153"/>
                    <a:pt x="1863" y="153"/>
                    <a:pt x="1863" y="153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60" y="155"/>
                    <a:pt x="1860" y="155"/>
                    <a:pt x="1860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5"/>
                    <a:pt x="1859" y="155"/>
                    <a:pt x="1859" y="155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59" y="159"/>
                    <a:pt x="1859" y="159"/>
                    <a:pt x="1859" y="159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0" y="162"/>
                    <a:pt x="1860" y="162"/>
                    <a:pt x="1860" y="162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3" y="163"/>
                    <a:pt x="1863" y="163"/>
                    <a:pt x="1863" y="163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5" y="164"/>
                    <a:pt x="1865" y="164"/>
                    <a:pt x="1865" y="164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68" y="165"/>
                    <a:pt x="1868" y="165"/>
                    <a:pt x="1868" y="165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0" y="166"/>
                    <a:pt x="1870" y="166"/>
                    <a:pt x="1870" y="166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2" y="167"/>
                    <a:pt x="1872" y="167"/>
                    <a:pt x="1872" y="167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4" y="168"/>
                    <a:pt x="1874" y="168"/>
                    <a:pt x="1874" y="168"/>
                  </a:cubicBezTo>
                  <a:cubicBezTo>
                    <a:pt x="1877" y="168"/>
                    <a:pt x="1877" y="168"/>
                    <a:pt x="1877" y="168"/>
                  </a:cubicBezTo>
                  <a:lnTo>
                    <a:pt x="1879" y="168"/>
                  </a:lnTo>
                  <a:close/>
                  <a:moveTo>
                    <a:pt x="583" y="131"/>
                  </a:moveTo>
                  <a:cubicBezTo>
                    <a:pt x="583" y="130"/>
                    <a:pt x="583" y="130"/>
                    <a:pt x="583" y="130"/>
                  </a:cubicBezTo>
                  <a:cubicBezTo>
                    <a:pt x="583" y="130"/>
                    <a:pt x="583" y="130"/>
                    <a:pt x="583" y="130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8"/>
                    <a:pt x="583" y="128"/>
                    <a:pt x="583" y="128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6"/>
                    <a:pt x="583" y="126"/>
                    <a:pt x="583" y="126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5"/>
                    <a:pt x="583" y="125"/>
                    <a:pt x="583" y="125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3"/>
                    <a:pt x="583" y="123"/>
                    <a:pt x="583" y="123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22"/>
                    <a:pt x="583" y="122"/>
                    <a:pt x="583" y="122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583" y="119"/>
                    <a:pt x="583" y="119"/>
                    <a:pt x="583" y="119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602" y="117"/>
                    <a:pt x="602" y="117"/>
                    <a:pt x="602" y="117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9" y="120"/>
                    <a:pt x="599" y="120"/>
                    <a:pt x="599" y="120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7" y="123"/>
                    <a:pt x="597" y="123"/>
                    <a:pt x="597" y="123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91" y="128"/>
                    <a:pt x="591" y="128"/>
                    <a:pt x="591" y="128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7" y="130"/>
                    <a:pt x="587" y="130"/>
                    <a:pt x="587" y="130"/>
                  </a:cubicBezTo>
                  <a:cubicBezTo>
                    <a:pt x="584" y="131"/>
                    <a:pt x="584" y="131"/>
                    <a:pt x="584" y="131"/>
                  </a:cubicBezTo>
                  <a:lnTo>
                    <a:pt x="583" y="131"/>
                  </a:lnTo>
                  <a:close/>
                  <a:moveTo>
                    <a:pt x="1853" y="121"/>
                  </a:moveTo>
                  <a:cubicBezTo>
                    <a:pt x="1854" y="121"/>
                    <a:pt x="1854" y="121"/>
                    <a:pt x="1854" y="121"/>
                  </a:cubicBezTo>
                  <a:lnTo>
                    <a:pt x="1853" y="121"/>
                  </a:lnTo>
                  <a:close/>
                  <a:moveTo>
                    <a:pt x="196" y="69"/>
                  </a:moveTo>
                  <a:cubicBezTo>
                    <a:pt x="202" y="68"/>
                    <a:pt x="202" y="68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1" y="67"/>
                    <a:pt x="211" y="67"/>
                    <a:pt x="211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19" y="67"/>
                    <a:pt x="219" y="67"/>
                    <a:pt x="219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28" y="67"/>
                    <a:pt x="228" y="67"/>
                    <a:pt x="228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7"/>
                    <a:pt x="252" y="57"/>
                    <a:pt x="252" y="57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50" y="49"/>
                    <a:pt x="250" y="49"/>
                    <a:pt x="250" y="49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8" y="47"/>
                    <a:pt x="248" y="47"/>
                    <a:pt x="248" y="47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4"/>
                    <a:pt x="244" y="44"/>
                    <a:pt x="244" y="44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209" y="19"/>
                    <a:pt x="209" y="19"/>
                    <a:pt x="209" y="19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6" y="18"/>
                    <a:pt x="166" y="18"/>
                    <a:pt x="166" y="18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6" y="48"/>
                    <a:pt x="196" y="48"/>
                    <a:pt x="196" y="48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7" y="49"/>
                    <a:pt x="197" y="49"/>
                    <a:pt x="197" y="49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198" y="50"/>
                    <a:pt x="198" y="50"/>
                    <a:pt x="198" y="5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4"/>
                    <a:pt x="200" y="54"/>
                    <a:pt x="200" y="54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8" y="61"/>
                    <a:pt x="198" y="61"/>
                    <a:pt x="198" y="61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8"/>
                    <a:pt x="196" y="68"/>
                    <a:pt x="196" y="68"/>
                  </a:cubicBezTo>
                  <a:cubicBezTo>
                    <a:pt x="196" y="68"/>
                    <a:pt x="196" y="68"/>
                    <a:pt x="196" y="68"/>
                  </a:cubicBezTo>
                  <a:lnTo>
                    <a:pt x="196" y="69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ṧlíḓê">
              <a:extLst>
                <a:ext uri="{FF2B5EF4-FFF2-40B4-BE49-F238E27FC236}">
                  <a16:creationId xmlns:a16="http://schemas.microsoft.com/office/drawing/2014/main" id="{FFB8CEA3-6C91-4671-8857-465E84E2EF57}"/>
                </a:ext>
              </a:extLst>
            </p:cNvPr>
            <p:cNvSpPr/>
            <p:nvPr userDrawn="1"/>
          </p:nvSpPr>
          <p:spPr bwMode="auto">
            <a:xfrm>
              <a:off x="4816081" y="4076932"/>
              <a:ext cx="4728471" cy="131499"/>
            </a:xfrm>
            <a:custGeom>
              <a:avLst/>
              <a:gdLst>
                <a:gd name="T0" fmla="*/ 28 w 2078"/>
                <a:gd name="T1" fmla="*/ 9 h 58"/>
                <a:gd name="T2" fmla="*/ 38 w 2078"/>
                <a:gd name="T3" fmla="*/ 57 h 58"/>
                <a:gd name="T4" fmla="*/ 111 w 2078"/>
                <a:gd name="T5" fmla="*/ 2 h 58"/>
                <a:gd name="T6" fmla="*/ 87 w 2078"/>
                <a:gd name="T7" fmla="*/ 2 h 58"/>
                <a:gd name="T8" fmla="*/ 111 w 2078"/>
                <a:gd name="T9" fmla="*/ 2 h 58"/>
                <a:gd name="T10" fmla="*/ 176 w 2078"/>
                <a:gd name="T11" fmla="*/ 2 h 58"/>
                <a:gd name="T12" fmla="*/ 169 w 2078"/>
                <a:gd name="T13" fmla="*/ 12 h 58"/>
                <a:gd name="T14" fmla="*/ 253 w 2078"/>
                <a:gd name="T15" fmla="*/ 45 h 58"/>
                <a:gd name="T16" fmla="*/ 226 w 2078"/>
                <a:gd name="T17" fmla="*/ 11 h 58"/>
                <a:gd name="T18" fmla="*/ 324 w 2078"/>
                <a:gd name="T19" fmla="*/ 48 h 58"/>
                <a:gd name="T20" fmla="*/ 311 w 2078"/>
                <a:gd name="T21" fmla="*/ 0 h 58"/>
                <a:gd name="T22" fmla="*/ 314 w 2078"/>
                <a:gd name="T23" fmla="*/ 27 h 58"/>
                <a:gd name="T24" fmla="*/ 395 w 2078"/>
                <a:gd name="T25" fmla="*/ 48 h 58"/>
                <a:gd name="T26" fmla="*/ 396 w 2078"/>
                <a:gd name="T27" fmla="*/ 2 h 58"/>
                <a:gd name="T28" fmla="*/ 443 w 2078"/>
                <a:gd name="T29" fmla="*/ 30 h 58"/>
                <a:gd name="T30" fmla="*/ 470 w 2078"/>
                <a:gd name="T31" fmla="*/ 9 h 58"/>
                <a:gd name="T32" fmla="*/ 535 w 2078"/>
                <a:gd name="T33" fmla="*/ 2 h 58"/>
                <a:gd name="T34" fmla="*/ 550 w 2078"/>
                <a:gd name="T35" fmla="*/ 57 h 58"/>
                <a:gd name="T36" fmla="*/ 600 w 2078"/>
                <a:gd name="T37" fmla="*/ 30 h 58"/>
                <a:gd name="T38" fmla="*/ 614 w 2078"/>
                <a:gd name="T39" fmla="*/ 58 h 58"/>
                <a:gd name="T40" fmla="*/ 627 w 2078"/>
                <a:gd name="T41" fmla="*/ 37 h 58"/>
                <a:gd name="T42" fmla="*/ 692 w 2078"/>
                <a:gd name="T43" fmla="*/ 32 h 58"/>
                <a:gd name="T44" fmla="*/ 728 w 2078"/>
                <a:gd name="T45" fmla="*/ 2 h 58"/>
                <a:gd name="T46" fmla="*/ 790 w 2078"/>
                <a:gd name="T47" fmla="*/ 45 h 58"/>
                <a:gd name="T48" fmla="*/ 763 w 2078"/>
                <a:gd name="T49" fmla="*/ 11 h 58"/>
                <a:gd name="T50" fmla="*/ 836 w 2078"/>
                <a:gd name="T51" fmla="*/ 57 h 58"/>
                <a:gd name="T52" fmla="*/ 882 w 2078"/>
                <a:gd name="T53" fmla="*/ 45 h 58"/>
                <a:gd name="T54" fmla="*/ 964 w 2078"/>
                <a:gd name="T55" fmla="*/ 57 h 58"/>
                <a:gd name="T56" fmla="*/ 939 w 2078"/>
                <a:gd name="T57" fmla="*/ 24 h 58"/>
                <a:gd name="T58" fmla="*/ 998 w 2078"/>
                <a:gd name="T59" fmla="*/ 11 h 58"/>
                <a:gd name="T60" fmla="*/ 998 w 2078"/>
                <a:gd name="T61" fmla="*/ 35 h 58"/>
                <a:gd name="T62" fmla="*/ 1027 w 2078"/>
                <a:gd name="T63" fmla="*/ 42 h 58"/>
                <a:gd name="T64" fmla="*/ 987 w 2078"/>
                <a:gd name="T65" fmla="*/ 57 h 58"/>
                <a:gd name="T66" fmla="*/ 1068 w 2078"/>
                <a:gd name="T67" fmla="*/ 34 h 58"/>
                <a:gd name="T68" fmla="*/ 1070 w 2078"/>
                <a:gd name="T69" fmla="*/ 58 h 58"/>
                <a:gd name="T70" fmla="*/ 1080 w 2078"/>
                <a:gd name="T71" fmla="*/ 18 h 58"/>
                <a:gd name="T72" fmla="*/ 1127 w 2078"/>
                <a:gd name="T73" fmla="*/ 2 h 58"/>
                <a:gd name="T74" fmla="*/ 1190 w 2078"/>
                <a:gd name="T75" fmla="*/ 11 h 58"/>
                <a:gd name="T76" fmla="*/ 1236 w 2078"/>
                <a:gd name="T77" fmla="*/ 39 h 58"/>
                <a:gd name="T78" fmla="*/ 1224 w 2078"/>
                <a:gd name="T79" fmla="*/ 39 h 58"/>
                <a:gd name="T80" fmla="*/ 1315 w 2078"/>
                <a:gd name="T81" fmla="*/ 58 h 58"/>
                <a:gd name="T82" fmla="*/ 1375 w 2078"/>
                <a:gd name="T83" fmla="*/ 57 h 58"/>
                <a:gd name="T84" fmla="*/ 1399 w 2078"/>
                <a:gd name="T85" fmla="*/ 11 h 58"/>
                <a:gd name="T86" fmla="*/ 1448 w 2078"/>
                <a:gd name="T87" fmla="*/ 11 h 58"/>
                <a:gd name="T88" fmla="*/ 1431 w 2078"/>
                <a:gd name="T89" fmla="*/ 2 h 58"/>
                <a:gd name="T90" fmla="*/ 1507 w 2078"/>
                <a:gd name="T91" fmla="*/ 33 h 58"/>
                <a:gd name="T92" fmla="*/ 1531 w 2078"/>
                <a:gd name="T93" fmla="*/ 2 h 58"/>
                <a:gd name="T94" fmla="*/ 1576 w 2078"/>
                <a:gd name="T95" fmla="*/ 58 h 58"/>
                <a:gd name="T96" fmla="*/ 1586 w 2078"/>
                <a:gd name="T97" fmla="*/ 20 h 58"/>
                <a:gd name="T98" fmla="*/ 1664 w 2078"/>
                <a:gd name="T99" fmla="*/ 57 h 58"/>
                <a:gd name="T100" fmla="*/ 1620 w 2078"/>
                <a:gd name="T101" fmla="*/ 2 h 58"/>
                <a:gd name="T102" fmla="*/ 1726 w 2078"/>
                <a:gd name="T103" fmla="*/ 45 h 58"/>
                <a:gd name="T104" fmla="*/ 1698 w 2078"/>
                <a:gd name="T105" fmla="*/ 11 h 58"/>
                <a:gd name="T106" fmla="*/ 1784 w 2078"/>
                <a:gd name="T107" fmla="*/ 0 h 58"/>
                <a:gd name="T108" fmla="*/ 1771 w 2078"/>
                <a:gd name="T109" fmla="*/ 30 h 58"/>
                <a:gd name="T110" fmla="*/ 1833 w 2078"/>
                <a:gd name="T111" fmla="*/ 2 h 58"/>
                <a:gd name="T112" fmla="*/ 1886 w 2078"/>
                <a:gd name="T113" fmla="*/ 30 h 58"/>
                <a:gd name="T114" fmla="*/ 1913 w 2078"/>
                <a:gd name="T115" fmla="*/ 9 h 58"/>
                <a:gd name="T116" fmla="*/ 1986 w 2078"/>
                <a:gd name="T117" fmla="*/ 9 h 58"/>
                <a:gd name="T118" fmla="*/ 1997 w 2078"/>
                <a:gd name="T119" fmla="*/ 57 h 58"/>
                <a:gd name="T120" fmla="*/ 2048 w 2078"/>
                <a:gd name="T121" fmla="*/ 57 h 58"/>
                <a:gd name="T122" fmla="*/ 2043 w 2078"/>
                <a:gd name="T123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78" h="58">
                  <a:moveTo>
                    <a:pt x="38" y="37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8" y="48"/>
                  </a:cubicBezTo>
                  <a:cubicBezTo>
                    <a:pt x="34" y="49"/>
                    <a:pt x="30" y="50"/>
                    <a:pt x="28" y="50"/>
                  </a:cubicBezTo>
                  <a:cubicBezTo>
                    <a:pt x="18" y="49"/>
                    <a:pt x="12" y="43"/>
                    <a:pt x="12" y="30"/>
                  </a:cubicBezTo>
                  <a:cubicBezTo>
                    <a:pt x="12" y="16"/>
                    <a:pt x="18" y="9"/>
                    <a:pt x="28" y="9"/>
                  </a:cubicBezTo>
                  <a:cubicBezTo>
                    <a:pt x="35" y="9"/>
                    <a:pt x="38" y="12"/>
                    <a:pt x="38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6"/>
                    <a:pt x="43" y="0"/>
                    <a:pt x="25" y="0"/>
                  </a:cubicBezTo>
                  <a:cubicBezTo>
                    <a:pt x="9" y="2"/>
                    <a:pt x="0" y="11"/>
                    <a:pt x="0" y="30"/>
                  </a:cubicBezTo>
                  <a:cubicBezTo>
                    <a:pt x="0" y="47"/>
                    <a:pt x="9" y="57"/>
                    <a:pt x="25" y="58"/>
                  </a:cubicBezTo>
                  <a:cubicBezTo>
                    <a:pt x="31" y="58"/>
                    <a:pt x="35" y="58"/>
                    <a:pt x="38" y="57"/>
                  </a:cubicBezTo>
                  <a:cubicBezTo>
                    <a:pt x="42" y="57"/>
                    <a:pt x="46" y="57"/>
                    <a:pt x="50" y="5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111" y="2"/>
                  </a:moveTo>
                  <a:cubicBezTo>
                    <a:pt x="111" y="32"/>
                    <a:pt x="111" y="32"/>
                    <a:pt x="111" y="32"/>
                  </a:cubicBezTo>
                  <a:cubicBezTo>
                    <a:pt x="111" y="39"/>
                    <a:pt x="110" y="43"/>
                    <a:pt x="108" y="45"/>
                  </a:cubicBezTo>
                  <a:cubicBezTo>
                    <a:pt x="107" y="48"/>
                    <a:pt x="103" y="50"/>
                    <a:pt x="99" y="50"/>
                  </a:cubicBezTo>
                  <a:cubicBezTo>
                    <a:pt x="94" y="50"/>
                    <a:pt x="91" y="48"/>
                    <a:pt x="89" y="45"/>
                  </a:cubicBezTo>
                  <a:cubicBezTo>
                    <a:pt x="87" y="43"/>
                    <a:pt x="87" y="39"/>
                    <a:pt x="87" y="3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50"/>
                    <a:pt x="83" y="57"/>
                    <a:pt x="99" y="58"/>
                  </a:cubicBezTo>
                  <a:cubicBezTo>
                    <a:pt x="114" y="57"/>
                    <a:pt x="122" y="50"/>
                    <a:pt x="123" y="36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11" y="2"/>
                    <a:pt x="111" y="2"/>
                    <a:pt x="111" y="2"/>
                  </a:cubicBezTo>
                  <a:close/>
                  <a:moveTo>
                    <a:pt x="154" y="57"/>
                  </a:moveTo>
                  <a:cubicBezTo>
                    <a:pt x="158" y="45"/>
                    <a:pt x="158" y="45"/>
                    <a:pt x="158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196" y="57"/>
                    <a:pt x="196" y="57"/>
                    <a:pt x="196" y="57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43" y="57"/>
                    <a:pt x="143" y="57"/>
                    <a:pt x="143" y="57"/>
                  </a:cubicBezTo>
                  <a:cubicBezTo>
                    <a:pt x="154" y="57"/>
                    <a:pt x="154" y="57"/>
                    <a:pt x="154" y="57"/>
                  </a:cubicBezTo>
                  <a:close/>
                  <a:moveTo>
                    <a:pt x="161" y="36"/>
                  </a:moveTo>
                  <a:cubicBezTo>
                    <a:pt x="169" y="12"/>
                    <a:pt x="169" y="12"/>
                    <a:pt x="169" y="12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77" y="36"/>
                    <a:pt x="177" y="36"/>
                    <a:pt x="177" y="36"/>
                  </a:cubicBezTo>
                  <a:cubicBezTo>
                    <a:pt x="161" y="36"/>
                    <a:pt x="161" y="36"/>
                    <a:pt x="161" y="36"/>
                  </a:cubicBezTo>
                  <a:close/>
                  <a:moveTo>
                    <a:pt x="264" y="57"/>
                  </a:moveTo>
                  <a:cubicBezTo>
                    <a:pt x="264" y="2"/>
                    <a:pt x="264" y="2"/>
                    <a:pt x="264" y="2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32" y="2"/>
                    <a:pt x="232" y="2"/>
                    <a:pt x="232" y="2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226" y="57"/>
                    <a:pt x="226" y="57"/>
                    <a:pt x="226" y="57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48" y="57"/>
                    <a:pt x="248" y="57"/>
                    <a:pt x="248" y="57"/>
                  </a:cubicBezTo>
                  <a:cubicBezTo>
                    <a:pt x="264" y="57"/>
                    <a:pt x="264" y="57"/>
                    <a:pt x="264" y="57"/>
                  </a:cubicBezTo>
                  <a:close/>
                  <a:moveTo>
                    <a:pt x="324" y="37"/>
                  </a:moveTo>
                  <a:cubicBezTo>
                    <a:pt x="324" y="48"/>
                    <a:pt x="324" y="48"/>
                    <a:pt x="324" y="48"/>
                  </a:cubicBezTo>
                  <a:cubicBezTo>
                    <a:pt x="324" y="49"/>
                    <a:pt x="323" y="49"/>
                    <a:pt x="324" y="48"/>
                  </a:cubicBezTo>
                  <a:cubicBezTo>
                    <a:pt x="320" y="49"/>
                    <a:pt x="316" y="50"/>
                    <a:pt x="313" y="50"/>
                  </a:cubicBezTo>
                  <a:cubicBezTo>
                    <a:pt x="303" y="49"/>
                    <a:pt x="298" y="43"/>
                    <a:pt x="298" y="30"/>
                  </a:cubicBezTo>
                  <a:cubicBezTo>
                    <a:pt x="298" y="16"/>
                    <a:pt x="303" y="9"/>
                    <a:pt x="313" y="9"/>
                  </a:cubicBezTo>
                  <a:cubicBezTo>
                    <a:pt x="321" y="9"/>
                    <a:pt x="324" y="12"/>
                    <a:pt x="324" y="18"/>
                  </a:cubicBezTo>
                  <a:cubicBezTo>
                    <a:pt x="337" y="18"/>
                    <a:pt x="337" y="18"/>
                    <a:pt x="337" y="18"/>
                  </a:cubicBezTo>
                  <a:cubicBezTo>
                    <a:pt x="337" y="6"/>
                    <a:pt x="328" y="0"/>
                    <a:pt x="311" y="0"/>
                  </a:cubicBezTo>
                  <a:cubicBezTo>
                    <a:pt x="294" y="2"/>
                    <a:pt x="286" y="11"/>
                    <a:pt x="286" y="30"/>
                  </a:cubicBezTo>
                  <a:cubicBezTo>
                    <a:pt x="286" y="47"/>
                    <a:pt x="294" y="57"/>
                    <a:pt x="311" y="58"/>
                  </a:cubicBezTo>
                  <a:cubicBezTo>
                    <a:pt x="316" y="58"/>
                    <a:pt x="320" y="58"/>
                    <a:pt x="324" y="57"/>
                  </a:cubicBezTo>
                  <a:cubicBezTo>
                    <a:pt x="328" y="57"/>
                    <a:pt x="332" y="57"/>
                    <a:pt x="336" y="55"/>
                  </a:cubicBezTo>
                  <a:cubicBezTo>
                    <a:pt x="336" y="27"/>
                    <a:pt x="336" y="27"/>
                    <a:pt x="336" y="27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24" y="37"/>
                    <a:pt x="324" y="37"/>
                    <a:pt x="324" y="37"/>
                  </a:cubicBezTo>
                  <a:close/>
                  <a:moveTo>
                    <a:pt x="388" y="11"/>
                  </a:moveTo>
                  <a:cubicBezTo>
                    <a:pt x="395" y="11"/>
                    <a:pt x="395" y="11"/>
                    <a:pt x="395" y="11"/>
                  </a:cubicBezTo>
                  <a:cubicBezTo>
                    <a:pt x="405" y="11"/>
                    <a:pt x="411" y="17"/>
                    <a:pt x="411" y="30"/>
                  </a:cubicBezTo>
                  <a:cubicBezTo>
                    <a:pt x="411" y="42"/>
                    <a:pt x="405" y="48"/>
                    <a:pt x="395" y="48"/>
                  </a:cubicBezTo>
                  <a:cubicBezTo>
                    <a:pt x="388" y="48"/>
                    <a:pt x="388" y="48"/>
                    <a:pt x="388" y="48"/>
                  </a:cubicBezTo>
                  <a:cubicBezTo>
                    <a:pt x="388" y="11"/>
                    <a:pt x="388" y="11"/>
                    <a:pt x="388" y="11"/>
                  </a:cubicBezTo>
                  <a:close/>
                  <a:moveTo>
                    <a:pt x="377" y="57"/>
                  </a:moveTo>
                  <a:cubicBezTo>
                    <a:pt x="396" y="57"/>
                    <a:pt x="396" y="57"/>
                    <a:pt x="396" y="57"/>
                  </a:cubicBezTo>
                  <a:cubicBezTo>
                    <a:pt x="414" y="57"/>
                    <a:pt x="423" y="48"/>
                    <a:pt x="423" y="30"/>
                  </a:cubicBezTo>
                  <a:cubicBezTo>
                    <a:pt x="423" y="11"/>
                    <a:pt x="414" y="2"/>
                    <a:pt x="396" y="2"/>
                  </a:cubicBezTo>
                  <a:cubicBezTo>
                    <a:pt x="377" y="2"/>
                    <a:pt x="377" y="2"/>
                    <a:pt x="377" y="2"/>
                  </a:cubicBezTo>
                  <a:cubicBezTo>
                    <a:pt x="377" y="57"/>
                    <a:pt x="377" y="57"/>
                    <a:pt x="377" y="57"/>
                  </a:cubicBezTo>
                  <a:close/>
                  <a:moveTo>
                    <a:pt x="470" y="58"/>
                  </a:moveTo>
                  <a:cubicBezTo>
                    <a:pt x="486" y="57"/>
                    <a:pt x="495" y="48"/>
                    <a:pt x="495" y="30"/>
                  </a:cubicBezTo>
                  <a:cubicBezTo>
                    <a:pt x="495" y="11"/>
                    <a:pt x="486" y="1"/>
                    <a:pt x="470" y="0"/>
                  </a:cubicBezTo>
                  <a:cubicBezTo>
                    <a:pt x="453" y="1"/>
                    <a:pt x="444" y="11"/>
                    <a:pt x="443" y="30"/>
                  </a:cubicBezTo>
                  <a:cubicBezTo>
                    <a:pt x="444" y="48"/>
                    <a:pt x="452" y="57"/>
                    <a:pt x="470" y="58"/>
                  </a:cubicBezTo>
                  <a:close/>
                  <a:moveTo>
                    <a:pt x="470" y="9"/>
                  </a:moveTo>
                  <a:cubicBezTo>
                    <a:pt x="479" y="9"/>
                    <a:pt x="483" y="16"/>
                    <a:pt x="483" y="30"/>
                  </a:cubicBezTo>
                  <a:cubicBezTo>
                    <a:pt x="483" y="43"/>
                    <a:pt x="479" y="50"/>
                    <a:pt x="470" y="50"/>
                  </a:cubicBezTo>
                  <a:cubicBezTo>
                    <a:pt x="460" y="50"/>
                    <a:pt x="456" y="43"/>
                    <a:pt x="456" y="30"/>
                  </a:cubicBezTo>
                  <a:cubicBezTo>
                    <a:pt x="456" y="16"/>
                    <a:pt x="460" y="9"/>
                    <a:pt x="470" y="9"/>
                  </a:cubicBezTo>
                  <a:close/>
                  <a:moveTo>
                    <a:pt x="567" y="57"/>
                  </a:moveTo>
                  <a:cubicBezTo>
                    <a:pt x="567" y="2"/>
                    <a:pt x="567" y="2"/>
                    <a:pt x="567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56" y="45"/>
                    <a:pt x="556" y="45"/>
                    <a:pt x="556" y="45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528" y="57"/>
                    <a:pt x="528" y="57"/>
                    <a:pt x="528" y="57"/>
                  </a:cubicBezTo>
                  <a:cubicBezTo>
                    <a:pt x="528" y="11"/>
                    <a:pt x="528" y="11"/>
                    <a:pt x="528" y="11"/>
                  </a:cubicBezTo>
                  <a:cubicBezTo>
                    <a:pt x="529" y="11"/>
                    <a:pt x="529" y="11"/>
                    <a:pt x="529" y="11"/>
                  </a:cubicBezTo>
                  <a:cubicBezTo>
                    <a:pt x="550" y="57"/>
                    <a:pt x="550" y="57"/>
                    <a:pt x="550" y="57"/>
                  </a:cubicBezTo>
                  <a:cubicBezTo>
                    <a:pt x="567" y="57"/>
                    <a:pt x="567" y="57"/>
                    <a:pt x="567" y="57"/>
                  </a:cubicBezTo>
                  <a:close/>
                  <a:moveTo>
                    <a:pt x="627" y="37"/>
                  </a:moveTo>
                  <a:cubicBezTo>
                    <a:pt x="627" y="48"/>
                    <a:pt x="627" y="48"/>
                    <a:pt x="627" y="48"/>
                  </a:cubicBezTo>
                  <a:cubicBezTo>
                    <a:pt x="626" y="49"/>
                    <a:pt x="626" y="49"/>
                    <a:pt x="626" y="48"/>
                  </a:cubicBezTo>
                  <a:cubicBezTo>
                    <a:pt x="622" y="49"/>
                    <a:pt x="619" y="50"/>
                    <a:pt x="616" y="50"/>
                  </a:cubicBezTo>
                  <a:cubicBezTo>
                    <a:pt x="606" y="49"/>
                    <a:pt x="601" y="43"/>
                    <a:pt x="600" y="30"/>
                  </a:cubicBezTo>
                  <a:cubicBezTo>
                    <a:pt x="601" y="16"/>
                    <a:pt x="606" y="9"/>
                    <a:pt x="616" y="9"/>
                  </a:cubicBezTo>
                  <a:cubicBezTo>
                    <a:pt x="623" y="9"/>
                    <a:pt x="627" y="12"/>
                    <a:pt x="627" y="18"/>
                  </a:cubicBezTo>
                  <a:cubicBezTo>
                    <a:pt x="639" y="18"/>
                    <a:pt x="639" y="18"/>
                    <a:pt x="639" y="18"/>
                  </a:cubicBezTo>
                  <a:cubicBezTo>
                    <a:pt x="639" y="6"/>
                    <a:pt x="631" y="0"/>
                    <a:pt x="614" y="0"/>
                  </a:cubicBezTo>
                  <a:cubicBezTo>
                    <a:pt x="597" y="2"/>
                    <a:pt x="588" y="11"/>
                    <a:pt x="588" y="30"/>
                  </a:cubicBezTo>
                  <a:cubicBezTo>
                    <a:pt x="588" y="47"/>
                    <a:pt x="597" y="57"/>
                    <a:pt x="614" y="58"/>
                  </a:cubicBezTo>
                  <a:cubicBezTo>
                    <a:pt x="619" y="58"/>
                    <a:pt x="623" y="58"/>
                    <a:pt x="626" y="57"/>
                  </a:cubicBezTo>
                  <a:cubicBezTo>
                    <a:pt x="630" y="57"/>
                    <a:pt x="634" y="57"/>
                    <a:pt x="638" y="55"/>
                  </a:cubicBezTo>
                  <a:cubicBezTo>
                    <a:pt x="638" y="27"/>
                    <a:pt x="638" y="27"/>
                    <a:pt x="638" y="27"/>
                  </a:cubicBezTo>
                  <a:cubicBezTo>
                    <a:pt x="616" y="27"/>
                    <a:pt x="616" y="27"/>
                    <a:pt x="616" y="27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27" y="37"/>
                    <a:pt x="627" y="37"/>
                    <a:pt x="627" y="37"/>
                  </a:cubicBezTo>
                  <a:close/>
                  <a:moveTo>
                    <a:pt x="716" y="2"/>
                  </a:moveTo>
                  <a:cubicBezTo>
                    <a:pt x="716" y="32"/>
                    <a:pt x="716" y="32"/>
                    <a:pt x="716" y="32"/>
                  </a:cubicBezTo>
                  <a:cubicBezTo>
                    <a:pt x="716" y="39"/>
                    <a:pt x="715" y="43"/>
                    <a:pt x="713" y="45"/>
                  </a:cubicBezTo>
                  <a:cubicBezTo>
                    <a:pt x="712" y="48"/>
                    <a:pt x="708" y="50"/>
                    <a:pt x="704" y="50"/>
                  </a:cubicBezTo>
                  <a:cubicBezTo>
                    <a:pt x="699" y="50"/>
                    <a:pt x="696" y="48"/>
                    <a:pt x="694" y="45"/>
                  </a:cubicBezTo>
                  <a:cubicBezTo>
                    <a:pt x="692" y="43"/>
                    <a:pt x="692" y="39"/>
                    <a:pt x="692" y="32"/>
                  </a:cubicBezTo>
                  <a:cubicBezTo>
                    <a:pt x="692" y="2"/>
                    <a:pt x="692" y="2"/>
                    <a:pt x="692" y="2"/>
                  </a:cubicBezTo>
                  <a:cubicBezTo>
                    <a:pt x="680" y="2"/>
                    <a:pt x="680" y="2"/>
                    <a:pt x="680" y="2"/>
                  </a:cubicBezTo>
                  <a:cubicBezTo>
                    <a:pt x="680" y="36"/>
                    <a:pt x="680" y="36"/>
                    <a:pt x="680" y="36"/>
                  </a:cubicBezTo>
                  <a:cubicBezTo>
                    <a:pt x="680" y="50"/>
                    <a:pt x="688" y="57"/>
                    <a:pt x="704" y="58"/>
                  </a:cubicBezTo>
                  <a:cubicBezTo>
                    <a:pt x="719" y="57"/>
                    <a:pt x="727" y="50"/>
                    <a:pt x="728" y="36"/>
                  </a:cubicBezTo>
                  <a:cubicBezTo>
                    <a:pt x="728" y="2"/>
                    <a:pt x="728" y="2"/>
                    <a:pt x="728" y="2"/>
                  </a:cubicBezTo>
                  <a:cubicBezTo>
                    <a:pt x="716" y="2"/>
                    <a:pt x="716" y="2"/>
                    <a:pt x="716" y="2"/>
                  </a:cubicBezTo>
                  <a:close/>
                  <a:moveTo>
                    <a:pt x="801" y="57"/>
                  </a:moveTo>
                  <a:cubicBezTo>
                    <a:pt x="801" y="2"/>
                    <a:pt x="801" y="2"/>
                    <a:pt x="801" y="2"/>
                  </a:cubicBezTo>
                  <a:cubicBezTo>
                    <a:pt x="790" y="2"/>
                    <a:pt x="790" y="2"/>
                    <a:pt x="790" y="2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90" y="45"/>
                    <a:pt x="790" y="45"/>
                    <a:pt x="790" y="45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52" y="2"/>
                    <a:pt x="752" y="2"/>
                    <a:pt x="752" y="2"/>
                  </a:cubicBezTo>
                  <a:cubicBezTo>
                    <a:pt x="752" y="57"/>
                    <a:pt x="752" y="57"/>
                    <a:pt x="752" y="57"/>
                  </a:cubicBezTo>
                  <a:cubicBezTo>
                    <a:pt x="763" y="57"/>
                    <a:pt x="763" y="57"/>
                    <a:pt x="763" y="57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63" y="11"/>
                    <a:pt x="763" y="11"/>
                    <a:pt x="763" y="11"/>
                  </a:cubicBezTo>
                  <a:cubicBezTo>
                    <a:pt x="784" y="57"/>
                    <a:pt x="784" y="57"/>
                    <a:pt x="784" y="57"/>
                  </a:cubicBezTo>
                  <a:cubicBezTo>
                    <a:pt x="801" y="57"/>
                    <a:pt x="801" y="57"/>
                    <a:pt x="801" y="57"/>
                  </a:cubicBezTo>
                  <a:close/>
                  <a:moveTo>
                    <a:pt x="836" y="2"/>
                  </a:moveTo>
                  <a:cubicBezTo>
                    <a:pt x="824" y="2"/>
                    <a:pt x="824" y="2"/>
                    <a:pt x="824" y="2"/>
                  </a:cubicBezTo>
                  <a:cubicBezTo>
                    <a:pt x="824" y="57"/>
                    <a:pt x="824" y="57"/>
                    <a:pt x="824" y="57"/>
                  </a:cubicBezTo>
                  <a:cubicBezTo>
                    <a:pt x="836" y="57"/>
                    <a:pt x="836" y="57"/>
                    <a:pt x="836" y="57"/>
                  </a:cubicBezTo>
                  <a:cubicBezTo>
                    <a:pt x="836" y="2"/>
                    <a:pt x="836" y="2"/>
                    <a:pt x="836" y="2"/>
                  </a:cubicBezTo>
                  <a:close/>
                  <a:moveTo>
                    <a:pt x="875" y="57"/>
                  </a:moveTo>
                  <a:cubicBezTo>
                    <a:pt x="888" y="57"/>
                    <a:pt x="888" y="57"/>
                    <a:pt x="888" y="57"/>
                  </a:cubicBezTo>
                  <a:cubicBezTo>
                    <a:pt x="908" y="2"/>
                    <a:pt x="908" y="2"/>
                    <a:pt x="908" y="2"/>
                  </a:cubicBezTo>
                  <a:cubicBezTo>
                    <a:pt x="896" y="2"/>
                    <a:pt x="896" y="2"/>
                    <a:pt x="896" y="2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82" y="45"/>
                    <a:pt x="882" y="45"/>
                    <a:pt x="882" y="45"/>
                  </a:cubicBezTo>
                  <a:cubicBezTo>
                    <a:pt x="868" y="2"/>
                    <a:pt x="868" y="2"/>
                    <a:pt x="868" y="2"/>
                  </a:cubicBezTo>
                  <a:cubicBezTo>
                    <a:pt x="855" y="2"/>
                    <a:pt x="855" y="2"/>
                    <a:pt x="855" y="2"/>
                  </a:cubicBezTo>
                  <a:cubicBezTo>
                    <a:pt x="875" y="57"/>
                    <a:pt x="875" y="57"/>
                    <a:pt x="875" y="57"/>
                  </a:cubicBezTo>
                  <a:close/>
                  <a:moveTo>
                    <a:pt x="927" y="57"/>
                  </a:moveTo>
                  <a:cubicBezTo>
                    <a:pt x="964" y="57"/>
                    <a:pt x="964" y="57"/>
                    <a:pt x="964" y="57"/>
                  </a:cubicBezTo>
                  <a:cubicBezTo>
                    <a:pt x="964" y="48"/>
                    <a:pt x="964" y="48"/>
                    <a:pt x="964" y="48"/>
                  </a:cubicBezTo>
                  <a:cubicBezTo>
                    <a:pt x="939" y="48"/>
                    <a:pt x="939" y="48"/>
                    <a:pt x="939" y="48"/>
                  </a:cubicBezTo>
                  <a:cubicBezTo>
                    <a:pt x="939" y="33"/>
                    <a:pt x="939" y="33"/>
                    <a:pt x="939" y="33"/>
                  </a:cubicBezTo>
                  <a:cubicBezTo>
                    <a:pt x="962" y="33"/>
                    <a:pt x="962" y="33"/>
                    <a:pt x="962" y="33"/>
                  </a:cubicBezTo>
                  <a:cubicBezTo>
                    <a:pt x="962" y="24"/>
                    <a:pt x="962" y="24"/>
                    <a:pt x="962" y="24"/>
                  </a:cubicBezTo>
                  <a:cubicBezTo>
                    <a:pt x="939" y="24"/>
                    <a:pt x="939" y="24"/>
                    <a:pt x="939" y="24"/>
                  </a:cubicBezTo>
                  <a:cubicBezTo>
                    <a:pt x="939" y="11"/>
                    <a:pt x="939" y="11"/>
                    <a:pt x="939" y="11"/>
                  </a:cubicBezTo>
                  <a:cubicBezTo>
                    <a:pt x="963" y="11"/>
                    <a:pt x="963" y="11"/>
                    <a:pt x="963" y="11"/>
                  </a:cubicBezTo>
                  <a:cubicBezTo>
                    <a:pt x="963" y="2"/>
                    <a:pt x="963" y="2"/>
                    <a:pt x="963" y="2"/>
                  </a:cubicBezTo>
                  <a:cubicBezTo>
                    <a:pt x="927" y="2"/>
                    <a:pt x="927" y="2"/>
                    <a:pt x="927" y="2"/>
                  </a:cubicBezTo>
                  <a:cubicBezTo>
                    <a:pt x="927" y="57"/>
                    <a:pt x="927" y="57"/>
                    <a:pt x="927" y="57"/>
                  </a:cubicBezTo>
                  <a:close/>
                  <a:moveTo>
                    <a:pt x="998" y="11"/>
                  </a:moveTo>
                  <a:cubicBezTo>
                    <a:pt x="1008" y="11"/>
                    <a:pt x="1008" y="11"/>
                    <a:pt x="1008" y="11"/>
                  </a:cubicBezTo>
                  <a:cubicBezTo>
                    <a:pt x="1014" y="11"/>
                    <a:pt x="1016" y="13"/>
                    <a:pt x="1016" y="18"/>
                  </a:cubicBezTo>
                  <a:cubicBezTo>
                    <a:pt x="1016" y="23"/>
                    <a:pt x="1014" y="26"/>
                    <a:pt x="1008" y="26"/>
                  </a:cubicBezTo>
                  <a:cubicBezTo>
                    <a:pt x="998" y="26"/>
                    <a:pt x="998" y="26"/>
                    <a:pt x="998" y="26"/>
                  </a:cubicBezTo>
                  <a:cubicBezTo>
                    <a:pt x="998" y="11"/>
                    <a:pt x="998" y="11"/>
                    <a:pt x="998" y="11"/>
                  </a:cubicBezTo>
                  <a:close/>
                  <a:moveTo>
                    <a:pt x="998" y="35"/>
                  </a:moveTo>
                  <a:cubicBezTo>
                    <a:pt x="1011" y="35"/>
                    <a:pt x="1011" y="35"/>
                    <a:pt x="1011" y="35"/>
                  </a:cubicBezTo>
                  <a:cubicBezTo>
                    <a:pt x="1014" y="35"/>
                    <a:pt x="1015" y="37"/>
                    <a:pt x="1016" y="42"/>
                  </a:cubicBezTo>
                  <a:cubicBezTo>
                    <a:pt x="1016" y="47"/>
                    <a:pt x="1017" y="52"/>
                    <a:pt x="1018" y="57"/>
                  </a:cubicBezTo>
                  <a:cubicBezTo>
                    <a:pt x="1031" y="57"/>
                    <a:pt x="1031" y="57"/>
                    <a:pt x="1031" y="57"/>
                  </a:cubicBezTo>
                  <a:cubicBezTo>
                    <a:pt x="1029" y="55"/>
                    <a:pt x="1028" y="51"/>
                    <a:pt x="1028" y="44"/>
                  </a:cubicBezTo>
                  <a:cubicBezTo>
                    <a:pt x="1028" y="44"/>
                    <a:pt x="1028" y="43"/>
                    <a:pt x="1027" y="42"/>
                  </a:cubicBezTo>
                  <a:cubicBezTo>
                    <a:pt x="1027" y="34"/>
                    <a:pt x="1024" y="30"/>
                    <a:pt x="1018" y="30"/>
                  </a:cubicBezTo>
                  <a:cubicBezTo>
                    <a:pt x="1018" y="30"/>
                    <a:pt x="1018" y="30"/>
                    <a:pt x="1018" y="30"/>
                  </a:cubicBezTo>
                  <a:cubicBezTo>
                    <a:pt x="1025" y="28"/>
                    <a:pt x="1029" y="23"/>
                    <a:pt x="1029" y="16"/>
                  </a:cubicBezTo>
                  <a:cubicBezTo>
                    <a:pt x="1029" y="7"/>
                    <a:pt x="1022" y="2"/>
                    <a:pt x="1010" y="2"/>
                  </a:cubicBezTo>
                  <a:cubicBezTo>
                    <a:pt x="987" y="2"/>
                    <a:pt x="987" y="2"/>
                    <a:pt x="987" y="2"/>
                  </a:cubicBezTo>
                  <a:cubicBezTo>
                    <a:pt x="987" y="57"/>
                    <a:pt x="987" y="57"/>
                    <a:pt x="987" y="57"/>
                  </a:cubicBezTo>
                  <a:cubicBezTo>
                    <a:pt x="998" y="57"/>
                    <a:pt x="998" y="57"/>
                    <a:pt x="998" y="57"/>
                  </a:cubicBezTo>
                  <a:cubicBezTo>
                    <a:pt x="998" y="35"/>
                    <a:pt x="998" y="35"/>
                    <a:pt x="998" y="35"/>
                  </a:cubicBezTo>
                  <a:close/>
                  <a:moveTo>
                    <a:pt x="1092" y="18"/>
                  </a:moveTo>
                  <a:cubicBezTo>
                    <a:pt x="1091" y="7"/>
                    <a:pt x="1085" y="1"/>
                    <a:pt x="1073" y="0"/>
                  </a:cubicBezTo>
                  <a:cubicBezTo>
                    <a:pt x="1059" y="1"/>
                    <a:pt x="1051" y="7"/>
                    <a:pt x="1050" y="19"/>
                  </a:cubicBezTo>
                  <a:cubicBezTo>
                    <a:pt x="1050" y="26"/>
                    <a:pt x="1056" y="31"/>
                    <a:pt x="1068" y="34"/>
                  </a:cubicBezTo>
                  <a:cubicBezTo>
                    <a:pt x="1069" y="34"/>
                    <a:pt x="1069" y="34"/>
                    <a:pt x="1070" y="35"/>
                  </a:cubicBezTo>
                  <a:cubicBezTo>
                    <a:pt x="1077" y="36"/>
                    <a:pt x="1081" y="39"/>
                    <a:pt x="1081" y="42"/>
                  </a:cubicBezTo>
                  <a:cubicBezTo>
                    <a:pt x="1081" y="47"/>
                    <a:pt x="1077" y="49"/>
                    <a:pt x="1070" y="50"/>
                  </a:cubicBezTo>
                  <a:cubicBezTo>
                    <a:pt x="1064" y="49"/>
                    <a:pt x="1061" y="46"/>
                    <a:pt x="1061" y="39"/>
                  </a:cubicBezTo>
                  <a:cubicBezTo>
                    <a:pt x="1049" y="39"/>
                    <a:pt x="1049" y="39"/>
                    <a:pt x="1049" y="39"/>
                  </a:cubicBezTo>
                  <a:cubicBezTo>
                    <a:pt x="1049" y="52"/>
                    <a:pt x="1056" y="58"/>
                    <a:pt x="1070" y="58"/>
                  </a:cubicBezTo>
                  <a:cubicBezTo>
                    <a:pt x="1085" y="57"/>
                    <a:pt x="1093" y="51"/>
                    <a:pt x="1093" y="40"/>
                  </a:cubicBezTo>
                  <a:cubicBezTo>
                    <a:pt x="1093" y="32"/>
                    <a:pt x="1087" y="27"/>
                    <a:pt x="1074" y="24"/>
                  </a:cubicBezTo>
                  <a:cubicBezTo>
                    <a:pt x="1073" y="24"/>
                    <a:pt x="1073" y="24"/>
                    <a:pt x="1073" y="24"/>
                  </a:cubicBezTo>
                  <a:cubicBezTo>
                    <a:pt x="1066" y="23"/>
                    <a:pt x="1062" y="21"/>
                    <a:pt x="1063" y="16"/>
                  </a:cubicBezTo>
                  <a:cubicBezTo>
                    <a:pt x="1063" y="12"/>
                    <a:pt x="1066" y="10"/>
                    <a:pt x="1072" y="9"/>
                  </a:cubicBezTo>
                  <a:cubicBezTo>
                    <a:pt x="1077" y="9"/>
                    <a:pt x="1080" y="12"/>
                    <a:pt x="1080" y="18"/>
                  </a:cubicBezTo>
                  <a:cubicBezTo>
                    <a:pt x="1092" y="18"/>
                    <a:pt x="1092" y="18"/>
                    <a:pt x="1092" y="18"/>
                  </a:cubicBezTo>
                  <a:close/>
                  <a:moveTo>
                    <a:pt x="1127" y="2"/>
                  </a:moveTo>
                  <a:cubicBezTo>
                    <a:pt x="1115" y="2"/>
                    <a:pt x="1115" y="2"/>
                    <a:pt x="1115" y="2"/>
                  </a:cubicBezTo>
                  <a:cubicBezTo>
                    <a:pt x="1115" y="57"/>
                    <a:pt x="1115" y="57"/>
                    <a:pt x="1115" y="57"/>
                  </a:cubicBezTo>
                  <a:cubicBezTo>
                    <a:pt x="1127" y="57"/>
                    <a:pt x="1127" y="57"/>
                    <a:pt x="1127" y="57"/>
                  </a:cubicBezTo>
                  <a:cubicBezTo>
                    <a:pt x="1127" y="2"/>
                    <a:pt x="1127" y="2"/>
                    <a:pt x="1127" y="2"/>
                  </a:cubicBezTo>
                  <a:close/>
                  <a:moveTo>
                    <a:pt x="1146" y="11"/>
                  </a:moveTo>
                  <a:cubicBezTo>
                    <a:pt x="1162" y="11"/>
                    <a:pt x="1162" y="11"/>
                    <a:pt x="1162" y="11"/>
                  </a:cubicBezTo>
                  <a:cubicBezTo>
                    <a:pt x="1162" y="57"/>
                    <a:pt x="1162" y="57"/>
                    <a:pt x="1162" y="57"/>
                  </a:cubicBezTo>
                  <a:cubicBezTo>
                    <a:pt x="1174" y="57"/>
                    <a:pt x="1174" y="57"/>
                    <a:pt x="1174" y="57"/>
                  </a:cubicBezTo>
                  <a:cubicBezTo>
                    <a:pt x="1174" y="11"/>
                    <a:pt x="1174" y="11"/>
                    <a:pt x="1174" y="11"/>
                  </a:cubicBezTo>
                  <a:cubicBezTo>
                    <a:pt x="1190" y="11"/>
                    <a:pt x="1190" y="11"/>
                    <a:pt x="1190" y="11"/>
                  </a:cubicBezTo>
                  <a:cubicBezTo>
                    <a:pt x="1190" y="2"/>
                    <a:pt x="1190" y="2"/>
                    <a:pt x="1190" y="2"/>
                  </a:cubicBezTo>
                  <a:cubicBezTo>
                    <a:pt x="1146" y="2"/>
                    <a:pt x="1146" y="2"/>
                    <a:pt x="1146" y="2"/>
                  </a:cubicBezTo>
                  <a:cubicBezTo>
                    <a:pt x="1146" y="11"/>
                    <a:pt x="1146" y="11"/>
                    <a:pt x="1146" y="11"/>
                  </a:cubicBezTo>
                  <a:close/>
                  <a:moveTo>
                    <a:pt x="1224" y="57"/>
                  </a:moveTo>
                  <a:cubicBezTo>
                    <a:pt x="1236" y="57"/>
                    <a:pt x="1236" y="57"/>
                    <a:pt x="1236" y="57"/>
                  </a:cubicBezTo>
                  <a:cubicBezTo>
                    <a:pt x="1236" y="39"/>
                    <a:pt x="1236" y="39"/>
                    <a:pt x="1236" y="39"/>
                  </a:cubicBezTo>
                  <a:cubicBezTo>
                    <a:pt x="1254" y="2"/>
                    <a:pt x="1254" y="2"/>
                    <a:pt x="1254" y="2"/>
                  </a:cubicBezTo>
                  <a:cubicBezTo>
                    <a:pt x="1242" y="2"/>
                    <a:pt x="1242" y="2"/>
                    <a:pt x="1242" y="2"/>
                  </a:cubicBezTo>
                  <a:cubicBezTo>
                    <a:pt x="1231" y="27"/>
                    <a:pt x="1231" y="27"/>
                    <a:pt x="1231" y="27"/>
                  </a:cubicBezTo>
                  <a:cubicBezTo>
                    <a:pt x="1220" y="2"/>
                    <a:pt x="1220" y="2"/>
                    <a:pt x="1220" y="2"/>
                  </a:cubicBezTo>
                  <a:cubicBezTo>
                    <a:pt x="1206" y="2"/>
                    <a:pt x="1206" y="2"/>
                    <a:pt x="1206" y="2"/>
                  </a:cubicBezTo>
                  <a:cubicBezTo>
                    <a:pt x="1224" y="39"/>
                    <a:pt x="1224" y="39"/>
                    <a:pt x="1224" y="39"/>
                  </a:cubicBezTo>
                  <a:cubicBezTo>
                    <a:pt x="1224" y="57"/>
                    <a:pt x="1224" y="57"/>
                    <a:pt x="1224" y="57"/>
                  </a:cubicBezTo>
                  <a:close/>
                  <a:moveTo>
                    <a:pt x="1315" y="58"/>
                  </a:moveTo>
                  <a:cubicBezTo>
                    <a:pt x="1332" y="57"/>
                    <a:pt x="1340" y="48"/>
                    <a:pt x="1341" y="30"/>
                  </a:cubicBezTo>
                  <a:cubicBezTo>
                    <a:pt x="1340" y="11"/>
                    <a:pt x="1332" y="1"/>
                    <a:pt x="1315" y="0"/>
                  </a:cubicBezTo>
                  <a:cubicBezTo>
                    <a:pt x="1298" y="1"/>
                    <a:pt x="1289" y="11"/>
                    <a:pt x="1289" y="30"/>
                  </a:cubicBezTo>
                  <a:cubicBezTo>
                    <a:pt x="1289" y="48"/>
                    <a:pt x="1298" y="57"/>
                    <a:pt x="1315" y="58"/>
                  </a:cubicBezTo>
                  <a:close/>
                  <a:moveTo>
                    <a:pt x="1315" y="9"/>
                  </a:moveTo>
                  <a:cubicBezTo>
                    <a:pt x="1324" y="9"/>
                    <a:pt x="1329" y="16"/>
                    <a:pt x="1329" y="30"/>
                  </a:cubicBezTo>
                  <a:cubicBezTo>
                    <a:pt x="1329" y="43"/>
                    <a:pt x="1324" y="50"/>
                    <a:pt x="1315" y="50"/>
                  </a:cubicBezTo>
                  <a:cubicBezTo>
                    <a:pt x="1306" y="50"/>
                    <a:pt x="1301" y="43"/>
                    <a:pt x="1301" y="30"/>
                  </a:cubicBezTo>
                  <a:cubicBezTo>
                    <a:pt x="1301" y="16"/>
                    <a:pt x="1306" y="9"/>
                    <a:pt x="1315" y="9"/>
                  </a:cubicBezTo>
                  <a:close/>
                  <a:moveTo>
                    <a:pt x="1375" y="57"/>
                  </a:moveTo>
                  <a:cubicBezTo>
                    <a:pt x="1375" y="33"/>
                    <a:pt x="1375" y="33"/>
                    <a:pt x="1375" y="33"/>
                  </a:cubicBezTo>
                  <a:cubicBezTo>
                    <a:pt x="1397" y="33"/>
                    <a:pt x="1397" y="33"/>
                    <a:pt x="1397" y="33"/>
                  </a:cubicBezTo>
                  <a:cubicBezTo>
                    <a:pt x="1397" y="24"/>
                    <a:pt x="1397" y="24"/>
                    <a:pt x="1397" y="24"/>
                  </a:cubicBezTo>
                  <a:cubicBezTo>
                    <a:pt x="1375" y="24"/>
                    <a:pt x="1375" y="24"/>
                    <a:pt x="1375" y="24"/>
                  </a:cubicBezTo>
                  <a:cubicBezTo>
                    <a:pt x="1375" y="11"/>
                    <a:pt x="1375" y="11"/>
                    <a:pt x="1375" y="11"/>
                  </a:cubicBezTo>
                  <a:cubicBezTo>
                    <a:pt x="1399" y="11"/>
                    <a:pt x="1399" y="11"/>
                    <a:pt x="1399" y="11"/>
                  </a:cubicBezTo>
                  <a:cubicBezTo>
                    <a:pt x="1399" y="2"/>
                    <a:pt x="1399" y="2"/>
                    <a:pt x="1399" y="2"/>
                  </a:cubicBezTo>
                  <a:cubicBezTo>
                    <a:pt x="1363" y="2"/>
                    <a:pt x="1363" y="2"/>
                    <a:pt x="1363" y="2"/>
                  </a:cubicBezTo>
                  <a:cubicBezTo>
                    <a:pt x="1363" y="57"/>
                    <a:pt x="1363" y="57"/>
                    <a:pt x="1363" y="57"/>
                  </a:cubicBezTo>
                  <a:cubicBezTo>
                    <a:pt x="1375" y="57"/>
                    <a:pt x="1375" y="57"/>
                    <a:pt x="1375" y="57"/>
                  </a:cubicBezTo>
                  <a:close/>
                  <a:moveTo>
                    <a:pt x="1431" y="11"/>
                  </a:moveTo>
                  <a:cubicBezTo>
                    <a:pt x="1448" y="11"/>
                    <a:pt x="1448" y="11"/>
                    <a:pt x="1448" y="11"/>
                  </a:cubicBezTo>
                  <a:cubicBezTo>
                    <a:pt x="1448" y="57"/>
                    <a:pt x="1448" y="57"/>
                    <a:pt x="1448" y="57"/>
                  </a:cubicBezTo>
                  <a:cubicBezTo>
                    <a:pt x="1459" y="57"/>
                    <a:pt x="1459" y="57"/>
                    <a:pt x="1459" y="57"/>
                  </a:cubicBezTo>
                  <a:cubicBezTo>
                    <a:pt x="1459" y="11"/>
                    <a:pt x="1459" y="11"/>
                    <a:pt x="1459" y="11"/>
                  </a:cubicBezTo>
                  <a:cubicBezTo>
                    <a:pt x="1476" y="11"/>
                    <a:pt x="1476" y="11"/>
                    <a:pt x="1476" y="11"/>
                  </a:cubicBezTo>
                  <a:cubicBezTo>
                    <a:pt x="1476" y="2"/>
                    <a:pt x="1476" y="2"/>
                    <a:pt x="1476" y="2"/>
                  </a:cubicBezTo>
                  <a:cubicBezTo>
                    <a:pt x="1431" y="2"/>
                    <a:pt x="1431" y="2"/>
                    <a:pt x="1431" y="2"/>
                  </a:cubicBezTo>
                  <a:cubicBezTo>
                    <a:pt x="1431" y="11"/>
                    <a:pt x="1431" y="11"/>
                    <a:pt x="1431" y="11"/>
                  </a:cubicBezTo>
                  <a:close/>
                  <a:moveTo>
                    <a:pt x="1495" y="57"/>
                  </a:moveTo>
                  <a:cubicBezTo>
                    <a:pt x="1532" y="57"/>
                    <a:pt x="1532" y="57"/>
                    <a:pt x="1532" y="57"/>
                  </a:cubicBezTo>
                  <a:cubicBezTo>
                    <a:pt x="1532" y="48"/>
                    <a:pt x="1532" y="48"/>
                    <a:pt x="1532" y="48"/>
                  </a:cubicBezTo>
                  <a:cubicBezTo>
                    <a:pt x="1507" y="48"/>
                    <a:pt x="1507" y="48"/>
                    <a:pt x="1507" y="48"/>
                  </a:cubicBezTo>
                  <a:cubicBezTo>
                    <a:pt x="1507" y="33"/>
                    <a:pt x="1507" y="33"/>
                    <a:pt x="1507" y="33"/>
                  </a:cubicBezTo>
                  <a:cubicBezTo>
                    <a:pt x="1530" y="33"/>
                    <a:pt x="1530" y="33"/>
                    <a:pt x="1530" y="33"/>
                  </a:cubicBezTo>
                  <a:cubicBezTo>
                    <a:pt x="1530" y="24"/>
                    <a:pt x="1530" y="24"/>
                    <a:pt x="1530" y="24"/>
                  </a:cubicBezTo>
                  <a:cubicBezTo>
                    <a:pt x="1507" y="24"/>
                    <a:pt x="1507" y="24"/>
                    <a:pt x="1507" y="24"/>
                  </a:cubicBezTo>
                  <a:cubicBezTo>
                    <a:pt x="1507" y="11"/>
                    <a:pt x="1507" y="11"/>
                    <a:pt x="1507" y="11"/>
                  </a:cubicBezTo>
                  <a:cubicBezTo>
                    <a:pt x="1531" y="11"/>
                    <a:pt x="1531" y="11"/>
                    <a:pt x="1531" y="11"/>
                  </a:cubicBezTo>
                  <a:cubicBezTo>
                    <a:pt x="1531" y="2"/>
                    <a:pt x="1531" y="2"/>
                    <a:pt x="1531" y="2"/>
                  </a:cubicBezTo>
                  <a:cubicBezTo>
                    <a:pt x="1495" y="2"/>
                    <a:pt x="1495" y="2"/>
                    <a:pt x="1495" y="2"/>
                  </a:cubicBezTo>
                  <a:cubicBezTo>
                    <a:pt x="1495" y="57"/>
                    <a:pt x="1495" y="57"/>
                    <a:pt x="1495" y="57"/>
                  </a:cubicBezTo>
                  <a:close/>
                  <a:moveTo>
                    <a:pt x="1599" y="20"/>
                  </a:moveTo>
                  <a:cubicBezTo>
                    <a:pt x="1598" y="7"/>
                    <a:pt x="1590" y="1"/>
                    <a:pt x="1576" y="0"/>
                  </a:cubicBezTo>
                  <a:cubicBezTo>
                    <a:pt x="1561" y="1"/>
                    <a:pt x="1553" y="11"/>
                    <a:pt x="1553" y="30"/>
                  </a:cubicBezTo>
                  <a:cubicBezTo>
                    <a:pt x="1553" y="48"/>
                    <a:pt x="1561" y="57"/>
                    <a:pt x="1576" y="58"/>
                  </a:cubicBezTo>
                  <a:cubicBezTo>
                    <a:pt x="1590" y="58"/>
                    <a:pt x="1598" y="51"/>
                    <a:pt x="1599" y="39"/>
                  </a:cubicBezTo>
                  <a:cubicBezTo>
                    <a:pt x="1586" y="39"/>
                    <a:pt x="1586" y="39"/>
                    <a:pt x="1586" y="39"/>
                  </a:cubicBezTo>
                  <a:cubicBezTo>
                    <a:pt x="1586" y="46"/>
                    <a:pt x="1583" y="49"/>
                    <a:pt x="1576" y="50"/>
                  </a:cubicBezTo>
                  <a:cubicBezTo>
                    <a:pt x="1569" y="49"/>
                    <a:pt x="1566" y="43"/>
                    <a:pt x="1565" y="30"/>
                  </a:cubicBezTo>
                  <a:cubicBezTo>
                    <a:pt x="1566" y="16"/>
                    <a:pt x="1569" y="10"/>
                    <a:pt x="1576" y="9"/>
                  </a:cubicBezTo>
                  <a:cubicBezTo>
                    <a:pt x="1582" y="9"/>
                    <a:pt x="1586" y="13"/>
                    <a:pt x="1586" y="20"/>
                  </a:cubicBezTo>
                  <a:cubicBezTo>
                    <a:pt x="1599" y="20"/>
                    <a:pt x="1599" y="20"/>
                    <a:pt x="1599" y="20"/>
                  </a:cubicBezTo>
                  <a:close/>
                  <a:moveTo>
                    <a:pt x="1631" y="57"/>
                  </a:moveTo>
                  <a:cubicBezTo>
                    <a:pt x="1631" y="33"/>
                    <a:pt x="1631" y="33"/>
                    <a:pt x="1631" y="33"/>
                  </a:cubicBezTo>
                  <a:cubicBezTo>
                    <a:pt x="1652" y="33"/>
                    <a:pt x="1652" y="33"/>
                    <a:pt x="1652" y="33"/>
                  </a:cubicBezTo>
                  <a:cubicBezTo>
                    <a:pt x="1652" y="57"/>
                    <a:pt x="1652" y="57"/>
                    <a:pt x="1652" y="57"/>
                  </a:cubicBezTo>
                  <a:cubicBezTo>
                    <a:pt x="1664" y="57"/>
                    <a:pt x="1664" y="57"/>
                    <a:pt x="1664" y="57"/>
                  </a:cubicBezTo>
                  <a:cubicBezTo>
                    <a:pt x="1664" y="2"/>
                    <a:pt x="1664" y="2"/>
                    <a:pt x="1664" y="2"/>
                  </a:cubicBezTo>
                  <a:cubicBezTo>
                    <a:pt x="1652" y="2"/>
                    <a:pt x="1652" y="2"/>
                    <a:pt x="1652" y="2"/>
                  </a:cubicBezTo>
                  <a:cubicBezTo>
                    <a:pt x="1652" y="24"/>
                    <a:pt x="1652" y="24"/>
                    <a:pt x="1652" y="24"/>
                  </a:cubicBezTo>
                  <a:cubicBezTo>
                    <a:pt x="1631" y="24"/>
                    <a:pt x="1631" y="24"/>
                    <a:pt x="1631" y="24"/>
                  </a:cubicBezTo>
                  <a:cubicBezTo>
                    <a:pt x="1631" y="2"/>
                    <a:pt x="1631" y="2"/>
                    <a:pt x="1631" y="2"/>
                  </a:cubicBezTo>
                  <a:cubicBezTo>
                    <a:pt x="1620" y="2"/>
                    <a:pt x="1620" y="2"/>
                    <a:pt x="1620" y="2"/>
                  </a:cubicBezTo>
                  <a:cubicBezTo>
                    <a:pt x="1620" y="57"/>
                    <a:pt x="1620" y="57"/>
                    <a:pt x="1620" y="57"/>
                  </a:cubicBezTo>
                  <a:cubicBezTo>
                    <a:pt x="1631" y="57"/>
                    <a:pt x="1631" y="57"/>
                    <a:pt x="1631" y="57"/>
                  </a:cubicBezTo>
                  <a:close/>
                  <a:moveTo>
                    <a:pt x="1737" y="57"/>
                  </a:moveTo>
                  <a:cubicBezTo>
                    <a:pt x="1737" y="2"/>
                    <a:pt x="1737" y="2"/>
                    <a:pt x="1737" y="2"/>
                  </a:cubicBezTo>
                  <a:cubicBezTo>
                    <a:pt x="1726" y="2"/>
                    <a:pt x="1726" y="2"/>
                    <a:pt x="1726" y="2"/>
                  </a:cubicBezTo>
                  <a:cubicBezTo>
                    <a:pt x="1726" y="45"/>
                    <a:pt x="1726" y="45"/>
                    <a:pt x="1726" y="45"/>
                  </a:cubicBezTo>
                  <a:cubicBezTo>
                    <a:pt x="1725" y="45"/>
                    <a:pt x="1725" y="45"/>
                    <a:pt x="1725" y="45"/>
                  </a:cubicBezTo>
                  <a:cubicBezTo>
                    <a:pt x="1705" y="2"/>
                    <a:pt x="1705" y="2"/>
                    <a:pt x="1705" y="2"/>
                  </a:cubicBezTo>
                  <a:cubicBezTo>
                    <a:pt x="1687" y="2"/>
                    <a:pt x="1687" y="2"/>
                    <a:pt x="1687" y="2"/>
                  </a:cubicBezTo>
                  <a:cubicBezTo>
                    <a:pt x="1687" y="57"/>
                    <a:pt x="1687" y="57"/>
                    <a:pt x="1687" y="57"/>
                  </a:cubicBezTo>
                  <a:cubicBezTo>
                    <a:pt x="1698" y="57"/>
                    <a:pt x="1698" y="57"/>
                    <a:pt x="1698" y="57"/>
                  </a:cubicBezTo>
                  <a:cubicBezTo>
                    <a:pt x="1698" y="11"/>
                    <a:pt x="1698" y="11"/>
                    <a:pt x="1698" y="11"/>
                  </a:cubicBezTo>
                  <a:cubicBezTo>
                    <a:pt x="1699" y="11"/>
                    <a:pt x="1699" y="11"/>
                    <a:pt x="1699" y="11"/>
                  </a:cubicBezTo>
                  <a:cubicBezTo>
                    <a:pt x="1720" y="57"/>
                    <a:pt x="1720" y="57"/>
                    <a:pt x="1720" y="57"/>
                  </a:cubicBezTo>
                  <a:cubicBezTo>
                    <a:pt x="1737" y="57"/>
                    <a:pt x="1737" y="57"/>
                    <a:pt x="1737" y="57"/>
                  </a:cubicBezTo>
                  <a:close/>
                  <a:moveTo>
                    <a:pt x="1784" y="58"/>
                  </a:moveTo>
                  <a:cubicBezTo>
                    <a:pt x="1801" y="57"/>
                    <a:pt x="1810" y="48"/>
                    <a:pt x="1810" y="30"/>
                  </a:cubicBezTo>
                  <a:cubicBezTo>
                    <a:pt x="1810" y="11"/>
                    <a:pt x="1801" y="1"/>
                    <a:pt x="1784" y="0"/>
                  </a:cubicBezTo>
                  <a:cubicBezTo>
                    <a:pt x="1767" y="1"/>
                    <a:pt x="1759" y="11"/>
                    <a:pt x="1758" y="30"/>
                  </a:cubicBezTo>
                  <a:cubicBezTo>
                    <a:pt x="1759" y="48"/>
                    <a:pt x="1767" y="57"/>
                    <a:pt x="1784" y="58"/>
                  </a:cubicBezTo>
                  <a:close/>
                  <a:moveTo>
                    <a:pt x="1784" y="9"/>
                  </a:moveTo>
                  <a:cubicBezTo>
                    <a:pt x="1793" y="9"/>
                    <a:pt x="1798" y="16"/>
                    <a:pt x="1798" y="30"/>
                  </a:cubicBezTo>
                  <a:cubicBezTo>
                    <a:pt x="1798" y="43"/>
                    <a:pt x="1793" y="50"/>
                    <a:pt x="1784" y="50"/>
                  </a:cubicBezTo>
                  <a:cubicBezTo>
                    <a:pt x="1775" y="50"/>
                    <a:pt x="1771" y="43"/>
                    <a:pt x="1771" y="30"/>
                  </a:cubicBezTo>
                  <a:cubicBezTo>
                    <a:pt x="1771" y="16"/>
                    <a:pt x="1775" y="9"/>
                    <a:pt x="1784" y="9"/>
                  </a:cubicBezTo>
                  <a:close/>
                  <a:moveTo>
                    <a:pt x="1868" y="57"/>
                  </a:moveTo>
                  <a:cubicBezTo>
                    <a:pt x="1868" y="48"/>
                    <a:pt x="1868" y="48"/>
                    <a:pt x="1868" y="48"/>
                  </a:cubicBezTo>
                  <a:cubicBezTo>
                    <a:pt x="1844" y="48"/>
                    <a:pt x="1844" y="48"/>
                    <a:pt x="1844" y="48"/>
                  </a:cubicBezTo>
                  <a:cubicBezTo>
                    <a:pt x="1844" y="2"/>
                    <a:pt x="1844" y="2"/>
                    <a:pt x="1844" y="2"/>
                  </a:cubicBezTo>
                  <a:cubicBezTo>
                    <a:pt x="1833" y="2"/>
                    <a:pt x="1833" y="2"/>
                    <a:pt x="1833" y="2"/>
                  </a:cubicBezTo>
                  <a:cubicBezTo>
                    <a:pt x="1833" y="57"/>
                    <a:pt x="1833" y="57"/>
                    <a:pt x="1833" y="57"/>
                  </a:cubicBezTo>
                  <a:cubicBezTo>
                    <a:pt x="1868" y="57"/>
                    <a:pt x="1868" y="57"/>
                    <a:pt x="1868" y="57"/>
                  </a:cubicBezTo>
                  <a:close/>
                  <a:moveTo>
                    <a:pt x="1913" y="58"/>
                  </a:moveTo>
                  <a:cubicBezTo>
                    <a:pt x="1929" y="57"/>
                    <a:pt x="1938" y="48"/>
                    <a:pt x="1939" y="30"/>
                  </a:cubicBezTo>
                  <a:cubicBezTo>
                    <a:pt x="1938" y="11"/>
                    <a:pt x="1929" y="1"/>
                    <a:pt x="1913" y="0"/>
                  </a:cubicBezTo>
                  <a:cubicBezTo>
                    <a:pt x="1896" y="1"/>
                    <a:pt x="1887" y="11"/>
                    <a:pt x="1886" y="30"/>
                  </a:cubicBezTo>
                  <a:cubicBezTo>
                    <a:pt x="1887" y="48"/>
                    <a:pt x="1896" y="57"/>
                    <a:pt x="1913" y="58"/>
                  </a:cubicBezTo>
                  <a:close/>
                  <a:moveTo>
                    <a:pt x="1913" y="9"/>
                  </a:moveTo>
                  <a:cubicBezTo>
                    <a:pt x="1922" y="9"/>
                    <a:pt x="1926" y="16"/>
                    <a:pt x="1926" y="30"/>
                  </a:cubicBezTo>
                  <a:cubicBezTo>
                    <a:pt x="1926" y="43"/>
                    <a:pt x="1922" y="50"/>
                    <a:pt x="1913" y="50"/>
                  </a:cubicBezTo>
                  <a:cubicBezTo>
                    <a:pt x="1903" y="50"/>
                    <a:pt x="1899" y="43"/>
                    <a:pt x="1899" y="30"/>
                  </a:cubicBezTo>
                  <a:cubicBezTo>
                    <a:pt x="1899" y="16"/>
                    <a:pt x="1903" y="9"/>
                    <a:pt x="1913" y="9"/>
                  </a:cubicBezTo>
                  <a:close/>
                  <a:moveTo>
                    <a:pt x="1997" y="37"/>
                  </a:moveTo>
                  <a:cubicBezTo>
                    <a:pt x="1997" y="48"/>
                    <a:pt x="1997" y="48"/>
                    <a:pt x="1997" y="48"/>
                  </a:cubicBezTo>
                  <a:cubicBezTo>
                    <a:pt x="1997" y="49"/>
                    <a:pt x="1997" y="49"/>
                    <a:pt x="1997" y="48"/>
                  </a:cubicBezTo>
                  <a:cubicBezTo>
                    <a:pt x="1993" y="49"/>
                    <a:pt x="1989" y="50"/>
                    <a:pt x="1986" y="50"/>
                  </a:cubicBezTo>
                  <a:cubicBezTo>
                    <a:pt x="1976" y="49"/>
                    <a:pt x="1971" y="43"/>
                    <a:pt x="1971" y="30"/>
                  </a:cubicBezTo>
                  <a:cubicBezTo>
                    <a:pt x="1971" y="16"/>
                    <a:pt x="1976" y="9"/>
                    <a:pt x="1986" y="9"/>
                  </a:cubicBezTo>
                  <a:cubicBezTo>
                    <a:pt x="1994" y="9"/>
                    <a:pt x="1997" y="12"/>
                    <a:pt x="1997" y="18"/>
                  </a:cubicBezTo>
                  <a:cubicBezTo>
                    <a:pt x="2010" y="18"/>
                    <a:pt x="2010" y="18"/>
                    <a:pt x="2010" y="18"/>
                  </a:cubicBezTo>
                  <a:cubicBezTo>
                    <a:pt x="2010" y="6"/>
                    <a:pt x="2001" y="0"/>
                    <a:pt x="1984" y="0"/>
                  </a:cubicBezTo>
                  <a:cubicBezTo>
                    <a:pt x="1968" y="2"/>
                    <a:pt x="1959" y="11"/>
                    <a:pt x="1959" y="30"/>
                  </a:cubicBezTo>
                  <a:cubicBezTo>
                    <a:pt x="1959" y="47"/>
                    <a:pt x="1968" y="57"/>
                    <a:pt x="1984" y="58"/>
                  </a:cubicBezTo>
                  <a:cubicBezTo>
                    <a:pt x="1989" y="58"/>
                    <a:pt x="1994" y="58"/>
                    <a:pt x="1997" y="57"/>
                  </a:cubicBezTo>
                  <a:cubicBezTo>
                    <a:pt x="2001" y="57"/>
                    <a:pt x="2005" y="57"/>
                    <a:pt x="2009" y="55"/>
                  </a:cubicBezTo>
                  <a:cubicBezTo>
                    <a:pt x="2009" y="27"/>
                    <a:pt x="2009" y="27"/>
                    <a:pt x="2009" y="27"/>
                  </a:cubicBezTo>
                  <a:cubicBezTo>
                    <a:pt x="1987" y="27"/>
                    <a:pt x="1987" y="27"/>
                    <a:pt x="1987" y="27"/>
                  </a:cubicBezTo>
                  <a:cubicBezTo>
                    <a:pt x="1987" y="37"/>
                    <a:pt x="1987" y="37"/>
                    <a:pt x="1987" y="37"/>
                  </a:cubicBezTo>
                  <a:cubicBezTo>
                    <a:pt x="1997" y="37"/>
                    <a:pt x="1997" y="37"/>
                    <a:pt x="1997" y="37"/>
                  </a:cubicBezTo>
                  <a:close/>
                  <a:moveTo>
                    <a:pt x="2048" y="57"/>
                  </a:moveTo>
                  <a:cubicBezTo>
                    <a:pt x="2059" y="57"/>
                    <a:pt x="2059" y="57"/>
                    <a:pt x="2059" y="57"/>
                  </a:cubicBezTo>
                  <a:cubicBezTo>
                    <a:pt x="2059" y="39"/>
                    <a:pt x="2059" y="39"/>
                    <a:pt x="2059" y="39"/>
                  </a:cubicBezTo>
                  <a:cubicBezTo>
                    <a:pt x="2078" y="2"/>
                    <a:pt x="2078" y="2"/>
                    <a:pt x="2078" y="2"/>
                  </a:cubicBezTo>
                  <a:cubicBezTo>
                    <a:pt x="2066" y="2"/>
                    <a:pt x="2066" y="2"/>
                    <a:pt x="2066" y="2"/>
                  </a:cubicBezTo>
                  <a:cubicBezTo>
                    <a:pt x="2054" y="27"/>
                    <a:pt x="2054" y="27"/>
                    <a:pt x="2054" y="27"/>
                  </a:cubicBezTo>
                  <a:cubicBezTo>
                    <a:pt x="2043" y="2"/>
                    <a:pt x="2043" y="2"/>
                    <a:pt x="2043" y="2"/>
                  </a:cubicBezTo>
                  <a:cubicBezTo>
                    <a:pt x="2029" y="2"/>
                    <a:pt x="2029" y="2"/>
                    <a:pt x="2029" y="2"/>
                  </a:cubicBezTo>
                  <a:cubicBezTo>
                    <a:pt x="2048" y="39"/>
                    <a:pt x="2048" y="39"/>
                    <a:pt x="2048" y="39"/>
                  </a:cubicBezTo>
                  <a:lnTo>
                    <a:pt x="2048" y="5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ṩḻïḓé">
              <a:extLst>
                <a:ext uri="{FF2B5EF4-FFF2-40B4-BE49-F238E27FC236}">
                  <a16:creationId xmlns:a16="http://schemas.microsoft.com/office/drawing/2014/main" id="{E1E78D18-9431-4B13-8B4A-74E06224237C}"/>
                </a:ext>
              </a:extLst>
            </p:cNvPr>
            <p:cNvSpPr/>
            <p:nvPr userDrawn="1"/>
          </p:nvSpPr>
          <p:spPr bwMode="auto">
            <a:xfrm>
              <a:off x="2647449" y="2492374"/>
              <a:ext cx="1838789" cy="1871663"/>
            </a:xfrm>
            <a:custGeom>
              <a:avLst/>
              <a:gdLst>
                <a:gd name="T0" fmla="*/ 606 w 808"/>
                <a:gd name="T1" fmla="*/ 701 h 821"/>
                <a:gd name="T2" fmla="*/ 597 w 808"/>
                <a:gd name="T3" fmla="*/ 703 h 821"/>
                <a:gd name="T4" fmla="*/ 597 w 808"/>
                <a:gd name="T5" fmla="*/ 684 h 821"/>
                <a:gd name="T6" fmla="*/ 620 w 808"/>
                <a:gd name="T7" fmla="*/ 651 h 821"/>
                <a:gd name="T8" fmla="*/ 606 w 808"/>
                <a:gd name="T9" fmla="*/ 661 h 821"/>
                <a:gd name="T10" fmla="*/ 584 w 808"/>
                <a:gd name="T11" fmla="*/ 659 h 821"/>
                <a:gd name="T12" fmla="*/ 591 w 808"/>
                <a:gd name="T13" fmla="*/ 642 h 821"/>
                <a:gd name="T14" fmla="*/ 597 w 808"/>
                <a:gd name="T15" fmla="*/ 649 h 821"/>
                <a:gd name="T16" fmla="*/ 620 w 808"/>
                <a:gd name="T17" fmla="*/ 619 h 821"/>
                <a:gd name="T18" fmla="*/ 636 w 808"/>
                <a:gd name="T19" fmla="*/ 634 h 821"/>
                <a:gd name="T20" fmla="*/ 623 w 808"/>
                <a:gd name="T21" fmla="*/ 679 h 821"/>
                <a:gd name="T22" fmla="*/ 620 w 808"/>
                <a:gd name="T23" fmla="*/ 692 h 821"/>
                <a:gd name="T24" fmla="*/ 177 w 808"/>
                <a:gd name="T25" fmla="*/ 710 h 821"/>
                <a:gd name="T26" fmla="*/ 216 w 808"/>
                <a:gd name="T27" fmla="*/ 643 h 821"/>
                <a:gd name="T28" fmla="*/ 233 w 808"/>
                <a:gd name="T29" fmla="*/ 632 h 821"/>
                <a:gd name="T30" fmla="*/ 209 w 808"/>
                <a:gd name="T31" fmla="*/ 667 h 821"/>
                <a:gd name="T32" fmla="*/ 245 w 808"/>
                <a:gd name="T33" fmla="*/ 647 h 821"/>
                <a:gd name="T34" fmla="*/ 246 w 808"/>
                <a:gd name="T35" fmla="*/ 676 h 821"/>
                <a:gd name="T36" fmla="*/ 228 w 808"/>
                <a:gd name="T37" fmla="*/ 694 h 821"/>
                <a:gd name="T38" fmla="*/ 203 w 808"/>
                <a:gd name="T39" fmla="*/ 719 h 821"/>
                <a:gd name="T40" fmla="*/ 207 w 808"/>
                <a:gd name="T41" fmla="*/ 683 h 821"/>
                <a:gd name="T42" fmla="*/ 446 w 808"/>
                <a:gd name="T43" fmla="*/ 698 h 821"/>
                <a:gd name="T44" fmla="*/ 444 w 808"/>
                <a:gd name="T45" fmla="*/ 686 h 821"/>
                <a:gd name="T46" fmla="*/ 445 w 808"/>
                <a:gd name="T47" fmla="*/ 674 h 821"/>
                <a:gd name="T48" fmla="*/ 434 w 808"/>
                <a:gd name="T49" fmla="*/ 668 h 821"/>
                <a:gd name="T50" fmla="*/ 438 w 808"/>
                <a:gd name="T51" fmla="*/ 651 h 821"/>
                <a:gd name="T52" fmla="*/ 456 w 808"/>
                <a:gd name="T53" fmla="*/ 644 h 821"/>
                <a:gd name="T54" fmla="*/ 465 w 808"/>
                <a:gd name="T55" fmla="*/ 643 h 821"/>
                <a:gd name="T56" fmla="*/ 457 w 808"/>
                <a:gd name="T57" fmla="*/ 675 h 821"/>
                <a:gd name="T58" fmla="*/ 455 w 808"/>
                <a:gd name="T59" fmla="*/ 690 h 821"/>
                <a:gd name="T60" fmla="*/ 265 w 808"/>
                <a:gd name="T61" fmla="*/ 713 h 821"/>
                <a:gd name="T62" fmla="*/ 562 w 808"/>
                <a:gd name="T63" fmla="*/ 715 h 821"/>
                <a:gd name="T64" fmla="*/ 292 w 808"/>
                <a:gd name="T65" fmla="*/ 705 h 821"/>
                <a:gd name="T66" fmla="*/ 300 w 808"/>
                <a:gd name="T67" fmla="*/ 666 h 821"/>
                <a:gd name="T68" fmla="*/ 285 w 808"/>
                <a:gd name="T69" fmla="*/ 672 h 821"/>
                <a:gd name="T70" fmla="*/ 302 w 808"/>
                <a:gd name="T71" fmla="*/ 650 h 821"/>
                <a:gd name="T72" fmla="*/ 307 w 808"/>
                <a:gd name="T73" fmla="*/ 637 h 821"/>
                <a:gd name="T74" fmla="*/ 319 w 808"/>
                <a:gd name="T75" fmla="*/ 648 h 821"/>
                <a:gd name="T76" fmla="*/ 305 w 808"/>
                <a:gd name="T77" fmla="*/ 696 h 821"/>
                <a:gd name="T78" fmla="*/ 511 w 808"/>
                <a:gd name="T79" fmla="*/ 689 h 821"/>
                <a:gd name="T80" fmla="*/ 538 w 808"/>
                <a:gd name="T81" fmla="*/ 638 h 821"/>
                <a:gd name="T82" fmla="*/ 529 w 808"/>
                <a:gd name="T83" fmla="*/ 700 h 821"/>
                <a:gd name="T84" fmla="*/ 241 w 808"/>
                <a:gd name="T85" fmla="*/ 701 h 821"/>
                <a:gd name="T86" fmla="*/ 469 w 808"/>
                <a:gd name="T87" fmla="*/ 701 h 821"/>
                <a:gd name="T88" fmla="*/ 447 w 808"/>
                <a:gd name="T89" fmla="*/ 705 h 821"/>
                <a:gd name="T90" fmla="*/ 349 w 808"/>
                <a:gd name="T91" fmla="*/ 697 h 821"/>
                <a:gd name="T92" fmla="*/ 371 w 808"/>
                <a:gd name="T93" fmla="*/ 665 h 821"/>
                <a:gd name="T94" fmla="*/ 400 w 808"/>
                <a:gd name="T95" fmla="*/ 667 h 821"/>
                <a:gd name="T96" fmla="*/ 375 w 808"/>
                <a:gd name="T97" fmla="*/ 697 h 821"/>
                <a:gd name="T98" fmla="*/ 220 w 808"/>
                <a:gd name="T99" fmla="*/ 683 h 821"/>
                <a:gd name="T100" fmla="*/ 223 w 808"/>
                <a:gd name="T101" fmla="*/ 690 h 821"/>
                <a:gd name="T102" fmla="*/ 318 w 808"/>
                <a:gd name="T103" fmla="*/ 697 h 821"/>
                <a:gd name="T104" fmla="*/ 206 w 808"/>
                <a:gd name="T105" fmla="*/ 674 h 821"/>
                <a:gd name="T106" fmla="*/ 311 w 808"/>
                <a:gd name="T107" fmla="*/ 660 h 821"/>
                <a:gd name="T108" fmla="*/ 614 w 808"/>
                <a:gd name="T109" fmla="*/ 661 h 821"/>
                <a:gd name="T110" fmla="*/ 607 w 808"/>
                <a:gd name="T111" fmla="*/ 650 h 821"/>
                <a:gd name="T112" fmla="*/ 217 w 808"/>
                <a:gd name="T113" fmla="*/ 627 h 821"/>
                <a:gd name="T114" fmla="*/ 161 w 808"/>
                <a:gd name="T115" fmla="*/ 585 h 821"/>
                <a:gd name="T116" fmla="*/ 114 w 808"/>
                <a:gd name="T117" fmla="*/ 372 h 821"/>
                <a:gd name="T118" fmla="*/ 243 w 808"/>
                <a:gd name="T119" fmla="*/ 205 h 821"/>
                <a:gd name="T120" fmla="*/ 433 w 808"/>
                <a:gd name="T121" fmla="*/ 152 h 821"/>
                <a:gd name="T122" fmla="*/ 653 w 808"/>
                <a:gd name="T123" fmla="*/ 325 h 821"/>
                <a:gd name="T124" fmla="*/ 664 w 808"/>
                <a:gd name="T125" fmla="*/ 50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8" h="821">
                  <a:moveTo>
                    <a:pt x="404" y="821"/>
                  </a:moveTo>
                  <a:cubicBezTo>
                    <a:pt x="626" y="821"/>
                    <a:pt x="808" y="637"/>
                    <a:pt x="808" y="411"/>
                  </a:cubicBezTo>
                  <a:cubicBezTo>
                    <a:pt x="808" y="185"/>
                    <a:pt x="626" y="0"/>
                    <a:pt x="404" y="0"/>
                  </a:cubicBezTo>
                  <a:cubicBezTo>
                    <a:pt x="181" y="0"/>
                    <a:pt x="0" y="185"/>
                    <a:pt x="0" y="411"/>
                  </a:cubicBezTo>
                  <a:cubicBezTo>
                    <a:pt x="0" y="637"/>
                    <a:pt x="181" y="821"/>
                    <a:pt x="404" y="821"/>
                  </a:cubicBezTo>
                  <a:close/>
                  <a:moveTo>
                    <a:pt x="404" y="3"/>
                  </a:moveTo>
                  <a:cubicBezTo>
                    <a:pt x="474" y="48"/>
                    <a:pt x="616" y="90"/>
                    <a:pt x="583" y="158"/>
                  </a:cubicBezTo>
                  <a:cubicBezTo>
                    <a:pt x="638" y="106"/>
                    <a:pt x="721" y="230"/>
                    <a:pt x="785" y="285"/>
                  </a:cubicBezTo>
                  <a:cubicBezTo>
                    <a:pt x="765" y="362"/>
                    <a:pt x="769" y="520"/>
                    <a:pt x="693" y="507"/>
                  </a:cubicBezTo>
                  <a:cubicBezTo>
                    <a:pt x="761" y="544"/>
                    <a:pt x="669" y="666"/>
                    <a:pt x="644" y="734"/>
                  </a:cubicBezTo>
                  <a:cubicBezTo>
                    <a:pt x="567" y="740"/>
                    <a:pt x="412" y="799"/>
                    <a:pt x="405" y="723"/>
                  </a:cubicBezTo>
                  <a:cubicBezTo>
                    <a:pt x="392" y="797"/>
                    <a:pt x="241" y="737"/>
                    <a:pt x="161" y="732"/>
                  </a:cubicBezTo>
                  <a:cubicBezTo>
                    <a:pt x="134" y="658"/>
                    <a:pt x="46" y="545"/>
                    <a:pt x="113" y="509"/>
                  </a:cubicBezTo>
                  <a:cubicBezTo>
                    <a:pt x="35" y="520"/>
                    <a:pt x="47" y="364"/>
                    <a:pt x="23" y="284"/>
                  </a:cubicBezTo>
                  <a:cubicBezTo>
                    <a:pt x="90" y="245"/>
                    <a:pt x="172" y="105"/>
                    <a:pt x="229" y="159"/>
                  </a:cubicBezTo>
                  <a:cubicBezTo>
                    <a:pt x="197" y="85"/>
                    <a:pt x="340" y="46"/>
                    <a:pt x="404" y="3"/>
                  </a:cubicBezTo>
                  <a:close/>
                  <a:moveTo>
                    <a:pt x="609" y="729"/>
                  </a:move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1" y="725"/>
                    <a:pt x="601" y="725"/>
                    <a:pt x="601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600" y="725"/>
                    <a:pt x="600" y="725"/>
                    <a:pt x="600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9" y="725"/>
                    <a:pt x="599" y="725"/>
                    <a:pt x="599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8" y="725"/>
                    <a:pt x="598" y="725"/>
                    <a:pt x="598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7" y="725"/>
                    <a:pt x="597" y="725"/>
                    <a:pt x="597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6" y="725"/>
                    <a:pt x="596" y="725"/>
                    <a:pt x="596" y="725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4"/>
                    <a:pt x="595" y="724"/>
                    <a:pt x="595" y="724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3"/>
                    <a:pt x="595" y="723"/>
                    <a:pt x="595" y="723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5" y="722"/>
                    <a:pt x="595" y="722"/>
                    <a:pt x="595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6" y="722"/>
                    <a:pt x="596" y="722"/>
                    <a:pt x="596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598" y="722"/>
                    <a:pt x="598" y="722"/>
                    <a:pt x="598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0" y="722"/>
                    <a:pt x="600" y="722"/>
                    <a:pt x="600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2" y="722"/>
                    <a:pt x="602" y="722"/>
                    <a:pt x="602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5" y="722"/>
                    <a:pt x="605" y="722"/>
                    <a:pt x="605" y="722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6" y="721"/>
                    <a:pt x="606" y="721"/>
                    <a:pt x="606" y="721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9"/>
                    <a:pt x="608" y="719"/>
                    <a:pt x="608" y="719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7"/>
                    <a:pt x="608" y="717"/>
                    <a:pt x="608" y="717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5"/>
                    <a:pt x="608" y="715"/>
                    <a:pt x="608" y="715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2"/>
                    <a:pt x="608" y="712"/>
                    <a:pt x="608" y="712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10"/>
                    <a:pt x="608" y="710"/>
                    <a:pt x="608" y="710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7"/>
                    <a:pt x="608" y="707"/>
                    <a:pt x="608" y="707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5"/>
                    <a:pt x="608" y="705"/>
                    <a:pt x="608" y="705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2"/>
                    <a:pt x="608" y="702"/>
                    <a:pt x="608" y="702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8" y="700"/>
                    <a:pt x="608" y="700"/>
                    <a:pt x="608" y="700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6" y="701"/>
                    <a:pt x="606" y="701"/>
                    <a:pt x="606" y="701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4" y="702"/>
                    <a:pt x="604" y="702"/>
                    <a:pt x="604" y="702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3" y="703"/>
                    <a:pt x="603" y="703"/>
                    <a:pt x="603" y="703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601" y="704"/>
                    <a:pt x="601" y="704"/>
                    <a:pt x="601" y="704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9" y="705"/>
                    <a:pt x="599" y="705"/>
                    <a:pt x="599" y="705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8" y="706"/>
                    <a:pt x="598" y="706"/>
                    <a:pt x="598" y="706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6" y="708"/>
                    <a:pt x="596" y="708"/>
                    <a:pt x="596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4" y="708"/>
                    <a:pt x="594" y="708"/>
                    <a:pt x="594" y="708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3" y="709"/>
                    <a:pt x="593" y="709"/>
                    <a:pt x="593" y="709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90" y="710"/>
                    <a:pt x="590" y="710"/>
                    <a:pt x="590" y="710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9" y="711"/>
                    <a:pt x="589" y="711"/>
                    <a:pt x="589" y="711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8" y="712"/>
                    <a:pt x="588" y="712"/>
                    <a:pt x="588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7" y="712"/>
                    <a:pt x="587" y="712"/>
                    <a:pt x="587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5" y="712"/>
                    <a:pt x="585" y="712"/>
                    <a:pt x="585" y="712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1"/>
                    <a:pt x="584" y="711"/>
                    <a:pt x="584" y="711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4" y="712"/>
                    <a:pt x="584" y="712"/>
                    <a:pt x="584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3" y="712"/>
                    <a:pt x="583" y="712"/>
                    <a:pt x="583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2"/>
                    <a:pt x="582" y="712"/>
                    <a:pt x="582" y="712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2" y="711"/>
                    <a:pt x="582" y="711"/>
                    <a:pt x="582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1" y="711"/>
                    <a:pt x="581" y="711"/>
                    <a:pt x="581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1"/>
                    <a:pt x="580" y="711"/>
                    <a:pt x="580" y="711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80" y="710"/>
                    <a:pt x="580" y="710"/>
                    <a:pt x="580" y="710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79" y="709"/>
                    <a:pt x="579" y="709"/>
                    <a:pt x="579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80" y="709"/>
                    <a:pt x="580" y="709"/>
                    <a:pt x="580" y="709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4"/>
                    <a:pt x="592" y="704"/>
                    <a:pt x="592" y="704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2" y="705"/>
                    <a:pt x="592" y="705"/>
                    <a:pt x="592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3" y="705"/>
                    <a:pt x="593" y="705"/>
                    <a:pt x="593" y="705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4" y="704"/>
                    <a:pt x="594" y="704"/>
                    <a:pt x="594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5" y="704"/>
                    <a:pt x="595" y="704"/>
                    <a:pt x="595" y="704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6" y="703"/>
                    <a:pt x="596" y="703"/>
                    <a:pt x="596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7" y="703"/>
                    <a:pt x="597" y="703"/>
                    <a:pt x="597" y="703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8" y="702"/>
                    <a:pt x="598" y="702"/>
                    <a:pt x="598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2"/>
                    <a:pt x="599" y="702"/>
                    <a:pt x="599" y="702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599" y="701"/>
                    <a:pt x="599" y="701"/>
                    <a:pt x="599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0" y="701"/>
                    <a:pt x="600" y="701"/>
                    <a:pt x="600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1"/>
                    <a:pt x="601" y="701"/>
                    <a:pt x="601" y="701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1" y="700"/>
                    <a:pt x="601" y="700"/>
                    <a:pt x="601" y="700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2" y="699"/>
                    <a:pt x="602" y="699"/>
                    <a:pt x="602" y="699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8"/>
                    <a:pt x="603" y="698"/>
                    <a:pt x="603" y="698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3" y="697"/>
                    <a:pt x="603" y="697"/>
                    <a:pt x="603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7"/>
                    <a:pt x="604" y="697"/>
                    <a:pt x="604" y="697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4" y="696"/>
                    <a:pt x="604" y="696"/>
                    <a:pt x="604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5" y="696"/>
                    <a:pt x="605" y="696"/>
                    <a:pt x="605" y="696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6" y="695"/>
                    <a:pt x="606" y="695"/>
                    <a:pt x="606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4"/>
                    <a:pt x="607" y="694"/>
                    <a:pt x="607" y="694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7" y="693"/>
                    <a:pt x="607" y="693"/>
                    <a:pt x="607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3"/>
                    <a:pt x="606" y="693"/>
                    <a:pt x="606" y="693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6" y="692"/>
                    <a:pt x="606" y="692"/>
                    <a:pt x="606" y="692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07" y="691"/>
                    <a:pt x="607" y="691"/>
                    <a:pt x="607" y="691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1" y="685"/>
                    <a:pt x="611" y="685"/>
                    <a:pt x="611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2" y="685"/>
                    <a:pt x="612" y="685"/>
                    <a:pt x="612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3" y="685"/>
                    <a:pt x="613" y="685"/>
                    <a:pt x="613" y="685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7"/>
                    <a:pt x="619" y="677"/>
                    <a:pt x="619" y="677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6"/>
                    <a:pt x="619" y="676"/>
                    <a:pt x="619" y="676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619" y="675"/>
                    <a:pt x="619" y="675"/>
                    <a:pt x="619" y="675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8" y="684"/>
                    <a:pt x="598" y="684"/>
                    <a:pt x="598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7" y="684"/>
                    <a:pt x="597" y="684"/>
                    <a:pt x="597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4"/>
                    <a:pt x="596" y="684"/>
                    <a:pt x="596" y="684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6" y="683"/>
                    <a:pt x="596" y="683"/>
                    <a:pt x="596" y="683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597" y="681"/>
                    <a:pt x="597" y="681"/>
                    <a:pt x="597" y="681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0" y="670"/>
                    <a:pt x="620" y="670"/>
                    <a:pt x="620" y="670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1" y="668"/>
                    <a:pt x="621" y="668"/>
                    <a:pt x="621" y="668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2" y="665"/>
                    <a:pt x="622" y="665"/>
                    <a:pt x="622" y="665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4" y="663"/>
                    <a:pt x="624" y="663"/>
                    <a:pt x="624" y="663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6" y="660"/>
                    <a:pt x="626" y="660"/>
                    <a:pt x="626" y="660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7" y="658"/>
                    <a:pt x="627" y="658"/>
                    <a:pt x="627" y="658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28" y="655"/>
                    <a:pt x="628" y="655"/>
                    <a:pt x="628" y="655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0" y="653"/>
                    <a:pt x="630" y="653"/>
                    <a:pt x="630" y="653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1" y="650"/>
                    <a:pt x="631" y="650"/>
                    <a:pt x="631" y="650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4" y="644"/>
                    <a:pt x="634" y="644"/>
                    <a:pt x="634" y="644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3"/>
                    <a:pt x="633" y="643"/>
                    <a:pt x="633" y="643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3" y="642"/>
                    <a:pt x="633" y="642"/>
                    <a:pt x="633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2" y="642"/>
                    <a:pt x="632" y="642"/>
                    <a:pt x="632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31" y="642"/>
                    <a:pt x="631" y="642"/>
                    <a:pt x="631" y="642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9" y="643"/>
                    <a:pt x="629" y="643"/>
                    <a:pt x="629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8" y="643"/>
                    <a:pt x="628" y="643"/>
                    <a:pt x="628" y="643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7" y="644"/>
                    <a:pt x="627" y="644"/>
                    <a:pt x="627" y="644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6" y="645"/>
                    <a:pt x="626" y="645"/>
                    <a:pt x="626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5" y="645"/>
                    <a:pt x="625" y="645"/>
                    <a:pt x="625" y="645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4" y="646"/>
                    <a:pt x="624" y="646"/>
                    <a:pt x="624" y="646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49"/>
                    <a:pt x="620" y="649"/>
                    <a:pt x="620" y="649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0"/>
                    <a:pt x="620" y="650"/>
                    <a:pt x="620" y="650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0" y="651"/>
                    <a:pt x="620" y="651"/>
                    <a:pt x="620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1"/>
                    <a:pt x="621" y="651"/>
                    <a:pt x="621" y="651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1" y="652"/>
                    <a:pt x="621" y="652"/>
                    <a:pt x="621" y="652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4"/>
                    <a:pt x="622" y="654"/>
                    <a:pt x="622" y="654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5"/>
                    <a:pt x="622" y="655"/>
                    <a:pt x="622" y="655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6"/>
                    <a:pt x="622" y="656"/>
                    <a:pt x="622" y="656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7"/>
                    <a:pt x="622" y="657"/>
                    <a:pt x="622" y="657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2" y="658"/>
                    <a:pt x="622" y="658"/>
                    <a:pt x="622" y="658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59"/>
                    <a:pt x="621" y="659"/>
                    <a:pt x="621" y="659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21" y="660"/>
                    <a:pt x="621" y="660"/>
                    <a:pt x="621" y="660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8"/>
                    <a:pt x="613" y="668"/>
                    <a:pt x="613" y="668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3" y="669"/>
                    <a:pt x="613" y="669"/>
                    <a:pt x="613" y="669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3" y="662"/>
                    <a:pt x="613" y="662"/>
                    <a:pt x="613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2" y="662"/>
                    <a:pt x="612" y="662"/>
                    <a:pt x="612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11" y="662"/>
                    <a:pt x="611" y="662"/>
                    <a:pt x="611" y="662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5" y="670"/>
                    <a:pt x="605" y="670"/>
                    <a:pt x="605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4" y="670"/>
                    <a:pt x="604" y="670"/>
                    <a:pt x="604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70"/>
                    <a:pt x="603" y="670"/>
                    <a:pt x="603" y="670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9"/>
                    <a:pt x="603" y="669"/>
                    <a:pt x="603" y="669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3" y="668"/>
                    <a:pt x="603" y="668"/>
                    <a:pt x="603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8"/>
                    <a:pt x="604" y="668"/>
                    <a:pt x="604" y="668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4" y="667"/>
                    <a:pt x="604" y="667"/>
                    <a:pt x="604" y="667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6"/>
                    <a:pt x="605" y="666"/>
                    <a:pt x="605" y="666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5" y="665"/>
                    <a:pt x="605" y="665"/>
                    <a:pt x="605" y="665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6" y="664"/>
                    <a:pt x="606" y="664"/>
                    <a:pt x="606" y="664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3"/>
                    <a:pt x="607" y="663"/>
                    <a:pt x="607" y="663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2"/>
                    <a:pt x="607" y="662"/>
                    <a:pt x="607" y="662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7" y="661"/>
                    <a:pt x="607" y="661"/>
                    <a:pt x="607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1"/>
                    <a:pt x="606" y="661"/>
                    <a:pt x="606" y="661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6" y="660"/>
                    <a:pt x="606" y="660"/>
                    <a:pt x="606" y="660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4" y="661"/>
                    <a:pt x="604" y="661"/>
                    <a:pt x="604" y="661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2" y="662"/>
                    <a:pt x="602" y="662"/>
                    <a:pt x="602" y="662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1" y="663"/>
                    <a:pt x="601" y="663"/>
                    <a:pt x="601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600" y="663"/>
                    <a:pt x="600" y="663"/>
                    <a:pt x="600" y="663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8" y="665"/>
                    <a:pt x="598" y="665"/>
                    <a:pt x="598" y="665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7" y="666"/>
                    <a:pt x="597" y="666"/>
                    <a:pt x="597" y="666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7"/>
                    <a:pt x="595" y="667"/>
                    <a:pt x="595" y="667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5" y="668"/>
                    <a:pt x="595" y="668"/>
                    <a:pt x="595" y="668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69"/>
                    <a:pt x="594" y="669"/>
                    <a:pt x="594" y="669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0"/>
                    <a:pt x="594" y="670"/>
                    <a:pt x="594" y="670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1"/>
                    <a:pt x="594" y="671"/>
                    <a:pt x="594" y="671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3" y="672"/>
                    <a:pt x="593" y="672"/>
                    <a:pt x="593" y="672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2" y="673"/>
                    <a:pt x="592" y="673"/>
                    <a:pt x="592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1" y="673"/>
                    <a:pt x="591" y="673"/>
                    <a:pt x="591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3"/>
                    <a:pt x="590" y="673"/>
                    <a:pt x="590" y="673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90" y="671"/>
                    <a:pt x="590" y="671"/>
                    <a:pt x="590" y="671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9" y="669"/>
                    <a:pt x="589" y="669"/>
                    <a:pt x="589" y="669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8" y="668"/>
                    <a:pt x="588" y="668"/>
                    <a:pt x="588" y="668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7" y="666"/>
                    <a:pt x="587" y="666"/>
                    <a:pt x="587" y="666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6" y="664"/>
                    <a:pt x="586" y="664"/>
                    <a:pt x="586" y="664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5" y="662"/>
                    <a:pt x="585" y="662"/>
                    <a:pt x="585" y="662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4" y="661"/>
                    <a:pt x="584" y="661"/>
                    <a:pt x="584" y="661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3" y="659"/>
                    <a:pt x="583" y="659"/>
                    <a:pt x="583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9"/>
                    <a:pt x="584" y="659"/>
                    <a:pt x="584" y="659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4" y="658"/>
                    <a:pt x="584" y="658"/>
                    <a:pt x="584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5" y="658"/>
                    <a:pt x="585" y="658"/>
                    <a:pt x="585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6" y="658"/>
                    <a:pt x="586" y="658"/>
                    <a:pt x="586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7" y="658"/>
                    <a:pt x="587" y="658"/>
                    <a:pt x="587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88" y="658"/>
                    <a:pt x="588" y="658"/>
                    <a:pt x="588" y="658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4" y="665"/>
                    <a:pt x="594" y="665"/>
                    <a:pt x="594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5" y="665"/>
                    <a:pt x="595" y="665"/>
                    <a:pt x="595" y="665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6" y="664"/>
                    <a:pt x="596" y="664"/>
                    <a:pt x="596" y="664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94" y="656"/>
                    <a:pt x="594" y="656"/>
                    <a:pt x="594" y="656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7"/>
                    <a:pt x="588" y="647"/>
                    <a:pt x="588" y="647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6"/>
                    <a:pt x="588" y="646"/>
                    <a:pt x="588" y="646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8" y="645"/>
                    <a:pt x="588" y="645"/>
                    <a:pt x="588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7" y="645"/>
                    <a:pt x="587" y="645"/>
                    <a:pt x="587" y="645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6" y="644"/>
                    <a:pt x="586" y="644"/>
                    <a:pt x="586" y="644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2"/>
                    <a:pt x="585" y="642"/>
                    <a:pt x="585" y="642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1"/>
                    <a:pt x="585" y="641"/>
                    <a:pt x="585" y="641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40"/>
                    <a:pt x="585" y="640"/>
                    <a:pt x="585" y="640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5" y="639"/>
                    <a:pt x="585" y="639"/>
                    <a:pt x="585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7" y="639"/>
                    <a:pt x="587" y="639"/>
                    <a:pt x="587" y="639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8" y="640"/>
                    <a:pt x="588" y="640"/>
                    <a:pt x="588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89" y="640"/>
                    <a:pt x="589" y="640"/>
                    <a:pt x="589" y="640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0" y="641"/>
                    <a:pt x="590" y="641"/>
                    <a:pt x="590" y="641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1" y="642"/>
                    <a:pt x="591" y="642"/>
                    <a:pt x="591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2"/>
                    <a:pt x="592" y="642"/>
                    <a:pt x="592" y="642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2" y="643"/>
                    <a:pt x="592" y="643"/>
                    <a:pt x="592" y="643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4"/>
                    <a:pt x="593" y="644"/>
                    <a:pt x="593" y="644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3" y="645"/>
                    <a:pt x="593" y="645"/>
                    <a:pt x="593" y="645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6"/>
                    <a:pt x="594" y="646"/>
                    <a:pt x="594" y="646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7"/>
                    <a:pt x="594" y="647"/>
                    <a:pt x="594" y="647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8"/>
                    <a:pt x="594" y="648"/>
                    <a:pt x="594" y="648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4" y="649"/>
                    <a:pt x="594" y="649"/>
                    <a:pt x="594" y="649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5" y="650"/>
                    <a:pt x="595" y="650"/>
                    <a:pt x="595" y="650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6" y="651"/>
                    <a:pt x="596" y="651"/>
                    <a:pt x="596" y="651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2"/>
                    <a:pt x="597" y="652"/>
                    <a:pt x="597" y="652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7" y="653"/>
                    <a:pt x="597" y="653"/>
                    <a:pt x="597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8" y="653"/>
                    <a:pt x="598" y="653"/>
                    <a:pt x="598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599" y="653"/>
                    <a:pt x="599" y="653"/>
                    <a:pt x="599" y="653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0" y="652"/>
                    <a:pt x="600" y="652"/>
                    <a:pt x="600" y="652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1"/>
                    <a:pt x="601" y="651"/>
                    <a:pt x="601" y="651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50"/>
                    <a:pt x="601" y="650"/>
                    <a:pt x="601" y="650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1" y="649"/>
                    <a:pt x="601" y="649"/>
                    <a:pt x="601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600" y="649"/>
                    <a:pt x="600" y="649"/>
                    <a:pt x="600" y="649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9" y="650"/>
                    <a:pt x="599" y="650"/>
                    <a:pt x="599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8" y="650"/>
                    <a:pt x="598" y="650"/>
                    <a:pt x="598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50"/>
                    <a:pt x="597" y="650"/>
                    <a:pt x="597" y="650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7" y="649"/>
                    <a:pt x="597" y="649"/>
                    <a:pt x="597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9"/>
                    <a:pt x="596" y="649"/>
                    <a:pt x="596" y="649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8"/>
                    <a:pt x="596" y="648"/>
                    <a:pt x="596" y="648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6" y="647"/>
                    <a:pt x="596" y="647"/>
                    <a:pt x="596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7" y="647"/>
                    <a:pt x="597" y="647"/>
                    <a:pt x="597" y="647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8" y="646"/>
                    <a:pt x="598" y="646"/>
                    <a:pt x="598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599" y="646"/>
                    <a:pt x="599" y="646"/>
                    <a:pt x="599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0" y="646"/>
                    <a:pt x="600" y="646"/>
                    <a:pt x="600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1" y="646"/>
                    <a:pt x="601" y="646"/>
                    <a:pt x="601" y="646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3" y="645"/>
                    <a:pt x="603" y="645"/>
                    <a:pt x="603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4" y="645"/>
                    <a:pt x="604" y="645"/>
                    <a:pt x="604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5"/>
                    <a:pt x="605" y="645"/>
                    <a:pt x="605" y="645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4"/>
                    <a:pt x="605" y="644"/>
                    <a:pt x="605" y="644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5" y="643"/>
                    <a:pt x="605" y="643"/>
                    <a:pt x="605" y="643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06" y="642"/>
                    <a:pt x="606" y="642"/>
                    <a:pt x="606" y="642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3" y="629"/>
                    <a:pt x="613" y="629"/>
                    <a:pt x="613" y="629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7"/>
                    <a:pt x="614" y="627"/>
                    <a:pt x="614" y="627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6"/>
                    <a:pt x="614" y="626"/>
                    <a:pt x="614" y="626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5"/>
                    <a:pt x="614" y="625"/>
                    <a:pt x="614" y="625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3"/>
                    <a:pt x="614" y="623"/>
                    <a:pt x="614" y="623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2"/>
                    <a:pt x="614" y="622"/>
                    <a:pt x="614" y="622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21"/>
                    <a:pt x="614" y="621"/>
                    <a:pt x="614" y="621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4" y="619"/>
                    <a:pt x="614" y="619"/>
                    <a:pt x="614" y="619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4" y="616"/>
                    <a:pt x="614" y="616"/>
                    <a:pt x="614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5" y="616"/>
                    <a:pt x="615" y="616"/>
                    <a:pt x="615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6" y="616"/>
                    <a:pt x="616" y="616"/>
                    <a:pt x="616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7" y="616"/>
                    <a:pt x="617" y="616"/>
                    <a:pt x="617" y="616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8" y="617"/>
                    <a:pt x="618" y="617"/>
                    <a:pt x="618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19" y="617"/>
                    <a:pt x="619" y="617"/>
                    <a:pt x="619" y="617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8"/>
                    <a:pt x="620" y="618"/>
                    <a:pt x="620" y="618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0" y="619"/>
                    <a:pt x="620" y="619"/>
                    <a:pt x="620" y="619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1" y="620"/>
                    <a:pt x="621" y="620"/>
                    <a:pt x="621" y="620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1"/>
                    <a:pt x="622" y="621"/>
                    <a:pt x="622" y="621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2" y="622"/>
                    <a:pt x="622" y="622"/>
                    <a:pt x="622" y="622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3"/>
                    <a:pt x="623" y="623"/>
                    <a:pt x="623" y="623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3" y="625"/>
                    <a:pt x="623" y="625"/>
                    <a:pt x="623" y="625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6"/>
                    <a:pt x="622" y="626"/>
                    <a:pt x="622" y="626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2" y="627"/>
                    <a:pt x="622" y="627"/>
                    <a:pt x="622" y="627"/>
                  </a:cubicBezTo>
                  <a:cubicBezTo>
                    <a:pt x="621" y="628"/>
                    <a:pt x="621" y="628"/>
                    <a:pt x="621" y="628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20" y="629"/>
                    <a:pt x="620" y="629"/>
                    <a:pt x="620" y="629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9" y="630"/>
                    <a:pt x="619" y="630"/>
                    <a:pt x="619" y="630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8" y="631"/>
                    <a:pt x="618" y="631"/>
                    <a:pt x="618" y="631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7" y="633"/>
                    <a:pt x="617" y="633"/>
                    <a:pt x="617" y="633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6" y="634"/>
                    <a:pt x="616" y="634"/>
                    <a:pt x="616" y="634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5" y="636"/>
                    <a:pt x="615" y="636"/>
                    <a:pt x="615" y="636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4" y="637"/>
                    <a:pt x="614" y="637"/>
                    <a:pt x="614" y="637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13" y="638"/>
                    <a:pt x="613" y="638"/>
                    <a:pt x="613" y="638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4"/>
                    <a:pt x="609" y="644"/>
                    <a:pt x="609" y="644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09" y="645"/>
                    <a:pt x="609" y="645"/>
                    <a:pt x="609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0" y="645"/>
                    <a:pt x="610" y="645"/>
                    <a:pt x="610" y="645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1" y="646"/>
                    <a:pt x="611" y="646"/>
                    <a:pt x="611" y="646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2" y="647"/>
                    <a:pt x="612" y="647"/>
                    <a:pt x="612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4" y="647"/>
                    <a:pt x="614" y="647"/>
                    <a:pt x="614" y="647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5" y="648"/>
                    <a:pt x="615" y="648"/>
                    <a:pt x="615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6" y="648"/>
                    <a:pt x="616" y="648"/>
                    <a:pt x="616" y="648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8" y="647"/>
                    <a:pt x="618" y="647"/>
                    <a:pt x="618" y="647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19" y="646"/>
                    <a:pt x="619" y="646"/>
                    <a:pt x="619" y="646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5" y="641"/>
                    <a:pt x="625" y="641"/>
                    <a:pt x="625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1"/>
                    <a:pt x="626" y="641"/>
                    <a:pt x="626" y="641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6" y="640"/>
                    <a:pt x="626" y="640"/>
                    <a:pt x="626" y="640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27" y="639"/>
                    <a:pt x="627" y="639"/>
                    <a:pt x="627" y="639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5" y="634"/>
                    <a:pt x="635" y="634"/>
                    <a:pt x="635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6" y="634"/>
                    <a:pt x="636" y="634"/>
                    <a:pt x="636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7" y="634"/>
                    <a:pt x="637" y="634"/>
                    <a:pt x="637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8" y="634"/>
                    <a:pt x="638" y="634"/>
                    <a:pt x="638" y="634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0" y="636"/>
                    <a:pt x="640" y="636"/>
                    <a:pt x="640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1" y="636"/>
                    <a:pt x="641" y="636"/>
                    <a:pt x="641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6"/>
                    <a:pt x="643" y="636"/>
                    <a:pt x="643" y="636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8"/>
                    <a:pt x="643" y="638"/>
                    <a:pt x="643" y="638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3" y="639"/>
                    <a:pt x="643" y="639"/>
                    <a:pt x="643" y="639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0"/>
                    <a:pt x="642" y="640"/>
                    <a:pt x="642" y="640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1"/>
                    <a:pt x="642" y="641"/>
                    <a:pt x="642" y="641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3"/>
                    <a:pt x="642" y="643"/>
                    <a:pt x="642" y="643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2" y="644"/>
                    <a:pt x="642" y="644"/>
                    <a:pt x="642" y="644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1" y="645"/>
                    <a:pt x="641" y="645"/>
                    <a:pt x="641" y="645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40" y="646"/>
                    <a:pt x="640" y="646"/>
                    <a:pt x="640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6"/>
                    <a:pt x="639" y="646"/>
                    <a:pt x="639" y="646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9" y="647"/>
                    <a:pt x="639" y="647"/>
                    <a:pt x="639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7"/>
                    <a:pt x="638" y="647"/>
                    <a:pt x="638" y="647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8"/>
                    <a:pt x="638" y="648"/>
                    <a:pt x="638" y="648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8" y="649"/>
                    <a:pt x="638" y="649"/>
                    <a:pt x="638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7" y="649"/>
                    <a:pt x="637" y="649"/>
                    <a:pt x="637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36" y="649"/>
                    <a:pt x="636" y="649"/>
                    <a:pt x="636" y="649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7" y="662"/>
                    <a:pt x="627" y="662"/>
                    <a:pt x="627" y="662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3" y="668"/>
                    <a:pt x="623" y="668"/>
                    <a:pt x="623" y="668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4" y="669"/>
                    <a:pt x="624" y="669"/>
                    <a:pt x="624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9"/>
                    <a:pt x="625" y="669"/>
                    <a:pt x="625" y="669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5" y="668"/>
                    <a:pt x="625" y="668"/>
                    <a:pt x="625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6" y="668"/>
                    <a:pt x="626" y="668"/>
                    <a:pt x="626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7" y="668"/>
                    <a:pt x="627" y="668"/>
                    <a:pt x="627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69"/>
                    <a:pt x="629" y="669"/>
                    <a:pt x="629" y="669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29" y="670"/>
                    <a:pt x="629" y="670"/>
                    <a:pt x="629" y="670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1"/>
                    <a:pt x="630" y="671"/>
                    <a:pt x="630" y="671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2"/>
                    <a:pt x="630" y="672"/>
                    <a:pt x="630" y="672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3"/>
                    <a:pt x="630" y="673"/>
                    <a:pt x="630" y="673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30" y="674"/>
                    <a:pt x="630" y="674"/>
                    <a:pt x="630" y="674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23" y="679"/>
                    <a:pt x="623" y="679"/>
                    <a:pt x="623" y="679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0" y="690"/>
                    <a:pt x="610" y="690"/>
                    <a:pt x="610" y="690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1" y="691"/>
                    <a:pt x="611" y="691"/>
                    <a:pt x="611" y="691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7" y="688"/>
                    <a:pt x="617" y="688"/>
                    <a:pt x="617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8" y="688"/>
                    <a:pt x="618" y="688"/>
                    <a:pt x="618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19" y="688"/>
                    <a:pt x="619" y="688"/>
                    <a:pt x="619" y="688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0" y="687"/>
                    <a:pt x="620" y="687"/>
                    <a:pt x="620" y="687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2" y="688"/>
                    <a:pt x="622" y="688"/>
                    <a:pt x="622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3" y="688"/>
                    <a:pt x="623" y="688"/>
                    <a:pt x="623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8"/>
                    <a:pt x="624" y="688"/>
                    <a:pt x="624" y="688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4" y="689"/>
                    <a:pt x="624" y="689"/>
                    <a:pt x="624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5" y="689"/>
                    <a:pt x="625" y="689"/>
                    <a:pt x="625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89"/>
                    <a:pt x="626" y="689"/>
                    <a:pt x="626" y="689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0"/>
                    <a:pt x="626" y="690"/>
                    <a:pt x="626" y="690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1"/>
                    <a:pt x="626" y="691"/>
                    <a:pt x="626" y="691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6" y="692"/>
                    <a:pt x="626" y="692"/>
                    <a:pt x="626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2"/>
                    <a:pt x="625" y="692"/>
                    <a:pt x="625" y="692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3"/>
                    <a:pt x="625" y="693"/>
                    <a:pt x="625" y="693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5" y="694"/>
                    <a:pt x="625" y="694"/>
                    <a:pt x="625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4" y="694"/>
                    <a:pt x="624" y="694"/>
                    <a:pt x="624" y="694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3" y="695"/>
                    <a:pt x="623" y="695"/>
                    <a:pt x="623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2" y="695"/>
                    <a:pt x="622" y="695"/>
                    <a:pt x="622" y="695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6"/>
                    <a:pt x="621" y="696"/>
                    <a:pt x="621" y="696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1" y="697"/>
                    <a:pt x="621" y="697"/>
                    <a:pt x="621" y="697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20" y="698"/>
                    <a:pt x="620" y="698"/>
                    <a:pt x="620" y="698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9" y="699"/>
                    <a:pt x="619" y="699"/>
                    <a:pt x="619" y="699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8" y="700"/>
                    <a:pt x="618" y="700"/>
                    <a:pt x="618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700"/>
                    <a:pt x="616" y="700"/>
                    <a:pt x="616" y="700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9"/>
                    <a:pt x="616" y="699"/>
                    <a:pt x="616" y="699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6" y="698"/>
                    <a:pt x="616" y="698"/>
                    <a:pt x="616" y="698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7" y="697"/>
                    <a:pt x="617" y="697"/>
                    <a:pt x="617" y="697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6"/>
                    <a:pt x="618" y="696"/>
                    <a:pt x="618" y="696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8" y="695"/>
                    <a:pt x="618" y="695"/>
                    <a:pt x="618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5"/>
                    <a:pt x="619" y="695"/>
                    <a:pt x="619" y="695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19" y="694"/>
                    <a:pt x="619" y="694"/>
                    <a:pt x="619" y="694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20" y="692"/>
                    <a:pt x="620" y="692"/>
                    <a:pt x="620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9" y="692"/>
                    <a:pt x="619" y="692"/>
                    <a:pt x="619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8" y="692"/>
                    <a:pt x="618" y="692"/>
                    <a:pt x="618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7" y="692"/>
                    <a:pt x="617" y="692"/>
                    <a:pt x="617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6" y="692"/>
                    <a:pt x="616" y="692"/>
                    <a:pt x="616" y="692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697"/>
                    <a:pt x="612" y="697"/>
                    <a:pt x="612" y="697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2" y="701"/>
                    <a:pt x="612" y="701"/>
                    <a:pt x="612" y="701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5"/>
                    <a:pt x="613" y="705"/>
                    <a:pt x="613" y="705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09"/>
                    <a:pt x="613" y="709"/>
                    <a:pt x="613" y="709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2"/>
                    <a:pt x="613" y="712"/>
                    <a:pt x="613" y="712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3" y="716"/>
                    <a:pt x="613" y="716"/>
                    <a:pt x="613" y="716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0"/>
                    <a:pt x="612" y="720"/>
                    <a:pt x="612" y="720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4"/>
                    <a:pt x="612" y="724"/>
                    <a:pt x="612" y="724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2" y="728"/>
                    <a:pt x="612" y="728"/>
                    <a:pt x="612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1" y="728"/>
                    <a:pt x="611" y="728"/>
                    <a:pt x="611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8"/>
                    <a:pt x="610" y="728"/>
                    <a:pt x="610" y="728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10" y="729"/>
                    <a:pt x="610" y="729"/>
                    <a:pt x="610" y="729"/>
                  </a:cubicBezTo>
                  <a:cubicBezTo>
                    <a:pt x="609" y="729"/>
                    <a:pt x="609" y="729"/>
                    <a:pt x="609" y="729"/>
                  </a:cubicBezTo>
                  <a:close/>
                  <a:moveTo>
                    <a:pt x="176" y="724"/>
                  </a:move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5" y="724"/>
                    <a:pt x="175" y="724"/>
                    <a:pt x="175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4"/>
                    <a:pt x="173" y="724"/>
                    <a:pt x="173" y="724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3" y="723"/>
                    <a:pt x="173" y="723"/>
                    <a:pt x="173" y="723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2"/>
                    <a:pt x="172" y="722"/>
                    <a:pt x="172" y="722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2" y="721"/>
                    <a:pt x="172" y="721"/>
                    <a:pt x="172" y="721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20"/>
                    <a:pt x="171" y="720"/>
                    <a:pt x="171" y="720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1" y="719"/>
                    <a:pt x="171" y="719"/>
                    <a:pt x="171" y="719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2" y="718"/>
                    <a:pt x="172" y="718"/>
                    <a:pt x="172" y="718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5" y="714"/>
                    <a:pt x="175" y="714"/>
                    <a:pt x="175" y="714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77" y="710"/>
                    <a:pt x="177" y="710"/>
                    <a:pt x="177" y="710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0" y="706"/>
                    <a:pt x="180" y="706"/>
                    <a:pt x="180" y="706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3" y="701"/>
                    <a:pt x="183" y="701"/>
                    <a:pt x="183" y="701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5" y="697"/>
                    <a:pt x="185" y="697"/>
                    <a:pt x="185" y="697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88" y="693"/>
                    <a:pt x="188" y="693"/>
                    <a:pt x="188" y="693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1" y="688"/>
                    <a:pt x="191" y="688"/>
                    <a:pt x="191" y="688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3" y="684"/>
                    <a:pt x="193" y="684"/>
                  </a:cubicBezTo>
                  <a:cubicBezTo>
                    <a:pt x="193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4"/>
                    <a:pt x="194" y="684"/>
                    <a:pt x="194" y="684"/>
                  </a:cubicBezTo>
                  <a:cubicBezTo>
                    <a:pt x="194" y="683"/>
                    <a:pt x="194" y="683"/>
                    <a:pt x="195" y="683"/>
                  </a:cubicBezTo>
                  <a:cubicBezTo>
                    <a:pt x="195" y="683"/>
                    <a:pt x="195" y="683"/>
                    <a:pt x="195" y="683"/>
                  </a:cubicBezTo>
                  <a:cubicBezTo>
                    <a:pt x="195" y="683"/>
                    <a:pt x="195" y="682"/>
                    <a:pt x="196" y="682"/>
                  </a:cubicBezTo>
                  <a:cubicBezTo>
                    <a:pt x="196" y="682"/>
                    <a:pt x="196" y="682"/>
                    <a:pt x="196" y="682"/>
                  </a:cubicBezTo>
                  <a:cubicBezTo>
                    <a:pt x="196" y="682"/>
                    <a:pt x="196" y="682"/>
                    <a:pt x="196" y="681"/>
                  </a:cubicBezTo>
                  <a:cubicBezTo>
                    <a:pt x="196" y="681"/>
                    <a:pt x="196" y="681"/>
                    <a:pt x="196" y="681"/>
                  </a:cubicBezTo>
                  <a:cubicBezTo>
                    <a:pt x="196" y="681"/>
                    <a:pt x="196" y="681"/>
                    <a:pt x="197" y="681"/>
                  </a:cubicBezTo>
                  <a:cubicBezTo>
                    <a:pt x="197" y="681"/>
                    <a:pt x="197" y="681"/>
                    <a:pt x="197" y="681"/>
                  </a:cubicBezTo>
                  <a:cubicBezTo>
                    <a:pt x="198" y="679"/>
                    <a:pt x="199" y="677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6"/>
                    <a:pt x="199" y="676"/>
                    <a:pt x="199" y="676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9" y="675"/>
                    <a:pt x="199" y="675"/>
                    <a:pt x="199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5"/>
                    <a:pt x="198" y="675"/>
                    <a:pt x="198" y="675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198" y="674"/>
                    <a:pt x="198" y="674"/>
                    <a:pt x="198" y="674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0" y="672"/>
                    <a:pt x="200" y="672"/>
                    <a:pt x="200" y="672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2" y="671"/>
                    <a:pt x="202" y="671"/>
                    <a:pt x="202" y="671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4" y="669"/>
                    <a:pt x="204" y="669"/>
                    <a:pt x="204" y="669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6" y="667"/>
                    <a:pt x="206" y="667"/>
                    <a:pt x="206" y="667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7" y="665"/>
                    <a:pt x="207" y="665"/>
                    <a:pt x="207" y="665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09" y="662"/>
                    <a:pt x="209" y="662"/>
                    <a:pt x="209" y="662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0" y="660"/>
                    <a:pt x="210" y="660"/>
                    <a:pt x="210" y="660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12" y="658"/>
                    <a:pt x="212" y="658"/>
                    <a:pt x="212" y="658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40"/>
                    <a:pt x="226" y="640"/>
                    <a:pt x="226" y="640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9"/>
                    <a:pt x="226" y="639"/>
                    <a:pt x="226" y="639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6" y="638"/>
                    <a:pt x="226" y="638"/>
                    <a:pt x="226" y="638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4" y="639"/>
                    <a:pt x="224" y="639"/>
                    <a:pt x="224" y="639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2" y="640"/>
                    <a:pt x="222" y="640"/>
                    <a:pt x="222" y="640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20" y="641"/>
                    <a:pt x="220" y="641"/>
                    <a:pt x="220" y="641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8" y="642"/>
                    <a:pt x="218" y="642"/>
                    <a:pt x="218" y="642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6" y="643"/>
                    <a:pt x="216" y="643"/>
                    <a:pt x="216" y="643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4" y="645"/>
                    <a:pt x="214" y="645"/>
                    <a:pt x="214" y="645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2" y="646"/>
                    <a:pt x="212" y="646"/>
                    <a:pt x="212" y="646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10" y="647"/>
                    <a:pt x="210" y="647"/>
                    <a:pt x="210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9" y="647"/>
                    <a:pt x="209" y="647"/>
                    <a:pt x="209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8" y="647"/>
                    <a:pt x="208" y="647"/>
                    <a:pt x="208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7" y="647"/>
                    <a:pt x="207" y="647"/>
                    <a:pt x="207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5" y="646"/>
                    <a:pt x="205" y="646"/>
                    <a:pt x="205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4" y="646"/>
                    <a:pt x="204" y="646"/>
                    <a:pt x="204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6"/>
                    <a:pt x="203" y="646"/>
                    <a:pt x="203" y="646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3" y="645"/>
                    <a:pt x="203" y="645"/>
                    <a:pt x="203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2" y="645"/>
                    <a:pt x="202" y="645"/>
                    <a:pt x="202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1" y="645"/>
                    <a:pt x="201" y="645"/>
                    <a:pt x="201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200" y="645"/>
                    <a:pt x="200" y="645"/>
                    <a:pt x="200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5"/>
                    <a:pt x="199" y="645"/>
                    <a:pt x="199" y="645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4"/>
                    <a:pt x="199" y="644"/>
                    <a:pt x="199" y="644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199" y="642"/>
                    <a:pt x="199" y="642"/>
                    <a:pt x="199" y="642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09" y="639"/>
                    <a:pt x="209" y="639"/>
                    <a:pt x="209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2" y="639"/>
                    <a:pt x="212" y="639"/>
                    <a:pt x="212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5" y="639"/>
                    <a:pt x="215" y="639"/>
                    <a:pt x="215" y="639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17" y="638"/>
                    <a:pt x="217" y="638"/>
                    <a:pt x="217" y="638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0" y="637"/>
                    <a:pt x="220" y="637"/>
                    <a:pt x="220" y="637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3" y="636"/>
                    <a:pt x="223" y="636"/>
                    <a:pt x="223" y="636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5" y="635"/>
                    <a:pt x="225" y="635"/>
                    <a:pt x="225" y="635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28" y="634"/>
                    <a:pt x="228" y="634"/>
                    <a:pt x="228" y="634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1" y="632"/>
                    <a:pt x="231" y="632"/>
                    <a:pt x="231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2"/>
                    <a:pt x="233" y="632"/>
                    <a:pt x="233" y="632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3" y="633"/>
                    <a:pt x="233" y="633"/>
                    <a:pt x="233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3"/>
                    <a:pt x="234" y="633"/>
                    <a:pt x="234" y="633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4" y="634"/>
                    <a:pt x="234" y="634"/>
                    <a:pt x="234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4"/>
                    <a:pt x="235" y="634"/>
                    <a:pt x="235" y="634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5"/>
                    <a:pt x="235" y="635"/>
                    <a:pt x="235" y="635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6"/>
                    <a:pt x="235" y="636"/>
                    <a:pt x="235" y="636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5" y="637"/>
                    <a:pt x="235" y="637"/>
                    <a:pt x="235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7"/>
                    <a:pt x="236" y="637"/>
                    <a:pt x="236" y="637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6" y="638"/>
                    <a:pt x="236" y="638"/>
                    <a:pt x="236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8"/>
                    <a:pt x="235" y="638"/>
                    <a:pt x="235" y="638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39"/>
                    <a:pt x="234" y="639"/>
                    <a:pt x="234" y="639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34" y="640"/>
                    <a:pt x="234" y="640"/>
                    <a:pt x="234" y="640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9" y="642"/>
                    <a:pt x="229" y="642"/>
                    <a:pt x="229" y="642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6" y="645"/>
                    <a:pt x="226" y="645"/>
                    <a:pt x="226" y="645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3" y="648"/>
                    <a:pt x="223" y="648"/>
                    <a:pt x="223" y="648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7" y="656"/>
                    <a:pt x="217" y="656"/>
                    <a:pt x="217" y="656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5" y="659"/>
                    <a:pt x="215" y="659"/>
                    <a:pt x="215" y="659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12" y="663"/>
                    <a:pt x="212" y="663"/>
                    <a:pt x="212" y="663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09" y="667"/>
                    <a:pt x="209" y="667"/>
                    <a:pt x="209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0" y="667"/>
                    <a:pt x="210" y="667"/>
                    <a:pt x="210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11" y="667"/>
                    <a:pt x="211" y="667"/>
                    <a:pt x="211" y="667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61"/>
                    <a:pt x="222" y="661"/>
                    <a:pt x="222" y="661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9"/>
                    <a:pt x="222" y="659"/>
                    <a:pt x="222" y="659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2" y="653"/>
                    <a:pt x="222" y="653"/>
                    <a:pt x="222" y="653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3" y="652"/>
                    <a:pt x="223" y="652"/>
                    <a:pt x="223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4" y="652"/>
                    <a:pt x="224" y="652"/>
                    <a:pt x="224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2"/>
                    <a:pt x="225" y="652"/>
                    <a:pt x="225" y="652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5" y="653"/>
                    <a:pt x="225" y="653"/>
                    <a:pt x="225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3"/>
                    <a:pt x="226" y="653"/>
                    <a:pt x="226" y="653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4"/>
                    <a:pt x="226" y="654"/>
                    <a:pt x="226" y="654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5"/>
                    <a:pt x="226" y="655"/>
                    <a:pt x="226" y="655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6" y="656"/>
                    <a:pt x="226" y="656"/>
                    <a:pt x="226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6"/>
                    <a:pt x="225" y="656"/>
                    <a:pt x="225" y="656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5" y="657"/>
                    <a:pt x="225" y="657"/>
                    <a:pt x="225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6" y="657"/>
                    <a:pt x="226" y="657"/>
                    <a:pt x="226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7" y="657"/>
                    <a:pt x="227" y="657"/>
                    <a:pt x="227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29" y="657"/>
                    <a:pt x="229" y="657"/>
                    <a:pt x="229" y="657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0" y="656"/>
                    <a:pt x="230" y="656"/>
                    <a:pt x="230" y="656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2" y="655"/>
                    <a:pt x="232" y="655"/>
                    <a:pt x="232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3" y="655"/>
                    <a:pt x="233" y="655"/>
                    <a:pt x="233" y="655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5" y="654"/>
                    <a:pt x="235" y="654"/>
                    <a:pt x="235" y="654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6" y="653"/>
                    <a:pt x="236" y="653"/>
                    <a:pt x="236" y="653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38" y="652"/>
                    <a:pt x="238" y="652"/>
                    <a:pt x="238" y="652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0" y="644"/>
                    <a:pt x="240" y="644"/>
                    <a:pt x="240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1" y="644"/>
                    <a:pt x="241" y="644"/>
                    <a:pt x="241" y="644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2" y="645"/>
                    <a:pt x="242" y="645"/>
                    <a:pt x="242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3" y="645"/>
                    <a:pt x="243" y="645"/>
                    <a:pt x="243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5"/>
                    <a:pt x="244" y="645"/>
                    <a:pt x="244" y="645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4" y="646"/>
                    <a:pt x="244" y="646"/>
                    <a:pt x="244" y="646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5" y="647"/>
                    <a:pt x="245" y="647"/>
                    <a:pt x="245" y="647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6" y="648"/>
                    <a:pt x="246" y="648"/>
                    <a:pt x="246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7" y="648"/>
                    <a:pt x="247" y="648"/>
                    <a:pt x="247" y="648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6" y="649"/>
                    <a:pt x="246" y="649"/>
                    <a:pt x="246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49"/>
                    <a:pt x="245" y="649"/>
                    <a:pt x="245" y="649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5" y="650"/>
                    <a:pt x="245" y="650"/>
                    <a:pt x="245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4" y="650"/>
                    <a:pt x="244" y="650"/>
                    <a:pt x="244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43" y="650"/>
                    <a:pt x="243" y="650"/>
                    <a:pt x="243" y="650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8" y="657"/>
                    <a:pt x="238" y="657"/>
                    <a:pt x="238" y="657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35" y="664"/>
                    <a:pt x="235" y="664"/>
                    <a:pt x="235" y="664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40" y="663"/>
                    <a:pt x="240" y="663"/>
                    <a:pt x="240" y="663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1" y="659"/>
                    <a:pt x="251" y="659"/>
                    <a:pt x="251" y="659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0"/>
                    <a:pt x="252" y="660"/>
                    <a:pt x="252" y="660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2" y="661"/>
                    <a:pt x="252" y="661"/>
                    <a:pt x="252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53" y="661"/>
                    <a:pt x="253" y="661"/>
                    <a:pt x="253" y="661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1" y="667"/>
                    <a:pt x="241" y="667"/>
                    <a:pt x="241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40" y="667"/>
                    <a:pt x="240" y="667"/>
                    <a:pt x="240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9" y="667"/>
                    <a:pt x="239" y="667"/>
                    <a:pt x="239" y="667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8" y="668"/>
                    <a:pt x="238" y="668"/>
                    <a:pt x="238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7" y="668"/>
                    <a:pt x="237" y="668"/>
                    <a:pt x="237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6" y="668"/>
                    <a:pt x="236" y="668"/>
                    <a:pt x="236" y="668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0" y="671"/>
                    <a:pt x="230" y="671"/>
                    <a:pt x="230" y="671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2"/>
                    <a:pt x="231" y="672"/>
                    <a:pt x="231" y="672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1" y="673"/>
                    <a:pt x="231" y="673"/>
                    <a:pt x="231" y="673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4"/>
                    <a:pt x="232" y="674"/>
                    <a:pt x="232" y="674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5"/>
                    <a:pt x="232" y="675"/>
                    <a:pt x="232" y="675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2" y="677"/>
                    <a:pt x="232" y="677"/>
                    <a:pt x="232" y="677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33" y="678"/>
                    <a:pt x="233" y="678"/>
                    <a:pt x="233" y="678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5" y="675"/>
                    <a:pt x="245" y="675"/>
                    <a:pt x="245" y="675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6"/>
                    <a:pt x="246" y="676"/>
                    <a:pt x="246" y="676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6" y="677"/>
                    <a:pt x="246" y="677"/>
                    <a:pt x="246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7"/>
                    <a:pt x="247" y="677"/>
                    <a:pt x="247" y="677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8"/>
                    <a:pt x="247" y="678"/>
                    <a:pt x="247" y="678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79"/>
                    <a:pt x="247" y="679"/>
                    <a:pt x="247" y="679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0"/>
                    <a:pt x="247" y="680"/>
                    <a:pt x="247" y="680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7" y="681"/>
                    <a:pt x="247" y="681"/>
                    <a:pt x="247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6" y="681"/>
                    <a:pt x="246" y="681"/>
                    <a:pt x="246" y="681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5" y="682"/>
                    <a:pt x="245" y="682"/>
                    <a:pt x="245" y="682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3"/>
                    <a:pt x="244" y="683"/>
                    <a:pt x="244" y="683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4" y="684"/>
                    <a:pt x="244" y="684"/>
                    <a:pt x="244" y="684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3" y="685"/>
                    <a:pt x="243" y="685"/>
                    <a:pt x="243" y="685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6"/>
                    <a:pt x="242" y="686"/>
                    <a:pt x="242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41" y="688"/>
                    <a:pt x="241" y="688"/>
                    <a:pt x="241" y="688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32" y="699"/>
                    <a:pt x="232" y="699"/>
                    <a:pt x="232" y="69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1" y="679"/>
                    <a:pt x="241" y="679"/>
                    <a:pt x="241" y="679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40" y="678"/>
                    <a:pt x="240" y="678"/>
                    <a:pt x="240" y="678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3" y="682"/>
                    <a:pt x="233" y="682"/>
                    <a:pt x="233" y="682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4" y="683"/>
                    <a:pt x="234" y="683"/>
                    <a:pt x="234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5" y="683"/>
                    <a:pt x="235" y="683"/>
                    <a:pt x="235" y="683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6" y="684"/>
                    <a:pt x="236" y="684"/>
                    <a:pt x="236" y="684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5" y="685"/>
                    <a:pt x="235" y="685"/>
                    <a:pt x="235" y="685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3" y="686"/>
                    <a:pt x="233" y="686"/>
                    <a:pt x="233" y="686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2" y="687"/>
                    <a:pt x="232" y="687"/>
                    <a:pt x="232" y="687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30" y="688"/>
                    <a:pt x="230" y="688"/>
                    <a:pt x="230" y="688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9" y="689"/>
                    <a:pt x="229" y="689"/>
                    <a:pt x="229" y="689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8" y="690"/>
                    <a:pt x="228" y="690"/>
                    <a:pt x="228" y="690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7" y="692"/>
                    <a:pt x="227" y="692"/>
                    <a:pt x="227" y="692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4"/>
                    <a:pt x="228" y="694"/>
                    <a:pt x="228" y="694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8" y="695"/>
                    <a:pt x="228" y="695"/>
                    <a:pt x="228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29" y="695"/>
                    <a:pt x="229" y="695"/>
                    <a:pt x="229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30" y="695"/>
                    <a:pt x="230" y="695"/>
                    <a:pt x="230" y="695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20" y="703"/>
                    <a:pt x="220" y="703"/>
                    <a:pt x="220" y="703"/>
                  </a:cubicBezTo>
                  <a:cubicBezTo>
                    <a:pt x="215" y="706"/>
                    <a:pt x="215" y="706"/>
                    <a:pt x="215" y="706"/>
                  </a:cubicBezTo>
                  <a:cubicBezTo>
                    <a:pt x="214" y="707"/>
                    <a:pt x="214" y="707"/>
                    <a:pt x="214" y="707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1"/>
                    <a:pt x="208" y="711"/>
                    <a:pt x="208" y="711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2"/>
                    <a:pt x="208" y="712"/>
                    <a:pt x="208" y="712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8" y="713"/>
                    <a:pt x="208" y="713"/>
                    <a:pt x="208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09" y="713"/>
                    <a:pt x="209" y="713"/>
                    <a:pt x="209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0" y="713"/>
                    <a:pt x="210" y="713"/>
                    <a:pt x="210" y="713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1" y="712"/>
                    <a:pt x="211" y="712"/>
                    <a:pt x="211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2" y="712"/>
                    <a:pt x="212" y="712"/>
                    <a:pt x="212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3" y="712"/>
                    <a:pt x="213" y="712"/>
                    <a:pt x="213" y="712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1"/>
                    <a:pt x="214" y="711"/>
                    <a:pt x="214" y="711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14" y="710"/>
                    <a:pt x="214" y="710"/>
                    <a:pt x="214" y="710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21" y="707"/>
                    <a:pt x="221" y="707"/>
                    <a:pt x="221" y="707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9" y="709"/>
                    <a:pt x="219" y="709"/>
                    <a:pt x="219" y="709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7" y="710"/>
                    <a:pt x="217" y="710"/>
                    <a:pt x="217" y="710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5" y="712"/>
                    <a:pt x="215" y="712"/>
                    <a:pt x="215" y="712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4" y="713"/>
                    <a:pt x="214" y="713"/>
                    <a:pt x="214" y="713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2" y="715"/>
                    <a:pt x="212" y="715"/>
                    <a:pt x="212" y="715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10" y="716"/>
                    <a:pt x="210" y="716"/>
                    <a:pt x="210" y="716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8" y="717"/>
                    <a:pt x="208" y="717"/>
                    <a:pt x="208" y="717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6" y="719"/>
                    <a:pt x="206" y="719"/>
                    <a:pt x="206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5" y="719"/>
                    <a:pt x="205" y="719"/>
                    <a:pt x="205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4" y="719"/>
                    <a:pt x="204" y="719"/>
                    <a:pt x="204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9"/>
                    <a:pt x="203" y="719"/>
                    <a:pt x="203" y="719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8"/>
                    <a:pt x="203" y="718"/>
                    <a:pt x="203" y="718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3" y="717"/>
                    <a:pt x="203" y="717"/>
                    <a:pt x="203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7"/>
                    <a:pt x="202" y="717"/>
                    <a:pt x="202" y="717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2" y="716"/>
                    <a:pt x="202" y="716"/>
                    <a:pt x="202" y="716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5"/>
                    <a:pt x="201" y="715"/>
                    <a:pt x="201" y="715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1" y="714"/>
                    <a:pt x="201" y="714"/>
                    <a:pt x="201" y="714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02" y="713"/>
                    <a:pt x="202" y="713"/>
                    <a:pt x="202" y="713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5" y="705"/>
                    <a:pt x="215" y="705"/>
                    <a:pt x="215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5"/>
                    <a:pt x="216" y="705"/>
                    <a:pt x="216" y="705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6" y="704"/>
                    <a:pt x="216" y="704"/>
                    <a:pt x="216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4"/>
                    <a:pt x="217" y="704"/>
                    <a:pt x="217" y="704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3"/>
                    <a:pt x="217" y="703"/>
                    <a:pt x="217" y="703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7" y="702"/>
                    <a:pt x="217" y="702"/>
                    <a:pt x="217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5" y="701"/>
                    <a:pt x="215" y="701"/>
                    <a:pt x="215" y="701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700"/>
                    <a:pt x="214" y="700"/>
                    <a:pt x="214" y="700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9"/>
                    <a:pt x="214" y="699"/>
                  </a:cubicBezTo>
                  <a:cubicBezTo>
                    <a:pt x="214" y="699"/>
                    <a:pt x="214" y="698"/>
                    <a:pt x="214" y="698"/>
                  </a:cubicBezTo>
                  <a:cubicBezTo>
                    <a:pt x="214" y="698"/>
                    <a:pt x="214" y="698"/>
                    <a:pt x="214" y="698"/>
                  </a:cubicBezTo>
                  <a:cubicBezTo>
                    <a:pt x="213" y="698"/>
                    <a:pt x="213" y="698"/>
                    <a:pt x="213" y="697"/>
                  </a:cubicBezTo>
                  <a:cubicBezTo>
                    <a:pt x="213" y="697"/>
                    <a:pt x="213" y="697"/>
                    <a:pt x="213" y="697"/>
                  </a:cubicBezTo>
                  <a:cubicBezTo>
                    <a:pt x="213" y="696"/>
                    <a:pt x="213" y="696"/>
                    <a:pt x="213" y="695"/>
                  </a:cubicBezTo>
                  <a:cubicBezTo>
                    <a:pt x="213" y="695"/>
                    <a:pt x="213" y="695"/>
                    <a:pt x="213" y="695"/>
                  </a:cubicBezTo>
                  <a:cubicBezTo>
                    <a:pt x="213" y="693"/>
                    <a:pt x="213" y="691"/>
                    <a:pt x="213" y="689"/>
                  </a:cubicBezTo>
                  <a:cubicBezTo>
                    <a:pt x="213" y="689"/>
                    <a:pt x="213" y="689"/>
                    <a:pt x="213" y="689"/>
                  </a:cubicBezTo>
                  <a:cubicBezTo>
                    <a:pt x="213" y="688"/>
                    <a:pt x="213" y="688"/>
                    <a:pt x="214" y="687"/>
                  </a:cubicBezTo>
                  <a:cubicBezTo>
                    <a:pt x="214" y="687"/>
                    <a:pt x="214" y="687"/>
                    <a:pt x="214" y="687"/>
                  </a:cubicBezTo>
                  <a:cubicBezTo>
                    <a:pt x="214" y="686"/>
                    <a:pt x="214" y="685"/>
                    <a:pt x="215" y="684"/>
                  </a:cubicBezTo>
                  <a:cubicBezTo>
                    <a:pt x="215" y="684"/>
                    <a:pt x="215" y="684"/>
                    <a:pt x="215" y="684"/>
                  </a:cubicBezTo>
                  <a:cubicBezTo>
                    <a:pt x="215" y="684"/>
                    <a:pt x="216" y="683"/>
                    <a:pt x="216" y="682"/>
                  </a:cubicBezTo>
                  <a:cubicBezTo>
                    <a:pt x="216" y="682"/>
                    <a:pt x="216" y="682"/>
                    <a:pt x="216" y="682"/>
                  </a:cubicBezTo>
                  <a:cubicBezTo>
                    <a:pt x="217" y="681"/>
                    <a:pt x="217" y="680"/>
                    <a:pt x="218" y="679"/>
                  </a:cubicBezTo>
                  <a:cubicBezTo>
                    <a:pt x="218" y="679"/>
                    <a:pt x="218" y="679"/>
                    <a:pt x="218" y="679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9" y="677"/>
                    <a:pt x="219" y="677"/>
                    <a:pt x="219" y="677"/>
                  </a:cubicBezTo>
                  <a:cubicBezTo>
                    <a:pt x="216" y="679"/>
                    <a:pt x="213" y="681"/>
                    <a:pt x="210" y="683"/>
                  </a:cubicBezTo>
                  <a:cubicBezTo>
                    <a:pt x="210" y="683"/>
                    <a:pt x="210" y="683"/>
                    <a:pt x="210" y="683"/>
                  </a:cubicBezTo>
                  <a:cubicBezTo>
                    <a:pt x="209" y="684"/>
                    <a:pt x="208" y="684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7" y="683"/>
                    <a:pt x="207" y="683"/>
                    <a:pt x="207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3"/>
                    <a:pt x="206" y="683"/>
                  </a:cubicBezTo>
                  <a:cubicBezTo>
                    <a:pt x="206" y="683"/>
                    <a:pt x="206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5" y="682"/>
                    <a:pt x="205" y="682"/>
                    <a:pt x="205" y="682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4" y="681"/>
                    <a:pt x="204" y="681"/>
                    <a:pt x="204" y="681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80"/>
                  </a:cubicBezTo>
                  <a:cubicBezTo>
                    <a:pt x="202" y="680"/>
                    <a:pt x="202" y="680"/>
                    <a:pt x="202" y="679"/>
                  </a:cubicBezTo>
                  <a:cubicBezTo>
                    <a:pt x="202" y="679"/>
                    <a:pt x="202" y="679"/>
                    <a:pt x="202" y="679"/>
                  </a:cubicBezTo>
                  <a:cubicBezTo>
                    <a:pt x="202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1" y="680"/>
                    <a:pt x="201" y="680"/>
                  </a:cubicBezTo>
                  <a:cubicBezTo>
                    <a:pt x="201" y="680"/>
                    <a:pt x="200" y="680"/>
                    <a:pt x="200" y="680"/>
                  </a:cubicBezTo>
                  <a:cubicBezTo>
                    <a:pt x="200" y="680"/>
                    <a:pt x="200" y="680"/>
                    <a:pt x="200" y="680"/>
                  </a:cubicBezTo>
                  <a:cubicBezTo>
                    <a:pt x="200" y="680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1"/>
                    <a:pt x="200" y="681"/>
                    <a:pt x="200" y="681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200" y="682"/>
                    <a:pt x="200" y="682"/>
                  </a:cubicBezTo>
                  <a:cubicBezTo>
                    <a:pt x="200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93" y="692"/>
                    <a:pt x="193" y="692"/>
                    <a:pt x="193" y="692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86" y="705"/>
                    <a:pt x="186" y="705"/>
                    <a:pt x="186" y="705"/>
                  </a:cubicBezTo>
                  <a:cubicBezTo>
                    <a:pt x="176" y="724"/>
                    <a:pt x="176" y="724"/>
                    <a:pt x="176" y="724"/>
                  </a:cubicBezTo>
                  <a:close/>
                  <a:moveTo>
                    <a:pt x="425" y="723"/>
                  </a:move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4" y="722"/>
                    <a:pt x="424" y="722"/>
                    <a:pt x="424" y="722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1"/>
                    <a:pt x="423" y="721"/>
                    <a:pt x="423" y="721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20"/>
                    <a:pt x="423" y="720"/>
                    <a:pt x="423" y="720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9"/>
                    <a:pt x="423" y="719"/>
                    <a:pt x="423" y="719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3" y="718"/>
                    <a:pt x="423" y="718"/>
                    <a:pt x="423" y="718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5" y="716"/>
                    <a:pt x="425" y="716"/>
                    <a:pt x="425" y="716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7" y="715"/>
                    <a:pt x="427" y="715"/>
                    <a:pt x="427" y="715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28" y="714"/>
                    <a:pt x="428" y="714"/>
                    <a:pt x="428" y="714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0" y="713"/>
                    <a:pt x="430" y="713"/>
                    <a:pt x="430" y="713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1" y="712"/>
                    <a:pt x="431" y="712"/>
                    <a:pt x="431" y="712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3" y="711"/>
                    <a:pt x="433" y="711"/>
                    <a:pt x="433" y="711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4" y="710"/>
                    <a:pt x="434" y="710"/>
                    <a:pt x="434" y="710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36" y="709"/>
                    <a:pt x="436" y="709"/>
                    <a:pt x="436" y="709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2" y="704"/>
                    <a:pt x="442" y="704"/>
                    <a:pt x="442" y="704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3" y="703"/>
                    <a:pt x="443" y="703"/>
                    <a:pt x="443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3"/>
                    <a:pt x="444" y="703"/>
                    <a:pt x="444" y="703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4" y="702"/>
                    <a:pt x="444" y="702"/>
                    <a:pt x="444" y="702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5" y="700"/>
                    <a:pt x="445" y="700"/>
                    <a:pt x="445" y="700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9"/>
                    <a:pt x="446" y="699"/>
                    <a:pt x="446" y="699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8"/>
                    <a:pt x="446" y="698"/>
                    <a:pt x="446" y="698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7"/>
                    <a:pt x="446" y="697"/>
                    <a:pt x="446" y="697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6" y="696"/>
                    <a:pt x="446" y="696"/>
                    <a:pt x="446" y="696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5"/>
                    <a:pt x="444" y="695"/>
                    <a:pt x="444" y="695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6"/>
                    <a:pt x="444" y="696"/>
                    <a:pt x="444" y="696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4" y="697"/>
                    <a:pt x="444" y="697"/>
                    <a:pt x="444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7"/>
                    <a:pt x="443" y="697"/>
                    <a:pt x="443" y="697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3" y="698"/>
                    <a:pt x="443" y="698"/>
                    <a:pt x="443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2" y="698"/>
                    <a:pt x="442" y="698"/>
                    <a:pt x="442" y="698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1" y="699"/>
                    <a:pt x="441" y="699"/>
                    <a:pt x="441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40" y="699"/>
                    <a:pt x="440" y="699"/>
                    <a:pt x="440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9" y="699"/>
                    <a:pt x="439" y="699"/>
                    <a:pt x="439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8" y="699"/>
                    <a:pt x="438" y="699"/>
                    <a:pt x="438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7" y="699"/>
                    <a:pt x="437" y="699"/>
                    <a:pt x="437" y="699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8"/>
                    <a:pt x="436" y="698"/>
                    <a:pt x="436" y="698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7"/>
                    <a:pt x="436" y="697"/>
                    <a:pt x="436" y="697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36" y="696"/>
                    <a:pt x="436" y="696"/>
                    <a:pt x="436" y="696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3" y="692"/>
                    <a:pt x="443" y="692"/>
                    <a:pt x="443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2"/>
                    <a:pt x="442" y="692"/>
                    <a:pt x="442" y="692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1"/>
                    <a:pt x="442" y="691"/>
                    <a:pt x="442" y="691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2" y="690"/>
                    <a:pt x="442" y="690"/>
                    <a:pt x="442" y="690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9"/>
                    <a:pt x="443" y="689"/>
                    <a:pt x="443" y="689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3" y="688"/>
                    <a:pt x="443" y="688"/>
                    <a:pt x="443" y="688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7"/>
                    <a:pt x="444" y="687"/>
                    <a:pt x="444" y="687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6"/>
                    <a:pt x="444" y="686"/>
                    <a:pt x="444" y="686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4" y="685"/>
                    <a:pt x="444" y="685"/>
                    <a:pt x="444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3" y="685"/>
                    <a:pt x="443" y="685"/>
                    <a:pt x="443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2" y="685"/>
                    <a:pt x="442" y="685"/>
                    <a:pt x="442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1" y="685"/>
                    <a:pt x="441" y="685"/>
                    <a:pt x="441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40" y="685"/>
                    <a:pt x="440" y="685"/>
                    <a:pt x="440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9" y="686"/>
                    <a:pt x="439" y="686"/>
                    <a:pt x="439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8" y="686"/>
                    <a:pt x="438" y="686"/>
                    <a:pt x="438" y="686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39" y="685"/>
                    <a:pt x="439" y="685"/>
                    <a:pt x="439" y="685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0" y="684"/>
                    <a:pt x="440" y="684"/>
                    <a:pt x="440" y="684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1" y="683"/>
                    <a:pt x="441" y="683"/>
                    <a:pt x="441" y="683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3" y="682"/>
                    <a:pt x="443" y="682"/>
                    <a:pt x="443" y="682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5" y="681"/>
                    <a:pt x="445" y="681"/>
                    <a:pt x="445" y="681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6" y="680"/>
                    <a:pt x="446" y="680"/>
                    <a:pt x="446" y="680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8" y="679"/>
                    <a:pt x="448" y="679"/>
                    <a:pt x="448" y="679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49" y="678"/>
                    <a:pt x="449" y="678"/>
                    <a:pt x="449" y="678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0" y="677"/>
                    <a:pt x="450" y="677"/>
                    <a:pt x="450" y="677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1" y="676"/>
                    <a:pt x="451" y="676"/>
                    <a:pt x="451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5"/>
                    <a:pt x="454" y="675"/>
                    <a:pt x="454" y="675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4" y="674"/>
                    <a:pt x="454" y="674"/>
                    <a:pt x="454" y="674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2"/>
                    <a:pt x="455" y="672"/>
                    <a:pt x="455" y="672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5" y="671"/>
                    <a:pt x="455" y="671"/>
                    <a:pt x="455" y="671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6" y="670"/>
                    <a:pt x="456" y="670"/>
                    <a:pt x="456" y="670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5" y="669"/>
                    <a:pt x="455" y="669"/>
                  </a:cubicBezTo>
                  <a:cubicBezTo>
                    <a:pt x="455" y="669"/>
                    <a:pt x="454" y="668"/>
                    <a:pt x="454" y="668"/>
                  </a:cubicBezTo>
                  <a:cubicBezTo>
                    <a:pt x="454" y="668"/>
                    <a:pt x="454" y="668"/>
                    <a:pt x="454" y="668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4" y="667"/>
                    <a:pt x="454" y="667"/>
                    <a:pt x="454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3" y="667"/>
                    <a:pt x="453" y="667"/>
                    <a:pt x="453" y="667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1" y="669"/>
                    <a:pt x="451" y="669"/>
                    <a:pt x="451" y="669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50" y="670"/>
                    <a:pt x="450" y="670"/>
                    <a:pt x="450" y="670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8" y="672"/>
                    <a:pt x="448" y="672"/>
                    <a:pt x="448" y="672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7" y="673"/>
                    <a:pt x="447" y="673"/>
                    <a:pt x="447" y="673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5" y="674"/>
                    <a:pt x="445" y="674"/>
                    <a:pt x="445" y="674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4" y="675"/>
                    <a:pt x="444" y="675"/>
                    <a:pt x="444" y="675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2" y="676"/>
                    <a:pt x="442" y="676"/>
                    <a:pt x="442" y="676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5"/>
                    <a:pt x="440" y="675"/>
                    <a:pt x="440" y="675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4"/>
                    <a:pt x="440" y="674"/>
                    <a:pt x="440" y="674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0" y="673"/>
                    <a:pt x="440" y="673"/>
                    <a:pt x="440" y="673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2"/>
                    <a:pt x="441" y="672"/>
                    <a:pt x="441" y="672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1"/>
                    <a:pt x="441" y="671"/>
                    <a:pt x="441" y="671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70"/>
                    <a:pt x="441" y="670"/>
                    <a:pt x="441" y="670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9"/>
                    <a:pt x="441" y="669"/>
                    <a:pt x="441" y="669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41" y="668"/>
                    <a:pt x="441" y="668"/>
                    <a:pt x="441" y="668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35" y="671"/>
                    <a:pt x="435" y="671"/>
                    <a:pt x="435" y="671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8" y="676"/>
                    <a:pt x="428" y="676"/>
                    <a:pt x="428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6" y="676"/>
                    <a:pt x="426" y="676"/>
                    <a:pt x="426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5" y="676"/>
                    <a:pt x="425" y="676"/>
                    <a:pt x="425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4" y="676"/>
                    <a:pt x="424" y="676"/>
                    <a:pt x="424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2" y="676"/>
                    <a:pt x="422" y="676"/>
                    <a:pt x="422" y="676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1" y="675"/>
                    <a:pt x="421" y="675"/>
                    <a:pt x="421" y="675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20" y="674"/>
                    <a:pt x="420" y="674"/>
                    <a:pt x="420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8" y="674"/>
                    <a:pt x="418" y="674"/>
                    <a:pt x="418" y="674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3"/>
                    <a:pt x="417" y="673"/>
                    <a:pt x="417" y="673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7" y="672"/>
                    <a:pt x="417" y="672"/>
                    <a:pt x="417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2"/>
                    <a:pt x="416" y="672"/>
                    <a:pt x="416" y="672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1"/>
                    <a:pt x="416" y="671"/>
                    <a:pt x="416" y="671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6" y="670"/>
                    <a:pt x="416" y="670"/>
                    <a:pt x="416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7" y="670"/>
                    <a:pt x="417" y="670"/>
                    <a:pt x="417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19" y="670"/>
                    <a:pt x="419" y="670"/>
                    <a:pt x="419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0" y="670"/>
                    <a:pt x="420" y="670"/>
                    <a:pt x="420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1" y="670"/>
                    <a:pt x="421" y="670"/>
                    <a:pt x="421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2" y="670"/>
                    <a:pt x="422" y="670"/>
                    <a:pt x="422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3" y="670"/>
                    <a:pt x="423" y="670"/>
                    <a:pt x="423" y="670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5" y="669"/>
                    <a:pt x="425" y="669"/>
                    <a:pt x="425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6" y="669"/>
                    <a:pt x="426" y="669"/>
                    <a:pt x="426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8" y="669"/>
                    <a:pt x="428" y="669"/>
                    <a:pt x="428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29" y="669"/>
                    <a:pt x="429" y="669"/>
                    <a:pt x="429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1" y="669"/>
                    <a:pt x="431" y="669"/>
                    <a:pt x="431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2" y="669"/>
                    <a:pt x="432" y="669"/>
                    <a:pt x="432" y="669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4" y="668"/>
                    <a:pt x="434" y="668"/>
                    <a:pt x="434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5" y="668"/>
                    <a:pt x="435" y="668"/>
                    <a:pt x="435" y="668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37" y="667"/>
                    <a:pt x="437" y="667"/>
                    <a:pt x="437" y="667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9" y="661"/>
                    <a:pt x="449" y="661"/>
                    <a:pt x="449" y="661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8" y="660"/>
                    <a:pt x="448" y="660"/>
                    <a:pt x="448" y="660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7" y="659"/>
                    <a:pt x="447" y="659"/>
                    <a:pt x="447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6" y="659"/>
                    <a:pt x="446" y="659"/>
                    <a:pt x="446" y="659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8"/>
                    <a:pt x="445" y="658"/>
                    <a:pt x="445" y="658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7"/>
                    <a:pt x="445" y="657"/>
                    <a:pt x="445" y="657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6"/>
                    <a:pt x="445" y="656"/>
                    <a:pt x="445" y="656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5"/>
                    <a:pt x="445" y="655"/>
                    <a:pt x="445" y="655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4"/>
                    <a:pt x="445" y="654"/>
                    <a:pt x="445" y="654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4" y="653"/>
                    <a:pt x="444" y="653"/>
                    <a:pt x="444" y="653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3" y="654"/>
                    <a:pt x="443" y="654"/>
                    <a:pt x="443" y="654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2" y="655"/>
                    <a:pt x="442" y="655"/>
                    <a:pt x="442" y="655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1" y="656"/>
                    <a:pt x="441" y="656"/>
                    <a:pt x="441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40" y="656"/>
                    <a:pt x="440" y="656"/>
                    <a:pt x="440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9" y="656"/>
                    <a:pt x="439" y="656"/>
                    <a:pt x="439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8" y="656"/>
                    <a:pt x="438" y="656"/>
                    <a:pt x="438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7" y="656"/>
                    <a:pt x="437" y="656"/>
                    <a:pt x="437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6"/>
                    <a:pt x="436" y="656"/>
                    <a:pt x="436" y="656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5"/>
                    <a:pt x="436" y="655"/>
                    <a:pt x="436" y="655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6" y="654"/>
                    <a:pt x="436" y="654"/>
                    <a:pt x="436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4"/>
                    <a:pt x="435" y="654"/>
                    <a:pt x="435" y="654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5" y="652"/>
                    <a:pt x="435" y="652"/>
                    <a:pt x="435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2"/>
                    <a:pt x="434" y="652"/>
                    <a:pt x="434" y="652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4" y="651"/>
                    <a:pt x="434" y="651"/>
                    <a:pt x="434" y="651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5" y="650"/>
                    <a:pt x="435" y="650"/>
                    <a:pt x="435" y="650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6" y="650"/>
                    <a:pt x="436" y="650"/>
                    <a:pt x="436" y="650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7" y="651"/>
                    <a:pt x="437" y="651"/>
                    <a:pt x="437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8" y="651"/>
                    <a:pt x="438" y="651"/>
                    <a:pt x="438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39" y="651"/>
                    <a:pt x="439" y="651"/>
                    <a:pt x="439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0" y="651"/>
                    <a:pt x="440" y="651"/>
                    <a:pt x="440" y="651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1" y="650"/>
                    <a:pt x="441" y="650"/>
                    <a:pt x="441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2" y="650"/>
                    <a:pt x="442" y="650"/>
                    <a:pt x="442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3" y="650"/>
                    <a:pt x="443" y="650"/>
                    <a:pt x="443" y="650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4" y="649"/>
                    <a:pt x="444" y="649"/>
                    <a:pt x="444" y="649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5" y="640"/>
                    <a:pt x="445" y="640"/>
                    <a:pt x="445" y="640"/>
                  </a:cubicBezTo>
                  <a:cubicBezTo>
                    <a:pt x="445" y="639"/>
                    <a:pt x="445" y="639"/>
                    <a:pt x="445" y="639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3"/>
                    <a:pt x="445" y="633"/>
                    <a:pt x="445" y="633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6" y="634"/>
                    <a:pt x="446" y="634"/>
                    <a:pt x="446" y="634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7" y="635"/>
                    <a:pt x="447" y="635"/>
                    <a:pt x="447" y="635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8" y="636"/>
                    <a:pt x="448" y="636"/>
                    <a:pt x="448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6"/>
                    <a:pt x="449" y="636"/>
                    <a:pt x="449" y="636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49" y="637"/>
                    <a:pt x="449" y="637"/>
                    <a:pt x="449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0" y="637"/>
                    <a:pt x="450" y="637"/>
                    <a:pt x="450" y="637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39"/>
                    <a:pt x="451" y="639"/>
                    <a:pt x="451" y="639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0"/>
                    <a:pt x="451" y="640"/>
                    <a:pt x="451" y="640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1" y="642"/>
                    <a:pt x="451" y="642"/>
                    <a:pt x="451" y="642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4"/>
                    <a:pt x="450" y="644"/>
                    <a:pt x="450" y="644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6"/>
                    <a:pt x="450" y="646"/>
                    <a:pt x="450" y="646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8"/>
                    <a:pt x="450" y="648"/>
                    <a:pt x="450" y="648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0" y="649"/>
                    <a:pt x="450" y="649"/>
                    <a:pt x="450" y="649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1" y="650"/>
                    <a:pt x="451" y="650"/>
                    <a:pt x="451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2" y="650"/>
                    <a:pt x="452" y="650"/>
                    <a:pt x="452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50"/>
                    <a:pt x="453" y="650"/>
                    <a:pt x="453" y="650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9"/>
                    <a:pt x="453" y="649"/>
                    <a:pt x="453" y="649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3" y="648"/>
                    <a:pt x="453" y="648"/>
                    <a:pt x="453" y="648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4" y="647"/>
                    <a:pt x="454" y="647"/>
                    <a:pt x="454" y="647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6"/>
                    <a:pt x="453" y="646"/>
                    <a:pt x="453" y="646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5"/>
                    <a:pt x="453" y="645"/>
                    <a:pt x="453" y="645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4"/>
                    <a:pt x="453" y="644"/>
                    <a:pt x="453" y="644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3" y="643"/>
                    <a:pt x="453" y="643"/>
                    <a:pt x="453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4" y="643"/>
                    <a:pt x="454" y="643"/>
                    <a:pt x="454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3"/>
                    <a:pt x="455" y="643"/>
                    <a:pt x="455" y="643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5" y="644"/>
                    <a:pt x="455" y="644"/>
                    <a:pt x="455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6" y="644"/>
                    <a:pt x="456" y="644"/>
                    <a:pt x="456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58" y="644"/>
                    <a:pt x="458" y="644"/>
                    <a:pt x="458" y="644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60" y="640"/>
                    <a:pt x="460" y="640"/>
                    <a:pt x="460" y="640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5" y="652"/>
                    <a:pt x="455" y="652"/>
                    <a:pt x="455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4" y="652"/>
                    <a:pt x="454" y="652"/>
                    <a:pt x="454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3" y="652"/>
                    <a:pt x="453" y="652"/>
                    <a:pt x="453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2" y="652"/>
                    <a:pt x="452" y="652"/>
                    <a:pt x="452" y="652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3"/>
                    <a:pt x="451" y="653"/>
                    <a:pt x="451" y="653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1" y="654"/>
                    <a:pt x="451" y="654"/>
                    <a:pt x="451" y="654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5"/>
                    <a:pt x="450" y="655"/>
                    <a:pt x="450" y="655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6"/>
                    <a:pt x="450" y="656"/>
                    <a:pt x="450" y="656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8"/>
                    <a:pt x="450" y="658"/>
                    <a:pt x="450" y="658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59"/>
                    <a:pt x="450" y="659"/>
                    <a:pt x="450" y="659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0" y="660"/>
                    <a:pt x="450" y="660"/>
                    <a:pt x="450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51" y="660"/>
                    <a:pt x="451" y="660"/>
                    <a:pt x="451" y="660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0" y="656"/>
                    <a:pt x="460" y="656"/>
                    <a:pt x="460" y="656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2"/>
                    <a:pt x="464" y="632"/>
                    <a:pt x="464" y="632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4" y="631"/>
                    <a:pt x="464" y="631"/>
                    <a:pt x="464" y="631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30"/>
                    <a:pt x="463" y="630"/>
                    <a:pt x="463" y="630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9"/>
                    <a:pt x="463" y="629"/>
                    <a:pt x="463" y="629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8"/>
                    <a:pt x="463" y="628"/>
                    <a:pt x="463" y="628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7"/>
                    <a:pt x="463" y="627"/>
                    <a:pt x="463" y="627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3" y="626"/>
                    <a:pt x="463" y="626"/>
                    <a:pt x="463" y="626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5"/>
                    <a:pt x="464" y="625"/>
                    <a:pt x="464" y="625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4" y="626"/>
                    <a:pt x="464" y="626"/>
                    <a:pt x="464" y="626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5" y="625"/>
                    <a:pt x="465" y="625"/>
                    <a:pt x="465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6" y="625"/>
                    <a:pt x="466" y="625"/>
                    <a:pt x="466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7" y="625"/>
                    <a:pt x="467" y="625"/>
                    <a:pt x="467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8" y="625"/>
                    <a:pt x="468" y="625"/>
                    <a:pt x="468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5"/>
                    <a:pt x="469" y="625"/>
                    <a:pt x="469" y="625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9" y="629"/>
                    <a:pt x="469" y="629"/>
                    <a:pt x="469" y="629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8" y="632"/>
                    <a:pt x="468" y="632"/>
                    <a:pt x="468" y="632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6"/>
                    <a:pt x="467" y="636"/>
                    <a:pt x="467" y="636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7" y="639"/>
                    <a:pt x="467" y="639"/>
                    <a:pt x="467" y="639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3"/>
                    <a:pt x="465" y="643"/>
                    <a:pt x="465" y="643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5" y="647"/>
                    <a:pt x="465" y="647"/>
                    <a:pt x="465" y="647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0"/>
                    <a:pt x="464" y="650"/>
                    <a:pt x="464" y="650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4" y="652"/>
                    <a:pt x="474" y="652"/>
                    <a:pt x="474" y="652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7" y="658"/>
                    <a:pt x="477" y="658"/>
                    <a:pt x="477" y="658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5" y="657"/>
                    <a:pt x="475" y="657"/>
                    <a:pt x="475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3" y="657"/>
                    <a:pt x="473" y="657"/>
                    <a:pt x="473" y="657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71" y="656"/>
                    <a:pt x="471" y="656"/>
                    <a:pt x="471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9" y="656"/>
                    <a:pt x="469" y="656"/>
                    <a:pt x="469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7" y="656"/>
                    <a:pt x="467" y="656"/>
                    <a:pt x="467" y="656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5" y="657"/>
                    <a:pt x="465" y="657"/>
                    <a:pt x="465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2" y="657"/>
                    <a:pt x="462" y="657"/>
                    <a:pt x="462" y="657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61" y="658"/>
                    <a:pt x="461" y="658"/>
                    <a:pt x="461" y="658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6" y="666"/>
                    <a:pt x="446" y="666"/>
                    <a:pt x="446" y="666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7"/>
                    <a:pt x="445" y="667"/>
                    <a:pt x="445" y="667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8"/>
                    <a:pt x="445" y="668"/>
                    <a:pt x="445" y="668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69"/>
                    <a:pt x="445" y="669"/>
                    <a:pt x="445" y="669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5" y="670"/>
                    <a:pt x="445" y="670"/>
                    <a:pt x="445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6" y="670"/>
                    <a:pt x="446" y="670"/>
                    <a:pt x="446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6" y="664"/>
                    <a:pt x="456" y="664"/>
                    <a:pt x="456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7" y="664"/>
                    <a:pt x="457" y="664"/>
                    <a:pt x="457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8" y="664"/>
                    <a:pt x="458" y="664"/>
                    <a:pt x="458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59" y="664"/>
                    <a:pt x="459" y="664"/>
                    <a:pt x="459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0" y="664"/>
                    <a:pt x="460" y="664"/>
                    <a:pt x="460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1" y="664"/>
                    <a:pt x="461" y="664"/>
                    <a:pt x="461" y="664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2" y="665"/>
                    <a:pt x="462" y="665"/>
                    <a:pt x="462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3" y="665"/>
                    <a:pt x="463" y="665"/>
                    <a:pt x="463" y="665"/>
                  </a:cubicBezTo>
                  <a:cubicBezTo>
                    <a:pt x="460" y="670"/>
                    <a:pt x="458" y="671"/>
                    <a:pt x="458" y="671"/>
                  </a:cubicBezTo>
                  <a:cubicBezTo>
                    <a:pt x="458" y="671"/>
                    <a:pt x="458" y="671"/>
                    <a:pt x="458" y="671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8" y="672"/>
                    <a:pt x="458" y="672"/>
                    <a:pt x="458" y="672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3"/>
                    <a:pt x="457" y="673"/>
                    <a:pt x="457" y="673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4"/>
                    <a:pt x="457" y="674"/>
                    <a:pt x="457" y="674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5"/>
                    <a:pt x="457" y="675"/>
                    <a:pt x="457" y="675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7" y="676"/>
                    <a:pt x="457" y="676"/>
                    <a:pt x="457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6"/>
                    <a:pt x="458" y="676"/>
                    <a:pt x="458" y="676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7"/>
                    <a:pt x="458" y="677"/>
                    <a:pt x="458" y="677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8"/>
                    <a:pt x="458" y="678"/>
                    <a:pt x="458" y="678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8" y="679"/>
                    <a:pt x="458" y="679"/>
                    <a:pt x="458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7" y="679"/>
                    <a:pt x="457" y="679"/>
                    <a:pt x="457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79"/>
                    <a:pt x="456" y="679"/>
                    <a:pt x="456" y="679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6" y="680"/>
                    <a:pt x="456" y="680"/>
                    <a:pt x="456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0"/>
                    <a:pt x="455" y="680"/>
                    <a:pt x="455" y="680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5" y="681"/>
                    <a:pt x="455" y="681"/>
                    <a:pt x="455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1"/>
                    <a:pt x="454" y="681"/>
                    <a:pt x="454" y="681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4" y="682"/>
                    <a:pt x="454" y="682"/>
                    <a:pt x="454" y="682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5" y="683"/>
                    <a:pt x="455" y="683"/>
                    <a:pt x="455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6" y="683"/>
                    <a:pt x="456" y="683"/>
                    <a:pt x="456" y="683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4"/>
                    <a:pt x="457" y="684"/>
                    <a:pt x="457" y="684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5"/>
                    <a:pt x="457" y="685"/>
                    <a:pt x="457" y="685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7" y="686"/>
                    <a:pt x="457" y="686"/>
                    <a:pt x="457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6"/>
                    <a:pt x="455" y="686"/>
                    <a:pt x="455" y="686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7"/>
                    <a:pt x="455" y="687"/>
                    <a:pt x="455" y="687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5" y="688"/>
                    <a:pt x="455" y="688"/>
                    <a:pt x="455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8"/>
                    <a:pt x="456" y="688"/>
                    <a:pt x="456" y="688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89"/>
                    <a:pt x="456" y="689"/>
                    <a:pt x="456" y="689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6" y="690"/>
                    <a:pt x="456" y="690"/>
                    <a:pt x="456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0"/>
                    <a:pt x="455" y="690"/>
                    <a:pt x="455" y="690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5" y="691"/>
                    <a:pt x="455" y="691"/>
                    <a:pt x="455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4" y="691"/>
                    <a:pt x="454" y="691"/>
                    <a:pt x="454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3" y="691"/>
                    <a:pt x="453" y="691"/>
                    <a:pt x="453" y="691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2" y="692"/>
                    <a:pt x="452" y="692"/>
                    <a:pt x="452" y="69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51" y="712"/>
                    <a:pt x="451" y="712"/>
                    <a:pt x="451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2"/>
                    <a:pt x="449" y="712"/>
                    <a:pt x="449" y="712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9" y="711"/>
                    <a:pt x="449" y="711"/>
                    <a:pt x="449" y="711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8" y="710"/>
                    <a:pt x="448" y="710"/>
                    <a:pt x="448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7" y="710"/>
                    <a:pt x="447" y="710"/>
                    <a:pt x="447" y="710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6" y="709"/>
                    <a:pt x="446" y="709"/>
                    <a:pt x="446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4" y="709"/>
                    <a:pt x="444" y="709"/>
                    <a:pt x="444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3" y="709"/>
                    <a:pt x="443" y="709"/>
                    <a:pt x="443" y="709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2" y="708"/>
                    <a:pt x="442" y="708"/>
                    <a:pt x="442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41" y="708"/>
                    <a:pt x="441" y="708"/>
                    <a:pt x="441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9" y="708"/>
                    <a:pt x="439" y="708"/>
                    <a:pt x="439" y="708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4" y="712"/>
                    <a:pt x="434" y="712"/>
                    <a:pt x="434" y="712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2" y="713"/>
                    <a:pt x="432" y="713"/>
                    <a:pt x="432" y="713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1" y="715"/>
                    <a:pt x="431" y="715"/>
                    <a:pt x="431" y="715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6"/>
                    <a:pt x="430" y="716"/>
                    <a:pt x="430" y="716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30" y="718"/>
                    <a:pt x="430" y="718"/>
                    <a:pt x="430" y="718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8" y="721"/>
                    <a:pt x="428" y="721"/>
                    <a:pt x="428" y="721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7" y="722"/>
                    <a:pt x="427" y="722"/>
                    <a:pt x="427" y="722"/>
                  </a:cubicBezTo>
                  <a:cubicBezTo>
                    <a:pt x="426" y="723"/>
                    <a:pt x="426" y="723"/>
                    <a:pt x="426" y="723"/>
                  </a:cubicBezTo>
                  <a:lnTo>
                    <a:pt x="425" y="723"/>
                  </a:lnTo>
                  <a:close/>
                  <a:moveTo>
                    <a:pt x="270" y="716"/>
                  </a:move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9" y="716"/>
                    <a:pt x="269" y="716"/>
                    <a:pt x="269" y="716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8" y="715"/>
                    <a:pt x="268" y="715"/>
                    <a:pt x="268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5"/>
                    <a:pt x="267" y="715"/>
                    <a:pt x="267" y="715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7" y="714"/>
                    <a:pt x="267" y="714"/>
                    <a:pt x="267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4"/>
                    <a:pt x="266" y="714"/>
                    <a:pt x="266" y="714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6" y="713"/>
                    <a:pt x="266" y="713"/>
                    <a:pt x="266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3"/>
                    <a:pt x="265" y="713"/>
                    <a:pt x="265" y="713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5" y="712"/>
                    <a:pt x="265" y="712"/>
                    <a:pt x="265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2"/>
                    <a:pt x="264" y="712"/>
                    <a:pt x="264" y="712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4" y="711"/>
                    <a:pt x="264" y="711"/>
                    <a:pt x="264" y="711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5" y="710"/>
                    <a:pt x="265" y="710"/>
                    <a:pt x="265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6" y="710"/>
                    <a:pt x="266" y="710"/>
                    <a:pt x="266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7" y="710"/>
                    <a:pt x="267" y="710"/>
                    <a:pt x="267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8" y="710"/>
                    <a:pt x="268" y="710"/>
                    <a:pt x="268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69" y="710"/>
                    <a:pt x="269" y="710"/>
                    <a:pt x="269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1" y="710"/>
                    <a:pt x="271" y="710"/>
                    <a:pt x="271" y="710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2" y="709"/>
                    <a:pt x="272" y="709"/>
                    <a:pt x="272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3" y="709"/>
                    <a:pt x="273" y="709"/>
                    <a:pt x="273" y="709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5" y="708"/>
                    <a:pt x="275" y="708"/>
                    <a:pt x="275" y="708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7" y="707"/>
                    <a:pt x="277" y="707"/>
                    <a:pt x="277" y="707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8" y="706"/>
                    <a:pt x="278" y="706"/>
                    <a:pt x="278" y="706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79" y="705"/>
                    <a:pt x="279" y="705"/>
                    <a:pt x="279" y="705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0" y="704"/>
                    <a:pt x="280" y="704"/>
                    <a:pt x="280" y="704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1" y="703"/>
                    <a:pt x="281" y="703"/>
                    <a:pt x="281" y="703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2" y="701"/>
                    <a:pt x="282" y="701"/>
                    <a:pt x="282" y="701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3" y="700"/>
                    <a:pt x="283" y="700"/>
                    <a:pt x="283" y="700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4" y="701"/>
                    <a:pt x="284" y="701"/>
                    <a:pt x="284" y="701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3" y="703"/>
                    <a:pt x="283" y="703"/>
                    <a:pt x="283" y="703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2" y="704"/>
                    <a:pt x="282" y="704"/>
                    <a:pt x="282" y="704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80" y="706"/>
                    <a:pt x="280" y="706"/>
                    <a:pt x="280" y="706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9" y="707"/>
                    <a:pt x="279" y="707"/>
                    <a:pt x="279" y="707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7" y="709"/>
                    <a:pt x="277" y="709"/>
                    <a:pt x="277" y="709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6" y="711"/>
                    <a:pt x="276" y="711"/>
                    <a:pt x="276" y="711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3"/>
                    <a:pt x="274" y="713"/>
                    <a:pt x="274" y="713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4" y="715"/>
                    <a:pt x="274" y="715"/>
                    <a:pt x="274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3" y="715"/>
                    <a:pt x="273" y="715"/>
                    <a:pt x="273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2" y="715"/>
                    <a:pt x="272" y="715"/>
                    <a:pt x="272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1" y="716"/>
                    <a:pt x="271" y="716"/>
                    <a:pt x="271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ubicBezTo>
                    <a:pt x="270" y="716"/>
                    <a:pt x="270" y="716"/>
                    <a:pt x="270" y="716"/>
                  </a:cubicBezTo>
                  <a:close/>
                  <a:moveTo>
                    <a:pt x="562" y="715"/>
                  </a:moveTo>
                  <a:cubicBezTo>
                    <a:pt x="562" y="715"/>
                    <a:pt x="562" y="715"/>
                    <a:pt x="562" y="715"/>
                  </a:cubicBezTo>
                  <a:cubicBezTo>
                    <a:pt x="562" y="715"/>
                    <a:pt x="562" y="715"/>
                    <a:pt x="562" y="715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1" y="714"/>
                    <a:pt x="561" y="714"/>
                    <a:pt x="561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9" y="713"/>
                    <a:pt x="559" y="713"/>
                    <a:pt x="559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8" y="713"/>
                    <a:pt x="558" y="713"/>
                    <a:pt x="558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713"/>
                    <a:pt x="557" y="713"/>
                    <a:pt x="557" y="713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7" y="698"/>
                    <a:pt x="557" y="698"/>
                    <a:pt x="557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8" y="698"/>
                    <a:pt x="558" y="698"/>
                    <a:pt x="558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698"/>
                    <a:pt x="559" y="698"/>
                    <a:pt x="559" y="698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59" y="700"/>
                    <a:pt x="559" y="700"/>
                    <a:pt x="559" y="700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1" y="702"/>
                    <a:pt x="561" y="702"/>
                    <a:pt x="561" y="702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2" y="704"/>
                    <a:pt x="562" y="704"/>
                    <a:pt x="562" y="704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3" y="706"/>
                    <a:pt x="563" y="706"/>
                    <a:pt x="563" y="706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4" y="708"/>
                    <a:pt x="564" y="708"/>
                    <a:pt x="564" y="708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0"/>
                    <a:pt x="565" y="710"/>
                    <a:pt x="565" y="710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5" y="712"/>
                    <a:pt x="565" y="712"/>
                    <a:pt x="565" y="712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4" y="714"/>
                    <a:pt x="564" y="714"/>
                    <a:pt x="564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4"/>
                    <a:pt x="563" y="714"/>
                    <a:pt x="563" y="714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3" y="715"/>
                    <a:pt x="563" y="715"/>
                    <a:pt x="563" y="715"/>
                  </a:cubicBezTo>
                  <a:cubicBezTo>
                    <a:pt x="562" y="715"/>
                    <a:pt x="562" y="715"/>
                    <a:pt x="562" y="715"/>
                  </a:cubicBezTo>
                  <a:close/>
                  <a:moveTo>
                    <a:pt x="304" y="713"/>
                  </a:moveTo>
                  <a:cubicBezTo>
                    <a:pt x="302" y="712"/>
                    <a:pt x="302" y="712"/>
                    <a:pt x="302" y="712"/>
                  </a:cubicBezTo>
                  <a:cubicBezTo>
                    <a:pt x="302" y="712"/>
                    <a:pt x="302" y="712"/>
                    <a:pt x="302" y="712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1" y="711"/>
                    <a:pt x="301" y="711"/>
                    <a:pt x="301" y="711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300" y="710"/>
                    <a:pt x="300" y="710"/>
                    <a:pt x="300" y="710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8" y="708"/>
                    <a:pt x="298" y="708"/>
                    <a:pt x="298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6" y="708"/>
                    <a:pt x="296" y="708"/>
                    <a:pt x="296" y="708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4" y="707"/>
                    <a:pt x="294" y="707"/>
                    <a:pt x="294" y="707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2" y="706"/>
                    <a:pt x="292" y="706"/>
                    <a:pt x="292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6"/>
                    <a:pt x="291" y="706"/>
                    <a:pt x="291" y="706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1" y="705"/>
                    <a:pt x="291" y="705"/>
                    <a:pt x="291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2" y="705"/>
                    <a:pt x="292" y="705"/>
                    <a:pt x="292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3" y="705"/>
                    <a:pt x="293" y="705"/>
                    <a:pt x="293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5" y="705"/>
                    <a:pt x="295" y="705"/>
                    <a:pt x="295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6" y="705"/>
                    <a:pt x="296" y="705"/>
                    <a:pt x="296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7" y="705"/>
                    <a:pt x="297" y="705"/>
                    <a:pt x="297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8" y="705"/>
                    <a:pt x="298" y="705"/>
                    <a:pt x="298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299" y="705"/>
                    <a:pt x="299" y="705"/>
                    <a:pt x="299" y="705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704"/>
                    <a:pt x="300" y="704"/>
                    <a:pt x="300" y="70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300" y="684"/>
                    <a:pt x="300" y="684"/>
                    <a:pt x="300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9" y="684"/>
                    <a:pt x="299" y="684"/>
                    <a:pt x="299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4"/>
                    <a:pt x="298" y="684"/>
                    <a:pt x="298" y="684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8" y="683"/>
                    <a:pt x="298" y="683"/>
                    <a:pt x="298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3"/>
                    <a:pt x="297" y="683"/>
                    <a:pt x="297" y="683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7" y="682"/>
                    <a:pt x="297" y="682"/>
                    <a:pt x="297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2"/>
                    <a:pt x="296" y="682"/>
                    <a:pt x="296" y="682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6" y="681"/>
                    <a:pt x="296" y="681"/>
                    <a:pt x="296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7" y="681"/>
                    <a:pt x="297" y="681"/>
                    <a:pt x="297" y="681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8" y="680"/>
                    <a:pt x="298" y="680"/>
                    <a:pt x="298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299" y="680"/>
                    <a:pt x="299" y="680"/>
                    <a:pt x="299" y="680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0" y="679"/>
                    <a:pt x="300" y="679"/>
                    <a:pt x="300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1" y="679"/>
                    <a:pt x="301" y="679"/>
                    <a:pt x="301" y="67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2" y="669"/>
                    <a:pt x="302" y="669"/>
                    <a:pt x="302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9"/>
                    <a:pt x="300" y="669"/>
                    <a:pt x="300" y="669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8"/>
                    <a:pt x="300" y="668"/>
                    <a:pt x="300" y="668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7"/>
                    <a:pt x="300" y="667"/>
                    <a:pt x="300" y="667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0" y="666"/>
                    <a:pt x="300" y="666"/>
                    <a:pt x="300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1" y="666"/>
                    <a:pt x="301" y="666"/>
                    <a:pt x="301" y="666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5"/>
                    <a:pt x="302" y="665"/>
                    <a:pt x="302" y="665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4"/>
                    <a:pt x="302" y="664"/>
                    <a:pt x="302" y="664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3"/>
                    <a:pt x="302" y="663"/>
                    <a:pt x="302" y="663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2" y="661"/>
                    <a:pt x="302" y="661"/>
                    <a:pt x="302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1" y="661"/>
                    <a:pt x="301" y="661"/>
                    <a:pt x="301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300" y="661"/>
                    <a:pt x="300" y="661"/>
                    <a:pt x="300" y="661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8" y="663"/>
                    <a:pt x="298" y="663"/>
                    <a:pt x="298" y="663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6" y="664"/>
                    <a:pt x="296" y="664"/>
                    <a:pt x="296" y="664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4" y="667"/>
                    <a:pt x="294" y="667"/>
                    <a:pt x="294" y="667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3" y="668"/>
                    <a:pt x="293" y="668"/>
                    <a:pt x="293" y="668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2" y="671"/>
                    <a:pt x="292" y="671"/>
                    <a:pt x="292" y="671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91" y="673"/>
                    <a:pt x="291" y="673"/>
                    <a:pt x="291" y="673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9" y="675"/>
                    <a:pt x="289" y="675"/>
                    <a:pt x="289" y="675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7" y="677"/>
                    <a:pt x="287" y="677"/>
                    <a:pt x="287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6" y="677"/>
                    <a:pt x="286" y="677"/>
                    <a:pt x="286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7"/>
                    <a:pt x="285" y="677"/>
                    <a:pt x="285" y="677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5" y="676"/>
                    <a:pt x="285" y="676"/>
                    <a:pt x="285" y="676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5"/>
                    <a:pt x="284" y="675"/>
                    <a:pt x="284" y="675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4"/>
                    <a:pt x="284" y="674"/>
                    <a:pt x="284" y="674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4" y="673"/>
                    <a:pt x="284" y="673"/>
                    <a:pt x="284" y="673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5" y="672"/>
                    <a:pt x="285" y="672"/>
                    <a:pt x="285" y="672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6" y="671"/>
                    <a:pt x="286" y="671"/>
                    <a:pt x="286" y="671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70"/>
                    <a:pt x="287" y="670"/>
                    <a:pt x="287" y="670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6"/>
                    <a:pt x="289" y="666"/>
                    <a:pt x="289" y="666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89" y="665"/>
                    <a:pt x="289" y="665"/>
                    <a:pt x="289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5"/>
                    <a:pt x="290" y="665"/>
                    <a:pt x="290" y="665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90" y="666"/>
                    <a:pt x="290" y="666"/>
                    <a:pt x="290" y="666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7"/>
                    <a:pt x="289" y="667"/>
                    <a:pt x="289" y="667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89" y="668"/>
                    <a:pt x="289" y="668"/>
                    <a:pt x="289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0" y="668"/>
                    <a:pt x="290" y="668"/>
                    <a:pt x="290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1" y="668"/>
                    <a:pt x="291" y="668"/>
                    <a:pt x="291" y="668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2" y="667"/>
                    <a:pt x="292" y="667"/>
                    <a:pt x="292" y="667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3" y="666"/>
                    <a:pt x="293" y="666"/>
                    <a:pt x="293" y="666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4" y="665"/>
                    <a:pt x="294" y="665"/>
                    <a:pt x="294" y="665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5" y="663"/>
                    <a:pt x="295" y="663"/>
                    <a:pt x="295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296" y="663"/>
                    <a:pt x="296" y="663"/>
                    <a:pt x="296" y="663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0" y="659"/>
                    <a:pt x="300" y="659"/>
                    <a:pt x="300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9"/>
                    <a:pt x="301" y="659"/>
                    <a:pt x="301" y="659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1" y="658"/>
                    <a:pt x="301" y="658"/>
                    <a:pt x="301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8"/>
                    <a:pt x="302" y="658"/>
                    <a:pt x="302" y="658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7"/>
                    <a:pt x="302" y="657"/>
                    <a:pt x="302" y="657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6"/>
                    <a:pt x="302" y="656"/>
                    <a:pt x="302" y="656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5"/>
                    <a:pt x="302" y="655"/>
                    <a:pt x="302" y="655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302" y="654"/>
                    <a:pt x="302" y="654"/>
                    <a:pt x="302" y="654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296" y="656"/>
                    <a:pt x="296" y="656"/>
                    <a:pt x="296" y="656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1"/>
                    <a:pt x="302" y="651"/>
                    <a:pt x="302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50"/>
                    <a:pt x="303" y="650"/>
                    <a:pt x="303" y="650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9"/>
                    <a:pt x="303" y="649"/>
                    <a:pt x="303" y="649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8"/>
                    <a:pt x="303" y="648"/>
                    <a:pt x="303" y="648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3" y="647"/>
                    <a:pt x="303" y="647"/>
                    <a:pt x="303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302" y="647"/>
                    <a:pt x="302" y="647"/>
                    <a:pt x="302" y="647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6" y="651"/>
                    <a:pt x="296" y="651"/>
                    <a:pt x="296" y="651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5" y="652"/>
                    <a:pt x="295" y="652"/>
                    <a:pt x="295" y="652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4" y="653"/>
                    <a:pt x="294" y="653"/>
                    <a:pt x="294" y="653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3" y="654"/>
                    <a:pt x="293" y="654"/>
                    <a:pt x="293" y="654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2" y="655"/>
                    <a:pt x="292" y="655"/>
                    <a:pt x="292" y="655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90" y="656"/>
                    <a:pt x="290" y="656"/>
                    <a:pt x="290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9" y="656"/>
                    <a:pt x="289" y="656"/>
                    <a:pt x="289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7" y="656"/>
                    <a:pt x="287" y="656"/>
                    <a:pt x="287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6" y="656"/>
                    <a:pt x="286" y="656"/>
                    <a:pt x="286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5" y="656"/>
                    <a:pt x="285" y="656"/>
                    <a:pt x="285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4" y="656"/>
                    <a:pt x="284" y="656"/>
                    <a:pt x="284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3" y="656"/>
                    <a:pt x="283" y="656"/>
                    <a:pt x="283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2" y="656"/>
                    <a:pt x="282" y="656"/>
                    <a:pt x="282" y="656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1" y="655"/>
                    <a:pt x="281" y="655"/>
                    <a:pt x="281" y="655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0" y="654"/>
                    <a:pt x="280" y="654"/>
                    <a:pt x="280" y="654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288" y="650"/>
                    <a:pt x="288" y="650"/>
                    <a:pt x="288" y="650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4"/>
                    <a:pt x="302" y="644"/>
                    <a:pt x="302" y="644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2" y="642"/>
                    <a:pt x="302" y="642"/>
                    <a:pt x="302" y="642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9"/>
                    <a:pt x="303" y="639"/>
                    <a:pt x="303" y="639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6"/>
                    <a:pt x="303" y="636"/>
                    <a:pt x="303" y="636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3" y="632"/>
                    <a:pt x="303" y="632"/>
                    <a:pt x="303" y="632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30"/>
                    <a:pt x="302" y="630"/>
                    <a:pt x="302" y="630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7"/>
                    <a:pt x="302" y="627"/>
                    <a:pt x="302" y="627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4"/>
                    <a:pt x="302" y="624"/>
                    <a:pt x="302" y="624"/>
                  </a:cubicBezTo>
                  <a:cubicBezTo>
                    <a:pt x="302" y="621"/>
                    <a:pt x="302" y="621"/>
                    <a:pt x="302" y="621"/>
                  </a:cubicBezTo>
                  <a:cubicBezTo>
                    <a:pt x="303" y="621"/>
                    <a:pt x="303" y="621"/>
                    <a:pt x="303" y="621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5"/>
                    <a:pt x="309" y="625"/>
                    <a:pt x="309" y="625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7"/>
                    <a:pt x="309" y="627"/>
                    <a:pt x="309" y="627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28"/>
                    <a:pt x="309" y="628"/>
                    <a:pt x="309" y="628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0"/>
                    <a:pt x="309" y="630"/>
                    <a:pt x="309" y="630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1"/>
                    <a:pt x="309" y="631"/>
                    <a:pt x="309" y="631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9" y="633"/>
                    <a:pt x="309" y="633"/>
                    <a:pt x="309" y="633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4"/>
                    <a:pt x="308" y="634"/>
                    <a:pt x="308" y="634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5"/>
                    <a:pt x="308" y="635"/>
                    <a:pt x="308" y="635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8" y="636"/>
                    <a:pt x="308" y="636"/>
                    <a:pt x="308" y="636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7"/>
                    <a:pt x="307" y="637"/>
                    <a:pt x="307" y="637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8"/>
                    <a:pt x="307" y="638"/>
                    <a:pt x="307" y="638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39"/>
                    <a:pt x="307" y="639"/>
                    <a:pt x="307" y="639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0"/>
                    <a:pt x="307" y="640"/>
                    <a:pt x="307" y="640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7" y="641"/>
                    <a:pt x="307" y="641"/>
                    <a:pt x="307" y="641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08" y="642"/>
                    <a:pt x="308" y="642"/>
                    <a:pt x="308" y="642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8" y="638"/>
                    <a:pt x="318" y="638"/>
                    <a:pt x="318" y="638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19" y="639"/>
                    <a:pt x="319" y="639"/>
                    <a:pt x="319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39"/>
                    <a:pt x="320" y="639"/>
                    <a:pt x="320" y="639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20" y="640"/>
                    <a:pt x="320" y="640"/>
                    <a:pt x="320" y="640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9" y="641"/>
                    <a:pt x="319" y="641"/>
                    <a:pt x="319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8" y="641"/>
                    <a:pt x="318" y="641"/>
                    <a:pt x="318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7" y="641"/>
                    <a:pt x="317" y="641"/>
                    <a:pt x="317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16" y="641"/>
                    <a:pt x="316" y="641"/>
                    <a:pt x="316" y="641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7" y="649"/>
                    <a:pt x="307" y="649"/>
                    <a:pt x="307" y="649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0"/>
                    <a:pt x="306" y="650"/>
                    <a:pt x="306" y="650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1"/>
                    <a:pt x="306" y="651"/>
                    <a:pt x="306" y="651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2"/>
                    <a:pt x="306" y="652"/>
                    <a:pt x="306" y="652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6" y="653"/>
                    <a:pt x="306" y="653"/>
                    <a:pt x="306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7" y="653"/>
                    <a:pt x="307" y="653"/>
                    <a:pt x="307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0" y="652"/>
                    <a:pt x="310" y="652"/>
                    <a:pt x="310" y="652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1" y="650"/>
                    <a:pt x="311" y="650"/>
                    <a:pt x="311" y="650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2" y="649"/>
                    <a:pt x="312" y="649"/>
                    <a:pt x="312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4" y="649"/>
                    <a:pt x="314" y="649"/>
                    <a:pt x="314" y="649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5" y="648"/>
                    <a:pt x="315" y="648"/>
                    <a:pt x="315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7" y="648"/>
                    <a:pt x="317" y="648"/>
                    <a:pt x="317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19" y="648"/>
                    <a:pt x="319" y="648"/>
                    <a:pt x="319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8"/>
                    <a:pt x="320" y="648"/>
                    <a:pt x="320" y="648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0" y="649"/>
                    <a:pt x="320" y="649"/>
                    <a:pt x="320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49"/>
                    <a:pt x="321" y="649"/>
                    <a:pt x="321" y="649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0"/>
                    <a:pt x="321" y="650"/>
                    <a:pt x="321" y="650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1"/>
                    <a:pt x="321" y="651"/>
                    <a:pt x="321" y="651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1" y="652"/>
                    <a:pt x="321" y="652"/>
                    <a:pt x="321" y="652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22" y="653"/>
                    <a:pt x="322" y="653"/>
                    <a:pt x="322" y="653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15" y="659"/>
                    <a:pt x="315" y="659"/>
                    <a:pt x="315" y="659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9" y="664"/>
                    <a:pt x="309" y="664"/>
                    <a:pt x="309" y="664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4" y="669"/>
                    <a:pt x="304" y="669"/>
                    <a:pt x="304" y="669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3" y="676"/>
                    <a:pt x="303" y="676"/>
                    <a:pt x="303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4" y="676"/>
                    <a:pt x="304" y="676"/>
                    <a:pt x="304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5" y="676"/>
                    <a:pt x="305" y="676"/>
                    <a:pt x="305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6"/>
                    <a:pt x="306" y="676"/>
                    <a:pt x="306" y="676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6" y="675"/>
                    <a:pt x="306" y="675"/>
                    <a:pt x="306" y="675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7" y="674"/>
                    <a:pt x="307" y="674"/>
                    <a:pt x="307" y="674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3"/>
                    <a:pt x="308" y="673"/>
                    <a:pt x="308" y="673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2"/>
                    <a:pt x="308" y="672"/>
                    <a:pt x="308" y="672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1"/>
                    <a:pt x="308" y="671"/>
                    <a:pt x="308" y="671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8" y="670"/>
                    <a:pt x="308" y="670"/>
                    <a:pt x="308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0"/>
                    <a:pt x="309" y="670"/>
                    <a:pt x="309" y="670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1"/>
                    <a:pt x="309" y="671"/>
                    <a:pt x="309" y="671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2"/>
                    <a:pt x="309" y="672"/>
                    <a:pt x="309" y="672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3"/>
                    <a:pt x="309" y="673"/>
                    <a:pt x="309" y="673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5"/>
                    <a:pt x="309" y="675"/>
                    <a:pt x="309" y="675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9" y="676"/>
                    <a:pt x="309" y="676"/>
                    <a:pt x="309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6"/>
                    <a:pt x="308" y="676"/>
                    <a:pt x="308" y="676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8" y="677"/>
                    <a:pt x="308" y="677"/>
                    <a:pt x="308" y="677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1"/>
                    <a:pt x="304" y="681"/>
                    <a:pt x="304" y="681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5"/>
                    <a:pt x="304" y="685"/>
                    <a:pt x="304" y="685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88"/>
                    <a:pt x="304" y="688"/>
                    <a:pt x="304" y="688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4" y="692"/>
                    <a:pt x="304" y="692"/>
                    <a:pt x="304" y="692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696"/>
                    <a:pt x="305" y="696"/>
                    <a:pt x="305" y="696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5" y="701"/>
                    <a:pt x="305" y="701"/>
                    <a:pt x="305" y="701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4"/>
                    <a:pt x="306" y="704"/>
                    <a:pt x="306" y="704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08"/>
                    <a:pt x="306" y="708"/>
                    <a:pt x="306" y="708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2"/>
                    <a:pt x="306" y="712"/>
                    <a:pt x="306" y="712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6" y="713"/>
                    <a:pt x="306" y="713"/>
                    <a:pt x="306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5" y="713"/>
                    <a:pt x="305" y="713"/>
                    <a:pt x="305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ubicBezTo>
                    <a:pt x="304" y="713"/>
                    <a:pt x="304" y="713"/>
                    <a:pt x="304" y="713"/>
                  </a:cubicBezTo>
                  <a:close/>
                  <a:moveTo>
                    <a:pt x="506" y="712"/>
                  </a:moveTo>
                  <a:cubicBezTo>
                    <a:pt x="506" y="710"/>
                    <a:pt x="506" y="710"/>
                    <a:pt x="506" y="710"/>
                  </a:cubicBezTo>
                  <a:cubicBezTo>
                    <a:pt x="506" y="710"/>
                    <a:pt x="506" y="710"/>
                    <a:pt x="506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7" y="710"/>
                    <a:pt x="507" y="710"/>
                    <a:pt x="507" y="710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09" y="709"/>
                    <a:pt x="509" y="709"/>
                    <a:pt x="509" y="709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1" y="708"/>
                    <a:pt x="511" y="708"/>
                    <a:pt x="511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2" y="708"/>
                    <a:pt x="512" y="708"/>
                    <a:pt x="512" y="708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4" y="707"/>
                    <a:pt x="514" y="707"/>
                    <a:pt x="514" y="707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6" y="706"/>
                    <a:pt x="516" y="706"/>
                    <a:pt x="516" y="706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17" y="705"/>
                    <a:pt x="517" y="705"/>
                    <a:pt x="517" y="705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0" y="703"/>
                    <a:pt x="520" y="703"/>
                    <a:pt x="520" y="703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2" y="701"/>
                    <a:pt x="522" y="701"/>
                    <a:pt x="522" y="701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5" y="699"/>
                    <a:pt x="525" y="699"/>
                    <a:pt x="525" y="699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7" y="696"/>
                    <a:pt x="527" y="696"/>
                    <a:pt x="527" y="696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28" y="693"/>
                    <a:pt x="528" y="693"/>
                    <a:pt x="528" y="693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0" y="690"/>
                    <a:pt x="530" y="690"/>
                    <a:pt x="530" y="690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1" y="687"/>
                    <a:pt x="531" y="687"/>
                    <a:pt x="531" y="687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3" y="683"/>
                    <a:pt x="533" y="683"/>
                    <a:pt x="533" y="683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2"/>
                    <a:pt x="532" y="682"/>
                    <a:pt x="532" y="682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32" y="681"/>
                    <a:pt x="532" y="681"/>
                    <a:pt x="532" y="681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9" y="682"/>
                    <a:pt x="529" y="682"/>
                    <a:pt x="529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6" y="682"/>
                    <a:pt x="526" y="682"/>
                    <a:pt x="526" y="682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3" y="684"/>
                    <a:pt x="523" y="684"/>
                    <a:pt x="523" y="684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20" y="685"/>
                    <a:pt x="520" y="685"/>
                    <a:pt x="520" y="685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7" y="686"/>
                    <a:pt x="517" y="686"/>
                    <a:pt x="517" y="686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4" y="688"/>
                    <a:pt x="514" y="688"/>
                    <a:pt x="514" y="688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11" y="689"/>
                    <a:pt x="511" y="689"/>
                    <a:pt x="511" y="689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8" y="690"/>
                    <a:pt x="508" y="690"/>
                    <a:pt x="508" y="690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1" y="694"/>
                    <a:pt x="501" y="694"/>
                    <a:pt x="501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500" y="694"/>
                    <a:pt x="500" y="694"/>
                    <a:pt x="500" y="694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9" y="695"/>
                    <a:pt x="499" y="695"/>
                    <a:pt x="499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8" y="695"/>
                    <a:pt x="498" y="695"/>
                    <a:pt x="498" y="695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7" y="696"/>
                    <a:pt x="497" y="696"/>
                    <a:pt x="497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6" y="696"/>
                    <a:pt x="496" y="696"/>
                    <a:pt x="496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5" y="696"/>
                    <a:pt x="495" y="696"/>
                    <a:pt x="495" y="696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94" y="695"/>
                    <a:pt x="494" y="695"/>
                    <a:pt x="494" y="695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87" y="690"/>
                    <a:pt x="487" y="690"/>
                    <a:pt x="487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0" y="690"/>
                    <a:pt x="490" y="690"/>
                    <a:pt x="490" y="690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3" y="689"/>
                    <a:pt x="493" y="689"/>
                    <a:pt x="493" y="689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6" y="688"/>
                    <a:pt x="496" y="688"/>
                    <a:pt x="496" y="688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499" y="686"/>
                    <a:pt x="499" y="686"/>
                    <a:pt x="499" y="686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2" y="685"/>
                    <a:pt x="502" y="685"/>
                    <a:pt x="502" y="685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6" y="684"/>
                    <a:pt x="506" y="684"/>
                    <a:pt x="506" y="684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09" y="683"/>
                    <a:pt x="509" y="683"/>
                    <a:pt x="509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12" y="683"/>
                    <a:pt x="512" y="683"/>
                    <a:pt x="512" y="683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22" y="679"/>
                    <a:pt x="522" y="679"/>
                    <a:pt x="522" y="679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3" y="677"/>
                    <a:pt x="533" y="677"/>
                    <a:pt x="533" y="677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4" y="674"/>
                    <a:pt x="534" y="674"/>
                    <a:pt x="534" y="674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71"/>
                    <a:pt x="536" y="671"/>
                    <a:pt x="536" y="671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8"/>
                    <a:pt x="536" y="668"/>
                    <a:pt x="536" y="668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4"/>
                    <a:pt x="536" y="664"/>
                    <a:pt x="536" y="664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61"/>
                    <a:pt x="536" y="661"/>
                    <a:pt x="536" y="661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7"/>
                    <a:pt x="536" y="657"/>
                    <a:pt x="536" y="657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4"/>
                    <a:pt x="536" y="654"/>
                    <a:pt x="536" y="654"/>
                  </a:cubicBezTo>
                  <a:cubicBezTo>
                    <a:pt x="536" y="650"/>
                    <a:pt x="536" y="650"/>
                    <a:pt x="535" y="647"/>
                  </a:cubicBezTo>
                  <a:cubicBezTo>
                    <a:pt x="535" y="647"/>
                    <a:pt x="535" y="647"/>
                    <a:pt x="535" y="647"/>
                  </a:cubicBezTo>
                  <a:cubicBezTo>
                    <a:pt x="535" y="645"/>
                    <a:pt x="534" y="644"/>
                    <a:pt x="534" y="643"/>
                  </a:cubicBezTo>
                  <a:cubicBezTo>
                    <a:pt x="534" y="643"/>
                    <a:pt x="534" y="643"/>
                    <a:pt x="534" y="643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4" y="641"/>
                    <a:pt x="534" y="641"/>
                    <a:pt x="534" y="641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3" y="639"/>
                    <a:pt x="533" y="639"/>
                    <a:pt x="533" y="639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2" y="637"/>
                    <a:pt x="532" y="637"/>
                    <a:pt x="532" y="637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1" y="635"/>
                    <a:pt x="531" y="635"/>
                    <a:pt x="531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2" y="635"/>
                    <a:pt x="532" y="635"/>
                    <a:pt x="532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3" y="635"/>
                    <a:pt x="533" y="635"/>
                    <a:pt x="533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4" y="635"/>
                    <a:pt x="534" y="635"/>
                    <a:pt x="534" y="635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6" y="637"/>
                    <a:pt x="536" y="637"/>
                    <a:pt x="536" y="637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38" y="638"/>
                    <a:pt x="538" y="638"/>
                    <a:pt x="538" y="638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0" y="640"/>
                    <a:pt x="540" y="640"/>
                    <a:pt x="540" y="640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1" y="641"/>
                    <a:pt x="541" y="641"/>
                    <a:pt x="541" y="641"/>
                  </a:cubicBezTo>
                  <a:cubicBezTo>
                    <a:pt x="542" y="642"/>
                    <a:pt x="542" y="642"/>
                    <a:pt x="543" y="643"/>
                  </a:cubicBezTo>
                  <a:cubicBezTo>
                    <a:pt x="543" y="643"/>
                    <a:pt x="543" y="643"/>
                    <a:pt x="543" y="643"/>
                  </a:cubicBezTo>
                  <a:cubicBezTo>
                    <a:pt x="544" y="645"/>
                    <a:pt x="544" y="645"/>
                    <a:pt x="544" y="647"/>
                  </a:cubicBezTo>
                  <a:cubicBezTo>
                    <a:pt x="544" y="647"/>
                    <a:pt x="544" y="647"/>
                    <a:pt x="544" y="647"/>
                  </a:cubicBezTo>
                  <a:cubicBezTo>
                    <a:pt x="544" y="648"/>
                    <a:pt x="544" y="648"/>
                    <a:pt x="544" y="649"/>
                  </a:cubicBezTo>
                  <a:cubicBezTo>
                    <a:pt x="544" y="649"/>
                    <a:pt x="544" y="649"/>
                    <a:pt x="544" y="649"/>
                  </a:cubicBezTo>
                  <a:cubicBezTo>
                    <a:pt x="539" y="675"/>
                    <a:pt x="539" y="675"/>
                    <a:pt x="539" y="675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3" y="674"/>
                    <a:pt x="543" y="674"/>
                    <a:pt x="543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5" y="674"/>
                    <a:pt x="545" y="674"/>
                    <a:pt x="545" y="674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48" y="672"/>
                    <a:pt x="548" y="672"/>
                    <a:pt x="548" y="672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1" y="671"/>
                    <a:pt x="551" y="671"/>
                    <a:pt x="551" y="671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3" y="670"/>
                    <a:pt x="553" y="670"/>
                    <a:pt x="553" y="670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5" y="668"/>
                    <a:pt x="555" y="668"/>
                    <a:pt x="555" y="668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7" y="666"/>
                    <a:pt x="557" y="666"/>
                    <a:pt x="557" y="666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59" y="664"/>
                    <a:pt x="559" y="664"/>
                    <a:pt x="559" y="664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0" y="665"/>
                    <a:pt x="560" y="665"/>
                    <a:pt x="560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1" y="665"/>
                    <a:pt x="561" y="665"/>
                    <a:pt x="561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2" y="665"/>
                    <a:pt x="562" y="665"/>
                    <a:pt x="562" y="665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3" y="666"/>
                    <a:pt x="563" y="666"/>
                    <a:pt x="563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6"/>
                    <a:pt x="564" y="666"/>
                    <a:pt x="564" y="666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65" y="667"/>
                    <a:pt x="565" y="667"/>
                    <a:pt x="565" y="667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7" y="676"/>
                    <a:pt x="547" y="676"/>
                    <a:pt x="547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6" y="676"/>
                    <a:pt x="546" y="676"/>
                    <a:pt x="546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5" y="676"/>
                    <a:pt x="545" y="676"/>
                    <a:pt x="545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6"/>
                    <a:pt x="544" y="676"/>
                    <a:pt x="544" y="676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4" y="677"/>
                    <a:pt x="544" y="677"/>
                    <a:pt x="544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3" y="677"/>
                    <a:pt x="543" y="677"/>
                    <a:pt x="543" y="677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2" y="678"/>
                    <a:pt x="542" y="678"/>
                    <a:pt x="542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1" y="678"/>
                    <a:pt x="541" y="678"/>
                    <a:pt x="541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8"/>
                    <a:pt x="540" y="678"/>
                    <a:pt x="540" y="678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40" y="679"/>
                    <a:pt x="540" y="679"/>
                    <a:pt x="540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9" y="679"/>
                    <a:pt x="539" y="679"/>
                    <a:pt x="539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8" y="679"/>
                    <a:pt x="538" y="679"/>
                    <a:pt x="538" y="679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5" y="690"/>
                    <a:pt x="535" y="690"/>
                    <a:pt x="535" y="690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1" y="698"/>
                    <a:pt x="531" y="698"/>
                    <a:pt x="531" y="698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30" y="699"/>
                    <a:pt x="530" y="699"/>
                    <a:pt x="530" y="699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9" y="700"/>
                    <a:pt x="529" y="700"/>
                    <a:pt x="529" y="700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8" y="701"/>
                    <a:pt x="528" y="701"/>
                    <a:pt x="528" y="701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7" y="702"/>
                    <a:pt x="527" y="702"/>
                    <a:pt x="527" y="702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6" y="703"/>
                    <a:pt x="526" y="703"/>
                    <a:pt x="526" y="703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5" y="704"/>
                    <a:pt x="525" y="704"/>
                    <a:pt x="525" y="704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3" y="705"/>
                    <a:pt x="523" y="705"/>
                    <a:pt x="523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21" y="705"/>
                    <a:pt x="521" y="705"/>
                    <a:pt x="521" y="705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8"/>
                    <a:pt x="515" y="708"/>
                    <a:pt x="515" y="708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5" y="709"/>
                    <a:pt x="515" y="709"/>
                    <a:pt x="515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4" y="709"/>
                    <a:pt x="514" y="709"/>
                    <a:pt x="514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09"/>
                    <a:pt x="513" y="709"/>
                    <a:pt x="513" y="709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3" y="710"/>
                    <a:pt x="513" y="710"/>
                    <a:pt x="513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12" y="710"/>
                    <a:pt x="512" y="710"/>
                    <a:pt x="512" y="710"/>
                  </a:cubicBezTo>
                  <a:cubicBezTo>
                    <a:pt x="507" y="712"/>
                    <a:pt x="507" y="712"/>
                    <a:pt x="507" y="712"/>
                  </a:cubicBezTo>
                  <a:lnTo>
                    <a:pt x="506" y="712"/>
                  </a:lnTo>
                  <a:close/>
                  <a:moveTo>
                    <a:pt x="242" y="710"/>
                  </a:move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1" y="710"/>
                    <a:pt x="241" y="710"/>
                    <a:pt x="241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10"/>
                    <a:pt x="240" y="710"/>
                    <a:pt x="240" y="710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9"/>
                    <a:pt x="240" y="709"/>
                    <a:pt x="240" y="709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8"/>
                    <a:pt x="240" y="708"/>
                    <a:pt x="240" y="708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40" y="706"/>
                    <a:pt x="240" y="706"/>
                    <a:pt x="240" y="706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5"/>
                    <a:pt x="239" y="705"/>
                    <a:pt x="239" y="705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9" y="704"/>
                    <a:pt x="239" y="704"/>
                    <a:pt x="239" y="704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8" y="703"/>
                    <a:pt x="238" y="703"/>
                    <a:pt x="238" y="703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7" y="702"/>
                    <a:pt x="237" y="702"/>
                    <a:pt x="237" y="702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6" y="701"/>
                    <a:pt x="236" y="701"/>
                    <a:pt x="236" y="701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700"/>
                    <a:pt x="235" y="700"/>
                    <a:pt x="235" y="700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5" y="699"/>
                    <a:pt x="235" y="699"/>
                    <a:pt x="235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6" y="699"/>
                    <a:pt x="236" y="699"/>
                    <a:pt x="236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7" y="699"/>
                    <a:pt x="237" y="699"/>
                    <a:pt x="237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8" y="699"/>
                    <a:pt x="238" y="699"/>
                    <a:pt x="238" y="699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39" y="700"/>
                    <a:pt x="239" y="700"/>
                    <a:pt x="239" y="700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1" y="701"/>
                    <a:pt x="241" y="701"/>
                    <a:pt x="241" y="701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2" y="702"/>
                    <a:pt x="242" y="702"/>
                    <a:pt x="242" y="702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4" y="703"/>
                    <a:pt x="244" y="703"/>
                    <a:pt x="244" y="703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5" y="704"/>
                    <a:pt x="245" y="704"/>
                    <a:pt x="245" y="704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6" y="705"/>
                    <a:pt x="246" y="705"/>
                    <a:pt x="246" y="705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6"/>
                    <a:pt x="247" y="706"/>
                    <a:pt x="247" y="706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7"/>
                    <a:pt x="247" y="707"/>
                    <a:pt x="247" y="707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7" y="708"/>
                    <a:pt x="247" y="708"/>
                    <a:pt x="247" y="708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6" y="709"/>
                    <a:pt x="246" y="709"/>
                    <a:pt x="246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09"/>
                    <a:pt x="245" y="709"/>
                    <a:pt x="245" y="709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5" y="710"/>
                    <a:pt x="245" y="710"/>
                    <a:pt x="245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4" y="710"/>
                    <a:pt x="244" y="710"/>
                    <a:pt x="244" y="710"/>
                  </a:cubicBezTo>
                  <a:cubicBezTo>
                    <a:pt x="242" y="710"/>
                    <a:pt x="242" y="710"/>
                    <a:pt x="242" y="710"/>
                  </a:cubicBezTo>
                  <a:close/>
                  <a:moveTo>
                    <a:pt x="468" y="708"/>
                  </a:moveTo>
                  <a:cubicBezTo>
                    <a:pt x="467" y="707"/>
                    <a:pt x="467" y="707"/>
                    <a:pt x="467" y="707"/>
                  </a:cubicBezTo>
                  <a:cubicBezTo>
                    <a:pt x="467" y="707"/>
                    <a:pt x="467" y="707"/>
                    <a:pt x="467" y="707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6" y="706"/>
                    <a:pt x="466" y="706"/>
                    <a:pt x="466" y="706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5" y="705"/>
                    <a:pt x="465" y="705"/>
                    <a:pt x="465" y="705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4" y="704"/>
                    <a:pt x="464" y="704"/>
                    <a:pt x="464" y="704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3" y="703"/>
                    <a:pt x="463" y="703"/>
                    <a:pt x="463" y="703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1" y="702"/>
                    <a:pt x="461" y="702"/>
                    <a:pt x="461" y="702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60" y="701"/>
                    <a:pt x="460" y="701"/>
                    <a:pt x="460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701"/>
                    <a:pt x="459" y="701"/>
                    <a:pt x="459" y="701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59" y="699"/>
                    <a:pt x="459" y="699"/>
                    <a:pt x="459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1" y="699"/>
                    <a:pt x="461" y="699"/>
                    <a:pt x="461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3" y="699"/>
                    <a:pt x="463" y="699"/>
                    <a:pt x="463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4" y="699"/>
                    <a:pt x="464" y="699"/>
                    <a:pt x="464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5" y="699"/>
                    <a:pt x="465" y="699"/>
                    <a:pt x="465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6" y="699"/>
                    <a:pt x="466" y="699"/>
                    <a:pt x="466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7" y="699"/>
                    <a:pt x="467" y="699"/>
                    <a:pt x="467" y="699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8" y="700"/>
                    <a:pt x="468" y="700"/>
                    <a:pt x="468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0"/>
                    <a:pt x="469" y="700"/>
                    <a:pt x="469" y="700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69" y="701"/>
                    <a:pt x="469" y="701"/>
                    <a:pt x="469" y="701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0" y="702"/>
                    <a:pt x="470" y="702"/>
                    <a:pt x="470" y="702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3"/>
                    <a:pt x="471" y="703"/>
                    <a:pt x="471" y="703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4"/>
                    <a:pt x="471" y="704"/>
                    <a:pt x="471" y="704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1" y="705"/>
                    <a:pt x="471" y="705"/>
                    <a:pt x="471" y="705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6"/>
                    <a:pt x="470" y="706"/>
                    <a:pt x="470" y="706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70" y="707"/>
                    <a:pt x="470" y="707"/>
                    <a:pt x="470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7"/>
                    <a:pt x="469" y="707"/>
                    <a:pt x="469" y="707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9" y="708"/>
                    <a:pt x="469" y="708"/>
                    <a:pt x="469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ubicBezTo>
                    <a:pt x="468" y="708"/>
                    <a:pt x="468" y="708"/>
                    <a:pt x="468" y="708"/>
                  </a:cubicBezTo>
                  <a:close/>
                  <a:moveTo>
                    <a:pt x="445" y="707"/>
                  </a:move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4" y="707"/>
                    <a:pt x="444" y="707"/>
                    <a:pt x="444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7"/>
                    <a:pt x="443" y="707"/>
                    <a:pt x="443" y="707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6"/>
                    <a:pt x="443" y="706"/>
                    <a:pt x="443" y="706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3" y="705"/>
                    <a:pt x="443" y="705"/>
                    <a:pt x="443" y="705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4" y="704"/>
                    <a:pt x="444" y="704"/>
                    <a:pt x="444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4"/>
                    <a:pt x="445" y="704"/>
                    <a:pt x="445" y="704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5" y="703"/>
                    <a:pt x="445" y="703"/>
                    <a:pt x="445" y="703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6" y="702"/>
                    <a:pt x="446" y="702"/>
                    <a:pt x="446" y="702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3"/>
                    <a:pt x="447" y="703"/>
                    <a:pt x="447" y="703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4"/>
                    <a:pt x="447" y="704"/>
                    <a:pt x="447" y="704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5"/>
                    <a:pt x="447" y="705"/>
                    <a:pt x="447" y="705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7" y="706"/>
                    <a:pt x="447" y="706"/>
                    <a:pt x="447" y="706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6" y="707"/>
                    <a:pt x="446" y="707"/>
                    <a:pt x="446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ubicBezTo>
                    <a:pt x="445" y="707"/>
                    <a:pt x="445" y="707"/>
                    <a:pt x="445" y="707"/>
                  </a:cubicBezTo>
                  <a:close/>
                  <a:moveTo>
                    <a:pt x="352" y="706"/>
                  </a:move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700"/>
                    <a:pt x="340" y="700"/>
                    <a:pt x="340" y="700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9"/>
                    <a:pt x="340" y="699"/>
                    <a:pt x="340" y="699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0" y="698"/>
                    <a:pt x="340" y="698"/>
                    <a:pt x="340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1" y="698"/>
                    <a:pt x="341" y="698"/>
                    <a:pt x="341" y="698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2" y="697"/>
                    <a:pt x="342" y="697"/>
                    <a:pt x="342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3" y="697"/>
                    <a:pt x="343" y="697"/>
                    <a:pt x="343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4" y="697"/>
                    <a:pt x="344" y="697"/>
                    <a:pt x="344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7"/>
                    <a:pt x="345" y="697"/>
                    <a:pt x="345" y="697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5" y="698"/>
                    <a:pt x="345" y="698"/>
                    <a:pt x="345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8"/>
                    <a:pt x="346" y="698"/>
                    <a:pt x="346" y="698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6" y="697"/>
                    <a:pt x="346" y="697"/>
                    <a:pt x="346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7" y="697"/>
                    <a:pt x="347" y="697"/>
                    <a:pt x="347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8" y="697"/>
                    <a:pt x="348" y="697"/>
                    <a:pt x="348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49" y="697"/>
                    <a:pt x="349" y="697"/>
                    <a:pt x="349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2" y="697"/>
                    <a:pt x="352" y="697"/>
                    <a:pt x="352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5" y="697"/>
                    <a:pt x="355" y="697"/>
                    <a:pt x="355" y="697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58" y="696"/>
                    <a:pt x="358" y="696"/>
                    <a:pt x="358" y="696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1" y="695"/>
                    <a:pt x="361" y="695"/>
                    <a:pt x="361" y="695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4" y="694"/>
                    <a:pt x="364" y="694"/>
                    <a:pt x="364" y="694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67" y="693"/>
                    <a:pt x="367" y="693"/>
                    <a:pt x="367" y="693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0" y="691"/>
                    <a:pt x="370" y="691"/>
                    <a:pt x="370" y="691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72" y="688"/>
                    <a:pt x="372" y="688"/>
                    <a:pt x="372" y="688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0" y="679"/>
                    <a:pt x="380" y="679"/>
                    <a:pt x="380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9"/>
                    <a:pt x="381" y="679"/>
                    <a:pt x="381" y="679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1" y="678"/>
                    <a:pt x="381" y="678"/>
                    <a:pt x="381" y="678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2" y="677"/>
                    <a:pt x="382" y="677"/>
                    <a:pt x="382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7"/>
                    <a:pt x="383" y="677"/>
                    <a:pt x="383" y="677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3" y="676"/>
                    <a:pt x="383" y="676"/>
                    <a:pt x="383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5" y="674"/>
                    <a:pt x="385" y="674"/>
                    <a:pt x="385" y="674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7" y="673"/>
                    <a:pt x="387" y="673"/>
                    <a:pt x="387" y="673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88" y="671"/>
                    <a:pt x="388" y="671"/>
                    <a:pt x="388" y="671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0" y="670"/>
                    <a:pt x="390" y="670"/>
                    <a:pt x="390" y="670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1" y="668"/>
                    <a:pt x="391" y="668"/>
                    <a:pt x="391" y="668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2" y="667"/>
                    <a:pt x="392" y="667"/>
                    <a:pt x="392" y="667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3" y="665"/>
                    <a:pt x="393" y="665"/>
                    <a:pt x="393" y="665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4" y="663"/>
                    <a:pt x="394" y="663"/>
                    <a:pt x="394" y="663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3" y="662"/>
                    <a:pt x="393" y="662"/>
                    <a:pt x="393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2" y="662"/>
                    <a:pt x="392" y="662"/>
                    <a:pt x="392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1" y="662"/>
                    <a:pt x="391" y="662"/>
                    <a:pt x="391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90" y="662"/>
                    <a:pt x="390" y="662"/>
                    <a:pt x="390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9" y="662"/>
                    <a:pt x="389" y="662"/>
                    <a:pt x="389" y="662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6" y="663"/>
                    <a:pt x="386" y="663"/>
                    <a:pt x="386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4" y="663"/>
                    <a:pt x="384" y="663"/>
                    <a:pt x="384" y="663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2" y="664"/>
                    <a:pt x="382" y="664"/>
                    <a:pt x="382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80" y="664"/>
                    <a:pt x="380" y="664"/>
                    <a:pt x="380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6" y="665"/>
                    <a:pt x="376" y="665"/>
                    <a:pt x="376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4" y="665"/>
                    <a:pt x="374" y="665"/>
                    <a:pt x="374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2" y="665"/>
                    <a:pt x="372" y="665"/>
                    <a:pt x="372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1" y="665"/>
                    <a:pt x="371" y="665"/>
                    <a:pt x="371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70" y="665"/>
                    <a:pt x="370" y="665"/>
                    <a:pt x="370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5"/>
                    <a:pt x="369" y="665"/>
                    <a:pt x="369" y="665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9" y="664"/>
                    <a:pt x="369" y="664"/>
                    <a:pt x="369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4"/>
                    <a:pt x="368" y="664"/>
                    <a:pt x="368" y="664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8" y="663"/>
                    <a:pt x="368" y="663"/>
                    <a:pt x="368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3"/>
                    <a:pt x="367" y="663"/>
                    <a:pt x="367" y="663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7" y="662"/>
                    <a:pt x="367" y="662"/>
                    <a:pt x="367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2"/>
                    <a:pt x="366" y="662"/>
                    <a:pt x="366" y="662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6" y="661"/>
                    <a:pt x="366" y="661"/>
                    <a:pt x="366" y="661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60"/>
                    <a:pt x="365" y="660"/>
                    <a:pt x="365" y="660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5" y="659"/>
                    <a:pt x="365" y="659"/>
                    <a:pt x="365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9"/>
                    <a:pt x="366" y="659"/>
                    <a:pt x="366" y="659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6" y="658"/>
                    <a:pt x="366" y="658"/>
                    <a:pt x="366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8"/>
                    <a:pt x="367" y="658"/>
                    <a:pt x="367" y="658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7" y="657"/>
                    <a:pt x="367" y="657"/>
                    <a:pt x="367" y="657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8" y="658"/>
                    <a:pt x="368" y="658"/>
                    <a:pt x="368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69" y="658"/>
                    <a:pt x="369" y="658"/>
                    <a:pt x="369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0" y="658"/>
                    <a:pt x="370" y="658"/>
                    <a:pt x="370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1" y="658"/>
                    <a:pt x="371" y="658"/>
                    <a:pt x="371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2" y="658"/>
                    <a:pt x="372" y="658"/>
                    <a:pt x="372" y="658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3" y="659"/>
                    <a:pt x="373" y="659"/>
                    <a:pt x="373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0" y="658"/>
                    <a:pt x="390" y="658"/>
                    <a:pt x="390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8" y="658"/>
                    <a:pt x="398" y="658"/>
                    <a:pt x="398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399" y="659"/>
                    <a:pt x="399" y="659"/>
                    <a:pt x="399" y="659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0" y="660"/>
                    <a:pt x="400" y="660"/>
                    <a:pt x="400" y="660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1"/>
                    <a:pt x="401" y="661"/>
                    <a:pt x="401" y="661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2"/>
                    <a:pt x="401" y="662"/>
                    <a:pt x="401" y="662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3"/>
                    <a:pt x="401" y="663"/>
                    <a:pt x="401" y="663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4"/>
                    <a:pt x="401" y="664"/>
                    <a:pt x="401" y="664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1" y="665"/>
                    <a:pt x="401" y="665"/>
                    <a:pt x="401" y="665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6"/>
                    <a:pt x="400" y="666"/>
                    <a:pt x="400" y="666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400" y="667"/>
                    <a:pt x="400" y="667"/>
                    <a:pt x="400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9" y="668"/>
                    <a:pt x="399" y="668"/>
                    <a:pt x="399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8"/>
                    <a:pt x="398" y="668"/>
                    <a:pt x="398" y="668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8" y="669"/>
                    <a:pt x="398" y="669"/>
                    <a:pt x="398" y="669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6" y="670"/>
                    <a:pt x="396" y="670"/>
                    <a:pt x="396" y="670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5" y="672"/>
                    <a:pt x="395" y="672"/>
                    <a:pt x="395" y="672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3" y="673"/>
                    <a:pt x="393" y="673"/>
                    <a:pt x="393" y="673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2" y="675"/>
                    <a:pt x="392" y="675"/>
                    <a:pt x="392" y="675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1" y="676"/>
                    <a:pt x="391" y="676"/>
                    <a:pt x="391" y="676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90" y="677"/>
                    <a:pt x="390" y="677"/>
                    <a:pt x="390" y="677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8" y="679"/>
                    <a:pt x="388" y="679"/>
                    <a:pt x="388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7" y="679"/>
                    <a:pt x="387" y="679"/>
                    <a:pt x="387" y="679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1" y="688"/>
                    <a:pt x="381" y="688"/>
                    <a:pt x="381" y="688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2" y="690"/>
                    <a:pt x="382" y="690"/>
                    <a:pt x="382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3" y="690"/>
                    <a:pt x="383" y="690"/>
                    <a:pt x="383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5" y="690"/>
                    <a:pt x="385" y="690"/>
                    <a:pt x="385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6" y="690"/>
                    <a:pt x="386" y="690"/>
                    <a:pt x="386" y="690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88" y="689"/>
                    <a:pt x="388" y="689"/>
                    <a:pt x="388" y="689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0" y="688"/>
                    <a:pt x="390" y="688"/>
                    <a:pt x="390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1" y="688"/>
                    <a:pt x="391" y="688"/>
                    <a:pt x="391" y="688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2" y="687"/>
                    <a:pt x="392" y="687"/>
                    <a:pt x="392" y="687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6"/>
                    <a:pt x="394" y="686"/>
                    <a:pt x="394" y="686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4" y="687"/>
                    <a:pt x="394" y="687"/>
                    <a:pt x="394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7"/>
                    <a:pt x="395" y="687"/>
                    <a:pt x="395" y="687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8"/>
                    <a:pt x="395" y="688"/>
                    <a:pt x="395" y="688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89"/>
                    <a:pt x="395" y="689"/>
                    <a:pt x="395" y="689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0"/>
                    <a:pt x="395" y="690"/>
                    <a:pt x="395" y="690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5" y="691"/>
                    <a:pt x="395" y="691"/>
                    <a:pt x="395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4" y="691"/>
                    <a:pt x="394" y="691"/>
                    <a:pt x="394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1"/>
                    <a:pt x="392" y="691"/>
                    <a:pt x="392" y="691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92" y="692"/>
                    <a:pt x="392" y="692"/>
                    <a:pt x="392" y="692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6"/>
                    <a:pt x="376" y="696"/>
                    <a:pt x="376" y="696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6" y="697"/>
                    <a:pt x="376" y="697"/>
                    <a:pt x="376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5" y="697"/>
                    <a:pt x="375" y="697"/>
                    <a:pt x="375" y="697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4" y="698"/>
                    <a:pt x="374" y="698"/>
                    <a:pt x="374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3" y="698"/>
                    <a:pt x="373" y="698"/>
                    <a:pt x="373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2" y="698"/>
                    <a:pt x="372" y="698"/>
                    <a:pt x="372" y="698"/>
                  </a:cubicBezTo>
                  <a:cubicBezTo>
                    <a:pt x="371" y="699"/>
                    <a:pt x="371" y="699"/>
                    <a:pt x="370" y="699"/>
                  </a:cubicBezTo>
                  <a:cubicBezTo>
                    <a:pt x="370" y="699"/>
                    <a:pt x="370" y="699"/>
                    <a:pt x="370" y="699"/>
                  </a:cubicBezTo>
                  <a:cubicBezTo>
                    <a:pt x="370" y="699"/>
                    <a:pt x="369" y="699"/>
                    <a:pt x="369" y="699"/>
                  </a:cubicBezTo>
                  <a:cubicBezTo>
                    <a:pt x="369" y="699"/>
                    <a:pt x="369" y="700"/>
                    <a:pt x="369" y="700"/>
                  </a:cubicBezTo>
                  <a:cubicBezTo>
                    <a:pt x="369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8" y="700"/>
                    <a:pt x="368" y="700"/>
                    <a:pt x="368" y="700"/>
                  </a:cubicBezTo>
                  <a:cubicBezTo>
                    <a:pt x="367" y="701"/>
                    <a:pt x="367" y="701"/>
                    <a:pt x="366" y="701"/>
                  </a:cubicBezTo>
                  <a:cubicBezTo>
                    <a:pt x="366" y="701"/>
                    <a:pt x="366" y="701"/>
                    <a:pt x="366" y="701"/>
                  </a:cubicBezTo>
                  <a:cubicBezTo>
                    <a:pt x="366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5" y="701"/>
                    <a:pt x="365" y="701"/>
                  </a:cubicBezTo>
                  <a:cubicBezTo>
                    <a:pt x="365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1"/>
                  </a:cubicBezTo>
                  <a:cubicBezTo>
                    <a:pt x="364" y="701"/>
                    <a:pt x="364" y="701"/>
                    <a:pt x="364" y="702"/>
                  </a:cubicBezTo>
                  <a:cubicBezTo>
                    <a:pt x="364" y="702"/>
                    <a:pt x="364" y="702"/>
                    <a:pt x="364" y="702"/>
                  </a:cubicBezTo>
                  <a:cubicBezTo>
                    <a:pt x="364" y="702"/>
                    <a:pt x="363" y="702"/>
                    <a:pt x="363" y="702"/>
                  </a:cubicBezTo>
                  <a:cubicBezTo>
                    <a:pt x="363" y="702"/>
                    <a:pt x="363" y="702"/>
                    <a:pt x="363" y="702"/>
                  </a:cubicBezTo>
                  <a:cubicBezTo>
                    <a:pt x="363" y="702"/>
                    <a:pt x="362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1" y="702"/>
                    <a:pt x="361" y="702"/>
                    <a:pt x="361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2"/>
                    <a:pt x="360" y="702"/>
                    <a:pt x="360" y="702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60" y="703"/>
                    <a:pt x="360" y="703"/>
                    <a:pt x="360" y="703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9" y="704"/>
                    <a:pt x="359" y="704"/>
                    <a:pt x="359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8" y="704"/>
                    <a:pt x="358" y="704"/>
                    <a:pt x="358" y="704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7" y="705"/>
                    <a:pt x="357" y="705"/>
                    <a:pt x="357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6" y="705"/>
                    <a:pt x="356" y="705"/>
                    <a:pt x="356" y="705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5" y="706"/>
                    <a:pt x="355" y="706"/>
                    <a:pt x="355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3" y="706"/>
                    <a:pt x="353" y="706"/>
                    <a:pt x="353" y="706"/>
                  </a:cubicBezTo>
                  <a:cubicBezTo>
                    <a:pt x="352" y="706"/>
                    <a:pt x="352" y="706"/>
                    <a:pt x="352" y="706"/>
                  </a:cubicBezTo>
                  <a:close/>
                  <a:moveTo>
                    <a:pt x="218" y="701"/>
                  </a:move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7" y="699"/>
                    <a:pt x="217" y="699"/>
                  </a:cubicBezTo>
                  <a:cubicBezTo>
                    <a:pt x="217" y="699"/>
                    <a:pt x="216" y="698"/>
                    <a:pt x="216" y="697"/>
                  </a:cubicBezTo>
                  <a:cubicBezTo>
                    <a:pt x="216" y="697"/>
                    <a:pt x="216" y="697"/>
                    <a:pt x="216" y="697"/>
                  </a:cubicBezTo>
                  <a:cubicBezTo>
                    <a:pt x="216" y="697"/>
                    <a:pt x="216" y="696"/>
                    <a:pt x="215" y="696"/>
                  </a:cubicBezTo>
                  <a:cubicBezTo>
                    <a:pt x="215" y="696"/>
                    <a:pt x="215" y="696"/>
                    <a:pt x="215" y="696"/>
                  </a:cubicBezTo>
                  <a:cubicBezTo>
                    <a:pt x="215" y="695"/>
                    <a:pt x="215" y="695"/>
                    <a:pt x="215" y="694"/>
                  </a:cubicBezTo>
                  <a:cubicBezTo>
                    <a:pt x="215" y="694"/>
                    <a:pt x="215" y="694"/>
                    <a:pt x="215" y="694"/>
                  </a:cubicBezTo>
                  <a:cubicBezTo>
                    <a:pt x="215" y="694"/>
                    <a:pt x="215" y="693"/>
                    <a:pt x="215" y="692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15" y="692"/>
                    <a:pt x="215" y="691"/>
                    <a:pt x="215" y="691"/>
                  </a:cubicBezTo>
                  <a:cubicBezTo>
                    <a:pt x="215" y="691"/>
                    <a:pt x="215" y="691"/>
                    <a:pt x="215" y="691"/>
                  </a:cubicBezTo>
                  <a:cubicBezTo>
                    <a:pt x="216" y="690"/>
                    <a:pt x="216" y="689"/>
                    <a:pt x="216" y="689"/>
                  </a:cubicBezTo>
                  <a:cubicBezTo>
                    <a:pt x="216" y="689"/>
                    <a:pt x="216" y="689"/>
                    <a:pt x="216" y="689"/>
                  </a:cubicBezTo>
                  <a:cubicBezTo>
                    <a:pt x="216" y="688"/>
                    <a:pt x="216" y="688"/>
                    <a:pt x="216" y="687"/>
                  </a:cubicBezTo>
                  <a:cubicBezTo>
                    <a:pt x="216" y="687"/>
                    <a:pt x="216" y="687"/>
                    <a:pt x="216" y="687"/>
                  </a:cubicBezTo>
                  <a:cubicBezTo>
                    <a:pt x="216" y="687"/>
                    <a:pt x="217" y="686"/>
                    <a:pt x="217" y="686"/>
                  </a:cubicBezTo>
                  <a:cubicBezTo>
                    <a:pt x="217" y="686"/>
                    <a:pt x="217" y="686"/>
                    <a:pt x="217" y="686"/>
                  </a:cubicBezTo>
                  <a:cubicBezTo>
                    <a:pt x="217" y="686"/>
                    <a:pt x="217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8" y="685"/>
                    <a:pt x="218" y="685"/>
                    <a:pt x="218" y="685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19" y="683"/>
                    <a:pt x="219" y="683"/>
                    <a:pt x="219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0" y="683"/>
                    <a:pt x="220" y="683"/>
                    <a:pt x="220" y="683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2"/>
                    <a:pt x="221" y="682"/>
                    <a:pt x="221" y="682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81"/>
                    <a:pt x="221" y="681"/>
                    <a:pt x="221" y="681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1" y="679"/>
                    <a:pt x="221" y="679"/>
                    <a:pt x="221" y="679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6" y="674"/>
                    <a:pt x="226" y="674"/>
                    <a:pt x="226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4"/>
                    <a:pt x="228" y="674"/>
                    <a:pt x="228" y="674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8" y="675"/>
                    <a:pt x="228" y="675"/>
                    <a:pt x="228" y="675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6"/>
                    <a:pt x="229" y="676"/>
                    <a:pt x="229" y="676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7"/>
                    <a:pt x="229" y="677"/>
                    <a:pt x="229" y="677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8"/>
                    <a:pt x="229" y="678"/>
                    <a:pt x="229" y="678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29" y="679"/>
                    <a:pt x="229" y="679"/>
                    <a:pt x="229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30" y="679"/>
                    <a:pt x="230" y="679"/>
                    <a:pt x="230" y="679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9" y="681"/>
                    <a:pt x="229" y="681"/>
                    <a:pt x="229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8" y="681"/>
                    <a:pt x="228" y="681"/>
                    <a:pt x="228" y="681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6" y="682"/>
                    <a:pt x="226" y="682"/>
                    <a:pt x="226" y="682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5" y="683"/>
                    <a:pt x="225" y="683"/>
                    <a:pt x="225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4" y="683"/>
                    <a:pt x="224" y="683"/>
                    <a:pt x="224" y="683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3" y="684"/>
                    <a:pt x="223" y="684"/>
                    <a:pt x="223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1" y="684"/>
                    <a:pt x="221" y="684"/>
                    <a:pt x="221" y="684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20" y="685"/>
                    <a:pt x="220" y="685"/>
                  </a:cubicBezTo>
                  <a:cubicBezTo>
                    <a:pt x="220" y="685"/>
                    <a:pt x="219" y="685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6"/>
                    <a:pt x="219" y="686"/>
                    <a:pt x="219" y="686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19" y="687"/>
                    <a:pt x="219" y="687"/>
                  </a:cubicBezTo>
                  <a:cubicBezTo>
                    <a:pt x="219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0" y="687"/>
                    <a:pt x="220" y="687"/>
                    <a:pt x="220" y="687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5"/>
                    <a:pt x="226" y="685"/>
                    <a:pt x="226" y="685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6" y="686"/>
                    <a:pt x="226" y="686"/>
                    <a:pt x="226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6"/>
                    <a:pt x="225" y="686"/>
                    <a:pt x="225" y="686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7"/>
                    <a:pt x="225" y="687"/>
                    <a:pt x="225" y="687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25" y="688"/>
                    <a:pt x="225" y="688"/>
                    <a:pt x="224" y="688"/>
                  </a:cubicBezTo>
                  <a:cubicBezTo>
                    <a:pt x="224" y="688"/>
                    <a:pt x="224" y="688"/>
                    <a:pt x="224" y="688"/>
                  </a:cubicBezTo>
                  <a:cubicBezTo>
                    <a:pt x="224" y="688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4" y="689"/>
                    <a:pt x="224" y="689"/>
                    <a:pt x="224" y="689"/>
                  </a:cubicBezTo>
                  <a:cubicBezTo>
                    <a:pt x="223" y="689"/>
                    <a:pt x="223" y="689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3" y="690"/>
                    <a:pt x="223" y="690"/>
                    <a:pt x="223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2" y="690"/>
                    <a:pt x="222" y="690"/>
                    <a:pt x="222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0"/>
                    <a:pt x="221" y="690"/>
                    <a:pt x="221" y="690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1" y="691"/>
                    <a:pt x="221" y="691"/>
                  </a:cubicBezTo>
                  <a:cubicBezTo>
                    <a:pt x="221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1"/>
                    <a:pt x="220" y="691"/>
                  </a:cubicBezTo>
                  <a:cubicBezTo>
                    <a:pt x="220" y="691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2"/>
                  </a:cubicBezTo>
                  <a:cubicBezTo>
                    <a:pt x="220" y="692"/>
                    <a:pt x="220" y="692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0" y="693"/>
                    <a:pt x="220" y="693"/>
                    <a:pt x="220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1" y="693"/>
                    <a:pt x="221" y="693"/>
                    <a:pt x="221" y="693"/>
                  </a:cubicBezTo>
                  <a:cubicBezTo>
                    <a:pt x="222" y="693"/>
                    <a:pt x="222" y="692"/>
                    <a:pt x="222" y="692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2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3" y="692"/>
                    <a:pt x="223" y="692"/>
                  </a:cubicBezTo>
                  <a:cubicBezTo>
                    <a:pt x="223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2"/>
                  </a:cubicBezTo>
                  <a:cubicBezTo>
                    <a:pt x="224" y="692"/>
                    <a:pt x="224" y="692"/>
                    <a:pt x="224" y="693"/>
                  </a:cubicBezTo>
                  <a:cubicBezTo>
                    <a:pt x="224" y="693"/>
                    <a:pt x="224" y="693"/>
                    <a:pt x="224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3"/>
                    <a:pt x="225" y="693"/>
                    <a:pt x="225" y="693"/>
                  </a:cubicBezTo>
                  <a:cubicBezTo>
                    <a:pt x="225" y="694"/>
                    <a:pt x="225" y="694"/>
                    <a:pt x="224" y="694"/>
                  </a:cubicBezTo>
                  <a:cubicBezTo>
                    <a:pt x="224" y="694"/>
                    <a:pt x="224" y="694"/>
                    <a:pt x="224" y="694"/>
                  </a:cubicBezTo>
                  <a:cubicBezTo>
                    <a:pt x="224" y="694"/>
                    <a:pt x="224" y="694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5"/>
                    <a:pt x="224" y="695"/>
                  </a:cubicBezTo>
                  <a:cubicBezTo>
                    <a:pt x="224" y="695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6"/>
                  </a:cubicBezTo>
                  <a:cubicBezTo>
                    <a:pt x="224" y="696"/>
                    <a:pt x="224" y="696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7"/>
                    <a:pt x="224" y="697"/>
                  </a:cubicBezTo>
                  <a:cubicBezTo>
                    <a:pt x="224" y="697"/>
                    <a:pt x="224" y="698"/>
                    <a:pt x="223" y="698"/>
                  </a:cubicBezTo>
                  <a:cubicBezTo>
                    <a:pt x="223" y="698"/>
                    <a:pt x="223" y="698"/>
                    <a:pt x="223" y="698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3" y="699"/>
                    <a:pt x="223" y="699"/>
                    <a:pt x="223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2" y="699"/>
                    <a:pt x="222" y="699"/>
                    <a:pt x="222" y="699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1" y="700"/>
                    <a:pt x="221" y="700"/>
                    <a:pt x="221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0"/>
                    <a:pt x="220" y="700"/>
                    <a:pt x="220" y="700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20" y="701"/>
                    <a:pt x="220" y="701"/>
                    <a:pt x="220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9" y="701"/>
                    <a:pt x="219" y="701"/>
                    <a:pt x="219" y="701"/>
                  </a:cubicBezTo>
                  <a:cubicBezTo>
                    <a:pt x="218" y="701"/>
                    <a:pt x="218" y="701"/>
                    <a:pt x="218" y="701"/>
                  </a:cubicBezTo>
                  <a:close/>
                  <a:moveTo>
                    <a:pt x="318" y="698"/>
                  </a:moveTo>
                  <a:cubicBezTo>
                    <a:pt x="318" y="698"/>
                    <a:pt x="318" y="698"/>
                    <a:pt x="318" y="698"/>
                  </a:cubicBezTo>
                  <a:cubicBezTo>
                    <a:pt x="318" y="698"/>
                    <a:pt x="318" y="698"/>
                    <a:pt x="318" y="698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7"/>
                    <a:pt x="317" y="697"/>
                    <a:pt x="317" y="697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6"/>
                    <a:pt x="317" y="696"/>
                    <a:pt x="317" y="696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7" y="695"/>
                    <a:pt x="317" y="695"/>
                    <a:pt x="317" y="695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8" y="694"/>
                    <a:pt x="318" y="694"/>
                    <a:pt x="318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4"/>
                    <a:pt x="317" y="694"/>
                    <a:pt x="317" y="694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7" y="693"/>
                    <a:pt x="317" y="693"/>
                    <a:pt x="317" y="693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2"/>
                    <a:pt x="316" y="692"/>
                    <a:pt x="316" y="692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6" y="691"/>
                    <a:pt x="316" y="691"/>
                    <a:pt x="316" y="691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90"/>
                    <a:pt x="315" y="690"/>
                    <a:pt x="315" y="690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5" y="689"/>
                    <a:pt x="315" y="689"/>
                    <a:pt x="315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4" y="689"/>
                    <a:pt x="314" y="689"/>
                    <a:pt x="314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3" y="689"/>
                    <a:pt x="313" y="689"/>
                    <a:pt x="313" y="689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2" y="688"/>
                    <a:pt x="312" y="688"/>
                    <a:pt x="312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4" y="688"/>
                    <a:pt x="314" y="688"/>
                    <a:pt x="314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5" y="688"/>
                    <a:pt x="315" y="688"/>
                    <a:pt x="315" y="688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7" y="689"/>
                    <a:pt x="317" y="689"/>
                    <a:pt x="317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19" y="689"/>
                    <a:pt x="319" y="689"/>
                    <a:pt x="319" y="689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0" y="690"/>
                    <a:pt x="320" y="690"/>
                    <a:pt x="320" y="690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2" y="691"/>
                    <a:pt x="322" y="691"/>
                    <a:pt x="322" y="691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3" y="692"/>
                    <a:pt x="323" y="692"/>
                    <a:pt x="323" y="692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3"/>
                    <a:pt x="324" y="693"/>
                    <a:pt x="324" y="693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4" y="695"/>
                    <a:pt x="324" y="695"/>
                    <a:pt x="324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3" y="695"/>
                    <a:pt x="323" y="695"/>
                    <a:pt x="323" y="695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2" y="696"/>
                    <a:pt x="322" y="696"/>
                    <a:pt x="322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1" y="696"/>
                    <a:pt x="321" y="696"/>
                    <a:pt x="321" y="696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20" y="697"/>
                    <a:pt x="320" y="697"/>
                    <a:pt x="320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7"/>
                    <a:pt x="319" y="697"/>
                    <a:pt x="319" y="697"/>
                  </a:cubicBezTo>
                  <a:cubicBezTo>
                    <a:pt x="319" y="698"/>
                    <a:pt x="319" y="698"/>
                    <a:pt x="319" y="698"/>
                  </a:cubicBezTo>
                  <a:lnTo>
                    <a:pt x="318" y="698"/>
                  </a:lnTo>
                  <a:close/>
                  <a:moveTo>
                    <a:pt x="203" y="679"/>
                  </a:moveTo>
                  <a:cubicBezTo>
                    <a:pt x="203" y="679"/>
                    <a:pt x="202" y="679"/>
                    <a:pt x="202" y="678"/>
                  </a:cubicBezTo>
                  <a:cubicBezTo>
                    <a:pt x="202" y="678"/>
                    <a:pt x="202" y="678"/>
                    <a:pt x="202" y="678"/>
                  </a:cubicBezTo>
                  <a:cubicBezTo>
                    <a:pt x="202" y="678"/>
                    <a:pt x="202" y="678"/>
                    <a:pt x="202" y="677"/>
                  </a:cubicBezTo>
                  <a:cubicBezTo>
                    <a:pt x="202" y="677"/>
                    <a:pt x="202" y="677"/>
                    <a:pt x="202" y="677"/>
                  </a:cubicBezTo>
                  <a:cubicBezTo>
                    <a:pt x="202" y="677"/>
                    <a:pt x="203" y="676"/>
                    <a:pt x="203" y="676"/>
                  </a:cubicBezTo>
                  <a:cubicBezTo>
                    <a:pt x="203" y="676"/>
                    <a:pt x="203" y="676"/>
                    <a:pt x="203" y="676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5" y="674"/>
                    <a:pt x="205" y="674"/>
                    <a:pt x="205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6" y="674"/>
                    <a:pt x="206" y="674"/>
                    <a:pt x="206" y="674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7" y="673"/>
                    <a:pt x="207" y="673"/>
                    <a:pt x="207" y="673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09" y="672"/>
                    <a:pt x="209" y="672"/>
                    <a:pt x="209" y="672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10" y="671"/>
                    <a:pt x="210" y="671"/>
                    <a:pt x="210" y="671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0" y="665"/>
                    <a:pt x="220" y="665"/>
                    <a:pt x="220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1" y="665"/>
                    <a:pt x="221" y="665"/>
                    <a:pt x="221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2" y="665"/>
                    <a:pt x="222" y="665"/>
                    <a:pt x="222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5"/>
                    <a:pt x="223" y="665"/>
                    <a:pt x="223" y="665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3" y="666"/>
                    <a:pt x="223" y="666"/>
                    <a:pt x="223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4" y="666"/>
                    <a:pt x="224" y="666"/>
                    <a:pt x="224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6"/>
                    <a:pt x="225" y="666"/>
                    <a:pt x="225" y="666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5"/>
                    <a:pt x="225" y="665"/>
                    <a:pt x="225" y="665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4"/>
                    <a:pt x="225" y="664"/>
                    <a:pt x="225" y="664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3"/>
                    <a:pt x="225" y="663"/>
                    <a:pt x="225" y="663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25" y="662"/>
                    <a:pt x="225" y="662"/>
                    <a:pt x="225" y="662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5" y="658"/>
                    <a:pt x="235" y="658"/>
                    <a:pt x="235" y="658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4" y="661"/>
                    <a:pt x="234" y="661"/>
                    <a:pt x="234" y="661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32" y="664"/>
                    <a:pt x="232" y="664"/>
                    <a:pt x="232" y="664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9" y="667"/>
                    <a:pt x="229" y="667"/>
                    <a:pt x="229" y="667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6" y="669"/>
                    <a:pt x="226" y="669"/>
                    <a:pt x="226" y="669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3" y="671"/>
                    <a:pt x="223" y="671"/>
                    <a:pt x="223" y="671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20" y="673"/>
                    <a:pt x="220" y="673"/>
                    <a:pt x="220" y="673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7" y="675"/>
                    <a:pt x="217" y="675"/>
                    <a:pt x="217" y="675"/>
                  </a:cubicBezTo>
                  <a:cubicBezTo>
                    <a:pt x="216" y="675"/>
                    <a:pt x="215" y="676"/>
                    <a:pt x="214" y="676"/>
                  </a:cubicBezTo>
                  <a:cubicBezTo>
                    <a:pt x="214" y="676"/>
                    <a:pt x="214" y="676"/>
                    <a:pt x="214" y="676"/>
                  </a:cubicBezTo>
                  <a:cubicBezTo>
                    <a:pt x="203" y="679"/>
                    <a:pt x="203" y="679"/>
                    <a:pt x="203" y="679"/>
                  </a:cubicBezTo>
                  <a:close/>
                  <a:moveTo>
                    <a:pt x="305" y="665"/>
                  </a:moveTo>
                  <a:cubicBezTo>
                    <a:pt x="306" y="655"/>
                    <a:pt x="306" y="655"/>
                    <a:pt x="306" y="655"/>
                  </a:cubicBezTo>
                  <a:cubicBezTo>
                    <a:pt x="306" y="655"/>
                    <a:pt x="306" y="655"/>
                    <a:pt x="306" y="655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7" y="649"/>
                    <a:pt x="317" y="649"/>
                    <a:pt x="317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49"/>
                    <a:pt x="318" y="649"/>
                    <a:pt x="318" y="649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8" y="651"/>
                    <a:pt x="318" y="651"/>
                    <a:pt x="318" y="651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7" y="653"/>
                    <a:pt x="317" y="653"/>
                    <a:pt x="317" y="653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6" y="654"/>
                    <a:pt x="316" y="654"/>
                    <a:pt x="316" y="654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5" y="656"/>
                    <a:pt x="315" y="656"/>
                    <a:pt x="315" y="656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3" y="657"/>
                    <a:pt x="313" y="657"/>
                    <a:pt x="313" y="657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2" y="659"/>
                    <a:pt x="312" y="659"/>
                    <a:pt x="312" y="659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1" y="660"/>
                    <a:pt x="311" y="660"/>
                    <a:pt x="311" y="660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10" y="661"/>
                    <a:pt x="310" y="661"/>
                    <a:pt x="310" y="661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2"/>
                    <a:pt x="309" y="662"/>
                    <a:pt x="309" y="662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9" y="663"/>
                    <a:pt x="309" y="663"/>
                    <a:pt x="309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8" y="663"/>
                    <a:pt x="308" y="663"/>
                    <a:pt x="308" y="663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7" y="664"/>
                    <a:pt x="307" y="664"/>
                    <a:pt x="307" y="664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6" y="665"/>
                    <a:pt x="306" y="665"/>
                    <a:pt x="306" y="665"/>
                  </a:cubicBezTo>
                  <a:cubicBezTo>
                    <a:pt x="305" y="665"/>
                    <a:pt x="305" y="665"/>
                    <a:pt x="305" y="665"/>
                  </a:cubicBezTo>
                  <a:close/>
                  <a:moveTo>
                    <a:pt x="598" y="662"/>
                  </a:move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1"/>
                    <a:pt x="598" y="661"/>
                    <a:pt x="598" y="661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60"/>
                    <a:pt x="598" y="660"/>
                    <a:pt x="598" y="660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9"/>
                    <a:pt x="598" y="659"/>
                    <a:pt x="598" y="659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8"/>
                    <a:pt x="598" y="658"/>
                    <a:pt x="598" y="658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7"/>
                    <a:pt x="598" y="657"/>
                    <a:pt x="598" y="657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8" y="656"/>
                    <a:pt x="598" y="656"/>
                    <a:pt x="598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599" y="656"/>
                    <a:pt x="599" y="656"/>
                    <a:pt x="599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6"/>
                    <a:pt x="600" y="656"/>
                    <a:pt x="600" y="656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7"/>
                    <a:pt x="600" y="657"/>
                    <a:pt x="600" y="657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0" y="658"/>
                    <a:pt x="600" y="658"/>
                    <a:pt x="600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8"/>
                    <a:pt x="601" y="658"/>
                    <a:pt x="601" y="658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1" y="659"/>
                    <a:pt x="601" y="659"/>
                    <a:pt x="601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2" y="659"/>
                    <a:pt x="602" y="659"/>
                    <a:pt x="602" y="659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0"/>
                    <a:pt x="601" y="660"/>
                    <a:pt x="601" y="660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1" y="661"/>
                    <a:pt x="601" y="661"/>
                    <a:pt x="601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600" y="661"/>
                    <a:pt x="600" y="661"/>
                    <a:pt x="600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1"/>
                    <a:pt x="599" y="661"/>
                    <a:pt x="599" y="661"/>
                  </a:cubicBezTo>
                  <a:cubicBezTo>
                    <a:pt x="599" y="662"/>
                    <a:pt x="599" y="662"/>
                    <a:pt x="599" y="662"/>
                  </a:cubicBezTo>
                  <a:lnTo>
                    <a:pt x="598" y="662"/>
                  </a:lnTo>
                  <a:close/>
                  <a:moveTo>
                    <a:pt x="615" y="662"/>
                  </a:moveTo>
                  <a:cubicBezTo>
                    <a:pt x="614" y="662"/>
                    <a:pt x="614" y="662"/>
                    <a:pt x="614" y="662"/>
                  </a:cubicBezTo>
                  <a:cubicBezTo>
                    <a:pt x="614" y="662"/>
                    <a:pt x="614" y="662"/>
                    <a:pt x="614" y="662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4" y="661"/>
                    <a:pt x="614" y="661"/>
                    <a:pt x="614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1"/>
                    <a:pt x="613" y="661"/>
                    <a:pt x="613" y="661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60"/>
                    <a:pt x="613" y="660"/>
                    <a:pt x="613" y="660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9"/>
                    <a:pt x="613" y="659"/>
                    <a:pt x="613" y="659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8"/>
                    <a:pt x="613" y="658"/>
                    <a:pt x="613" y="658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3" y="657"/>
                    <a:pt x="613" y="657"/>
                    <a:pt x="613" y="657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4" y="656"/>
                    <a:pt x="614" y="656"/>
                    <a:pt x="614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6"/>
                    <a:pt x="613" y="656"/>
                    <a:pt x="613" y="656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5"/>
                    <a:pt x="613" y="655"/>
                    <a:pt x="613" y="655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3" y="654"/>
                    <a:pt x="613" y="654"/>
                    <a:pt x="613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4" y="654"/>
                    <a:pt x="614" y="654"/>
                    <a:pt x="614" y="654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5" y="653"/>
                    <a:pt x="615" y="653"/>
                    <a:pt x="615" y="653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4"/>
                    <a:pt x="617" y="654"/>
                    <a:pt x="617" y="654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5"/>
                    <a:pt x="617" y="655"/>
                    <a:pt x="617" y="655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6"/>
                    <a:pt x="617" y="656"/>
                    <a:pt x="617" y="656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7"/>
                    <a:pt x="617" y="657"/>
                    <a:pt x="617" y="657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8"/>
                    <a:pt x="617" y="658"/>
                    <a:pt x="617" y="658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59"/>
                    <a:pt x="617" y="659"/>
                    <a:pt x="617" y="659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7" y="660"/>
                    <a:pt x="617" y="660"/>
                    <a:pt x="617" y="660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62"/>
                    <a:pt x="616" y="662"/>
                    <a:pt x="616" y="662"/>
                  </a:cubicBezTo>
                  <a:lnTo>
                    <a:pt x="615" y="662"/>
                  </a:lnTo>
                  <a:close/>
                  <a:moveTo>
                    <a:pt x="607" y="656"/>
                  </a:moveTo>
                  <a:cubicBezTo>
                    <a:pt x="606" y="656"/>
                    <a:pt x="606" y="656"/>
                    <a:pt x="606" y="656"/>
                  </a:cubicBezTo>
                  <a:cubicBezTo>
                    <a:pt x="606" y="656"/>
                    <a:pt x="606" y="656"/>
                    <a:pt x="606" y="656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5" y="655"/>
                    <a:pt x="605" y="655"/>
                    <a:pt x="605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4" y="655"/>
                    <a:pt x="604" y="655"/>
                    <a:pt x="604" y="655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4"/>
                    <a:pt x="603" y="654"/>
                    <a:pt x="603" y="654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3" y="652"/>
                    <a:pt x="603" y="652"/>
                    <a:pt x="603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4" y="651"/>
                    <a:pt x="604" y="651"/>
                    <a:pt x="604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1"/>
                    <a:pt x="605" y="651"/>
                    <a:pt x="605" y="651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5" y="650"/>
                    <a:pt x="605" y="650"/>
                    <a:pt x="605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6" y="650"/>
                    <a:pt x="606" y="650"/>
                    <a:pt x="606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7" y="650"/>
                    <a:pt x="607" y="650"/>
                    <a:pt x="607" y="650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8" y="651"/>
                    <a:pt x="608" y="651"/>
                    <a:pt x="608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1"/>
                    <a:pt x="609" y="651"/>
                    <a:pt x="609" y="651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09" y="652"/>
                    <a:pt x="609" y="652"/>
                    <a:pt x="609" y="652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3"/>
                    <a:pt x="610" y="653"/>
                    <a:pt x="610" y="653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10" y="654"/>
                    <a:pt x="610" y="654"/>
                    <a:pt x="610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4"/>
                    <a:pt x="609" y="654"/>
                    <a:pt x="609" y="654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9" y="655"/>
                    <a:pt x="609" y="655"/>
                    <a:pt x="609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5"/>
                    <a:pt x="608" y="655"/>
                    <a:pt x="608" y="655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8" y="656"/>
                    <a:pt x="608" y="656"/>
                    <a:pt x="608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ubicBezTo>
                    <a:pt x="607" y="656"/>
                    <a:pt x="607" y="656"/>
                    <a:pt x="607" y="656"/>
                  </a:cubicBezTo>
                  <a:close/>
                  <a:moveTo>
                    <a:pt x="307" y="647"/>
                  </a:moveTo>
                  <a:cubicBezTo>
                    <a:pt x="307" y="647"/>
                    <a:pt x="307" y="647"/>
                    <a:pt x="307" y="647"/>
                  </a:cubicBezTo>
                  <a:cubicBezTo>
                    <a:pt x="307" y="647"/>
                    <a:pt x="307" y="647"/>
                    <a:pt x="307" y="647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6"/>
                    <a:pt x="307" y="646"/>
                    <a:pt x="307" y="646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5"/>
                    <a:pt x="307" y="645"/>
                    <a:pt x="307" y="645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07" y="644"/>
                    <a:pt x="307" y="644"/>
                    <a:pt x="307" y="644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2"/>
                    <a:pt x="312" y="642"/>
                    <a:pt x="312" y="642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2" y="643"/>
                    <a:pt x="312" y="643"/>
                    <a:pt x="312" y="643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1" y="644"/>
                    <a:pt x="311" y="644"/>
                    <a:pt x="311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4"/>
                    <a:pt x="310" y="644"/>
                    <a:pt x="310" y="644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10" y="645"/>
                    <a:pt x="310" y="645"/>
                    <a:pt x="310" y="645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9" y="646"/>
                    <a:pt x="309" y="646"/>
                    <a:pt x="309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6"/>
                    <a:pt x="308" y="646"/>
                    <a:pt x="308" y="646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8" y="647"/>
                    <a:pt x="308" y="647"/>
                    <a:pt x="308" y="647"/>
                  </a:cubicBezTo>
                  <a:cubicBezTo>
                    <a:pt x="307" y="647"/>
                    <a:pt x="307" y="647"/>
                    <a:pt x="307" y="647"/>
                  </a:cubicBezTo>
                  <a:close/>
                  <a:moveTo>
                    <a:pt x="601" y="645"/>
                  </a:moveTo>
                  <a:cubicBezTo>
                    <a:pt x="601" y="645"/>
                    <a:pt x="601" y="645"/>
                    <a:pt x="601" y="645"/>
                  </a:cubicBezTo>
                  <a:close/>
                  <a:moveTo>
                    <a:pt x="217" y="632"/>
                  </a:moveTo>
                  <a:cubicBezTo>
                    <a:pt x="217" y="632"/>
                    <a:pt x="217" y="632"/>
                    <a:pt x="217" y="632"/>
                  </a:cubicBezTo>
                  <a:cubicBezTo>
                    <a:pt x="217" y="632"/>
                    <a:pt x="217" y="632"/>
                    <a:pt x="217" y="632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1"/>
                    <a:pt x="217" y="631"/>
                    <a:pt x="217" y="631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7" y="630"/>
                    <a:pt x="217" y="630"/>
                    <a:pt x="217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30"/>
                    <a:pt x="218" y="630"/>
                    <a:pt x="218" y="630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9"/>
                    <a:pt x="218" y="629"/>
                    <a:pt x="218" y="629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8" y="628"/>
                    <a:pt x="218" y="628"/>
                    <a:pt x="218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8"/>
                    <a:pt x="217" y="628"/>
                    <a:pt x="217" y="628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7" y="627"/>
                    <a:pt x="217" y="627"/>
                    <a:pt x="217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7"/>
                    <a:pt x="216" y="627"/>
                    <a:pt x="216" y="627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6"/>
                    <a:pt x="216" y="626"/>
                    <a:pt x="216" y="626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6" y="625"/>
                    <a:pt x="216" y="625"/>
                    <a:pt x="216" y="625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1" y="621"/>
                    <a:pt x="211" y="621"/>
                    <a:pt x="211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1"/>
                    <a:pt x="210" y="621"/>
                    <a:pt x="210" y="621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20"/>
                    <a:pt x="210" y="620"/>
                    <a:pt x="210" y="620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0" y="619"/>
                    <a:pt x="210" y="619"/>
                    <a:pt x="210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3" y="619"/>
                    <a:pt x="213" y="619"/>
                    <a:pt x="213" y="619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17" y="620"/>
                    <a:pt x="217" y="620"/>
                    <a:pt x="217" y="620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0" y="621"/>
                    <a:pt x="220" y="621"/>
                    <a:pt x="220" y="621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2" y="622"/>
                    <a:pt x="222" y="622"/>
                    <a:pt x="222" y="622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4" y="623"/>
                    <a:pt x="224" y="623"/>
                    <a:pt x="224" y="623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6" y="624"/>
                    <a:pt x="226" y="624"/>
                    <a:pt x="226" y="624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8" y="626"/>
                    <a:pt x="228" y="626"/>
                    <a:pt x="228" y="626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7"/>
                    <a:pt x="229" y="627"/>
                    <a:pt x="229" y="627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29" y="628"/>
                    <a:pt x="229" y="628"/>
                    <a:pt x="229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8"/>
                    <a:pt x="230" y="628"/>
                    <a:pt x="230" y="628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29"/>
                    <a:pt x="230" y="629"/>
                    <a:pt x="230" y="629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30" y="630"/>
                    <a:pt x="230" y="630"/>
                    <a:pt x="230" y="630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9" y="631"/>
                    <a:pt x="229" y="631"/>
                    <a:pt x="229" y="631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7" y="632"/>
                    <a:pt x="227" y="632"/>
                    <a:pt x="227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6" y="632"/>
                    <a:pt x="226" y="632"/>
                    <a:pt x="226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4" y="632"/>
                    <a:pt x="224" y="632"/>
                    <a:pt x="224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2" y="632"/>
                    <a:pt x="222" y="632"/>
                    <a:pt x="222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20" y="632"/>
                    <a:pt x="220" y="632"/>
                    <a:pt x="220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8" y="632"/>
                    <a:pt x="218" y="632"/>
                    <a:pt x="218" y="632"/>
                  </a:cubicBezTo>
                  <a:cubicBezTo>
                    <a:pt x="217" y="632"/>
                    <a:pt x="217" y="632"/>
                    <a:pt x="217" y="632"/>
                  </a:cubicBezTo>
                  <a:close/>
                  <a:moveTo>
                    <a:pt x="179" y="574"/>
                  </a:moveTo>
                  <a:cubicBezTo>
                    <a:pt x="174" y="578"/>
                    <a:pt x="174" y="578"/>
                    <a:pt x="174" y="578"/>
                  </a:cubicBezTo>
                  <a:cubicBezTo>
                    <a:pt x="164" y="563"/>
                    <a:pt x="164" y="563"/>
                    <a:pt x="164" y="563"/>
                  </a:cubicBezTo>
                  <a:cubicBezTo>
                    <a:pt x="181" y="551"/>
                    <a:pt x="181" y="551"/>
                    <a:pt x="181" y="551"/>
                  </a:cubicBezTo>
                  <a:cubicBezTo>
                    <a:pt x="190" y="565"/>
                    <a:pt x="190" y="565"/>
                    <a:pt x="190" y="565"/>
                  </a:cubicBezTo>
                  <a:cubicBezTo>
                    <a:pt x="192" y="567"/>
                    <a:pt x="193" y="569"/>
                    <a:pt x="193" y="571"/>
                  </a:cubicBezTo>
                  <a:cubicBezTo>
                    <a:pt x="194" y="572"/>
                    <a:pt x="194" y="574"/>
                    <a:pt x="194" y="576"/>
                  </a:cubicBezTo>
                  <a:cubicBezTo>
                    <a:pt x="194" y="578"/>
                    <a:pt x="193" y="580"/>
                    <a:pt x="192" y="582"/>
                  </a:cubicBezTo>
                  <a:cubicBezTo>
                    <a:pt x="190" y="585"/>
                    <a:pt x="188" y="586"/>
                    <a:pt x="185" y="588"/>
                  </a:cubicBezTo>
                  <a:cubicBezTo>
                    <a:pt x="180" y="592"/>
                    <a:pt x="176" y="593"/>
                    <a:pt x="172" y="593"/>
                  </a:cubicBezTo>
                  <a:cubicBezTo>
                    <a:pt x="168" y="592"/>
                    <a:pt x="164" y="589"/>
                    <a:pt x="161" y="585"/>
                  </a:cubicBezTo>
                  <a:cubicBezTo>
                    <a:pt x="152" y="571"/>
                    <a:pt x="152" y="571"/>
                    <a:pt x="152" y="571"/>
                  </a:cubicBezTo>
                  <a:cubicBezTo>
                    <a:pt x="157" y="568"/>
                    <a:pt x="157" y="568"/>
                    <a:pt x="157" y="568"/>
                  </a:cubicBezTo>
                  <a:cubicBezTo>
                    <a:pt x="166" y="581"/>
                    <a:pt x="166" y="581"/>
                    <a:pt x="166" y="581"/>
                  </a:cubicBezTo>
                  <a:cubicBezTo>
                    <a:pt x="168" y="584"/>
                    <a:pt x="170" y="585"/>
                    <a:pt x="172" y="585"/>
                  </a:cubicBezTo>
                  <a:cubicBezTo>
                    <a:pt x="174" y="585"/>
                    <a:pt x="177" y="584"/>
                    <a:pt x="181" y="582"/>
                  </a:cubicBezTo>
                  <a:cubicBezTo>
                    <a:pt x="184" y="579"/>
                    <a:pt x="186" y="577"/>
                    <a:pt x="186" y="575"/>
                  </a:cubicBezTo>
                  <a:cubicBezTo>
                    <a:pt x="187" y="573"/>
                    <a:pt x="187" y="571"/>
                    <a:pt x="185" y="568"/>
                  </a:cubicBezTo>
                  <a:cubicBezTo>
                    <a:pt x="180" y="561"/>
                    <a:pt x="180" y="561"/>
                    <a:pt x="180" y="561"/>
                  </a:cubicBezTo>
                  <a:cubicBezTo>
                    <a:pt x="173" y="566"/>
                    <a:pt x="173" y="566"/>
                    <a:pt x="173" y="566"/>
                  </a:cubicBezTo>
                  <a:cubicBezTo>
                    <a:pt x="179" y="574"/>
                    <a:pt x="179" y="574"/>
                    <a:pt x="179" y="574"/>
                  </a:cubicBezTo>
                  <a:close/>
                  <a:moveTo>
                    <a:pt x="143" y="556"/>
                  </a:moveTo>
                  <a:cubicBezTo>
                    <a:pt x="162" y="546"/>
                    <a:pt x="162" y="546"/>
                    <a:pt x="162" y="546"/>
                  </a:cubicBezTo>
                  <a:cubicBezTo>
                    <a:pt x="165" y="545"/>
                    <a:pt x="166" y="543"/>
                    <a:pt x="167" y="541"/>
                  </a:cubicBezTo>
                  <a:cubicBezTo>
                    <a:pt x="168" y="540"/>
                    <a:pt x="167" y="537"/>
                    <a:pt x="166" y="535"/>
                  </a:cubicBezTo>
                  <a:cubicBezTo>
                    <a:pt x="165" y="532"/>
                    <a:pt x="163" y="531"/>
                    <a:pt x="162" y="530"/>
                  </a:cubicBezTo>
                  <a:cubicBezTo>
                    <a:pt x="160" y="530"/>
                    <a:pt x="158" y="530"/>
                    <a:pt x="155" y="532"/>
                  </a:cubicBezTo>
                  <a:cubicBezTo>
                    <a:pt x="136" y="541"/>
                    <a:pt x="136" y="541"/>
                    <a:pt x="136" y="541"/>
                  </a:cubicBezTo>
                  <a:cubicBezTo>
                    <a:pt x="132" y="535"/>
                    <a:pt x="132" y="535"/>
                    <a:pt x="132" y="535"/>
                  </a:cubicBezTo>
                  <a:cubicBezTo>
                    <a:pt x="151" y="525"/>
                    <a:pt x="151" y="525"/>
                    <a:pt x="151" y="525"/>
                  </a:cubicBezTo>
                  <a:cubicBezTo>
                    <a:pt x="154" y="524"/>
                    <a:pt x="155" y="523"/>
                    <a:pt x="157" y="523"/>
                  </a:cubicBezTo>
                  <a:cubicBezTo>
                    <a:pt x="158" y="522"/>
                    <a:pt x="160" y="522"/>
                    <a:pt x="161" y="522"/>
                  </a:cubicBezTo>
                  <a:cubicBezTo>
                    <a:pt x="163" y="523"/>
                    <a:pt x="165" y="524"/>
                    <a:pt x="166" y="526"/>
                  </a:cubicBezTo>
                  <a:cubicBezTo>
                    <a:pt x="168" y="527"/>
                    <a:pt x="170" y="529"/>
                    <a:pt x="171" y="532"/>
                  </a:cubicBezTo>
                  <a:cubicBezTo>
                    <a:pt x="173" y="535"/>
                    <a:pt x="173" y="538"/>
                    <a:pt x="174" y="540"/>
                  </a:cubicBezTo>
                  <a:cubicBezTo>
                    <a:pt x="174" y="542"/>
                    <a:pt x="174" y="544"/>
                    <a:pt x="173" y="546"/>
                  </a:cubicBezTo>
                  <a:cubicBezTo>
                    <a:pt x="172" y="547"/>
                    <a:pt x="172" y="548"/>
                    <a:pt x="170" y="549"/>
                  </a:cubicBezTo>
                  <a:cubicBezTo>
                    <a:pt x="169" y="550"/>
                    <a:pt x="168" y="551"/>
                    <a:pt x="165" y="553"/>
                  </a:cubicBezTo>
                  <a:cubicBezTo>
                    <a:pt x="146" y="562"/>
                    <a:pt x="146" y="562"/>
                    <a:pt x="146" y="562"/>
                  </a:cubicBezTo>
                  <a:cubicBezTo>
                    <a:pt x="143" y="556"/>
                    <a:pt x="143" y="556"/>
                    <a:pt x="143" y="556"/>
                  </a:cubicBezTo>
                  <a:close/>
                  <a:moveTo>
                    <a:pt x="130" y="509"/>
                  </a:moveTo>
                  <a:cubicBezTo>
                    <a:pt x="141" y="499"/>
                    <a:pt x="141" y="499"/>
                    <a:pt x="141" y="499"/>
                  </a:cubicBezTo>
                  <a:cubicBezTo>
                    <a:pt x="145" y="509"/>
                    <a:pt x="145" y="509"/>
                    <a:pt x="145" y="509"/>
                  </a:cubicBezTo>
                  <a:cubicBezTo>
                    <a:pt x="130" y="509"/>
                    <a:pt x="130" y="509"/>
                    <a:pt x="130" y="509"/>
                  </a:cubicBezTo>
                  <a:close/>
                  <a:moveTo>
                    <a:pt x="125" y="514"/>
                  </a:moveTo>
                  <a:cubicBezTo>
                    <a:pt x="122" y="507"/>
                    <a:pt x="122" y="507"/>
                    <a:pt x="122" y="507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47" y="495"/>
                    <a:pt x="147" y="495"/>
                    <a:pt x="147" y="495"/>
                  </a:cubicBezTo>
                  <a:cubicBezTo>
                    <a:pt x="152" y="509"/>
                    <a:pt x="152" y="509"/>
                    <a:pt x="152" y="509"/>
                  </a:cubicBezTo>
                  <a:cubicBezTo>
                    <a:pt x="160" y="510"/>
                    <a:pt x="160" y="510"/>
                    <a:pt x="160" y="510"/>
                  </a:cubicBezTo>
                  <a:cubicBezTo>
                    <a:pt x="163" y="517"/>
                    <a:pt x="163" y="517"/>
                    <a:pt x="163" y="517"/>
                  </a:cubicBezTo>
                  <a:cubicBezTo>
                    <a:pt x="125" y="514"/>
                    <a:pt x="125" y="514"/>
                    <a:pt x="125" y="514"/>
                  </a:cubicBezTo>
                  <a:close/>
                  <a:moveTo>
                    <a:pt x="115" y="485"/>
                  </a:moveTo>
                  <a:cubicBezTo>
                    <a:pt x="113" y="475"/>
                    <a:pt x="113" y="475"/>
                    <a:pt x="113" y="475"/>
                  </a:cubicBezTo>
                  <a:cubicBezTo>
                    <a:pt x="135" y="456"/>
                    <a:pt x="135" y="456"/>
                    <a:pt x="135" y="456"/>
                  </a:cubicBezTo>
                  <a:cubicBezTo>
                    <a:pt x="111" y="461"/>
                    <a:pt x="111" y="461"/>
                    <a:pt x="111" y="461"/>
                  </a:cubicBezTo>
                  <a:cubicBezTo>
                    <a:pt x="109" y="454"/>
                    <a:pt x="109" y="454"/>
                    <a:pt x="109" y="454"/>
                  </a:cubicBezTo>
                  <a:cubicBezTo>
                    <a:pt x="144" y="447"/>
                    <a:pt x="144" y="447"/>
                    <a:pt x="144" y="447"/>
                  </a:cubicBezTo>
                  <a:cubicBezTo>
                    <a:pt x="145" y="456"/>
                    <a:pt x="145" y="456"/>
                    <a:pt x="145" y="456"/>
                  </a:cubicBezTo>
                  <a:cubicBezTo>
                    <a:pt x="122" y="476"/>
                    <a:pt x="122" y="476"/>
                    <a:pt x="122" y="476"/>
                  </a:cubicBezTo>
                  <a:cubicBezTo>
                    <a:pt x="148" y="471"/>
                    <a:pt x="148" y="471"/>
                    <a:pt x="148" y="471"/>
                  </a:cubicBezTo>
                  <a:cubicBezTo>
                    <a:pt x="149" y="478"/>
                    <a:pt x="149" y="478"/>
                    <a:pt x="149" y="478"/>
                  </a:cubicBezTo>
                  <a:cubicBezTo>
                    <a:pt x="115" y="485"/>
                    <a:pt x="115" y="485"/>
                    <a:pt x="115" y="485"/>
                  </a:cubicBezTo>
                  <a:close/>
                  <a:moveTo>
                    <a:pt x="128" y="427"/>
                  </a:moveTo>
                  <a:cubicBezTo>
                    <a:pt x="121" y="427"/>
                    <a:pt x="121" y="427"/>
                    <a:pt x="121" y="427"/>
                  </a:cubicBezTo>
                  <a:cubicBezTo>
                    <a:pt x="121" y="410"/>
                    <a:pt x="121" y="410"/>
                    <a:pt x="121" y="410"/>
                  </a:cubicBezTo>
                  <a:cubicBezTo>
                    <a:pt x="142" y="409"/>
                    <a:pt x="142" y="409"/>
                    <a:pt x="142" y="409"/>
                  </a:cubicBezTo>
                  <a:cubicBezTo>
                    <a:pt x="142" y="425"/>
                    <a:pt x="142" y="425"/>
                    <a:pt x="142" y="425"/>
                  </a:cubicBezTo>
                  <a:cubicBezTo>
                    <a:pt x="142" y="428"/>
                    <a:pt x="142" y="431"/>
                    <a:pt x="142" y="432"/>
                  </a:cubicBezTo>
                  <a:cubicBezTo>
                    <a:pt x="141" y="434"/>
                    <a:pt x="140" y="435"/>
                    <a:pt x="139" y="437"/>
                  </a:cubicBezTo>
                  <a:cubicBezTo>
                    <a:pt x="138" y="439"/>
                    <a:pt x="136" y="440"/>
                    <a:pt x="134" y="441"/>
                  </a:cubicBezTo>
                  <a:cubicBezTo>
                    <a:pt x="132" y="442"/>
                    <a:pt x="129" y="442"/>
                    <a:pt x="126" y="443"/>
                  </a:cubicBezTo>
                  <a:cubicBezTo>
                    <a:pt x="119" y="443"/>
                    <a:pt x="115" y="441"/>
                    <a:pt x="112" y="439"/>
                  </a:cubicBezTo>
                  <a:cubicBezTo>
                    <a:pt x="109" y="436"/>
                    <a:pt x="107" y="432"/>
                    <a:pt x="107" y="426"/>
                  </a:cubicBezTo>
                  <a:cubicBezTo>
                    <a:pt x="107" y="410"/>
                    <a:pt x="107" y="410"/>
                    <a:pt x="107" y="410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113" y="426"/>
                    <a:pt x="113" y="426"/>
                    <a:pt x="113" y="426"/>
                  </a:cubicBezTo>
                  <a:cubicBezTo>
                    <a:pt x="113" y="429"/>
                    <a:pt x="114" y="431"/>
                    <a:pt x="116" y="432"/>
                  </a:cubicBezTo>
                  <a:cubicBezTo>
                    <a:pt x="118" y="434"/>
                    <a:pt x="121" y="434"/>
                    <a:pt x="125" y="434"/>
                  </a:cubicBezTo>
                  <a:cubicBezTo>
                    <a:pt x="129" y="434"/>
                    <a:pt x="132" y="433"/>
                    <a:pt x="133" y="432"/>
                  </a:cubicBezTo>
                  <a:cubicBezTo>
                    <a:pt x="135" y="431"/>
                    <a:pt x="136" y="428"/>
                    <a:pt x="136" y="425"/>
                  </a:cubicBezTo>
                  <a:cubicBezTo>
                    <a:pt x="136" y="417"/>
                    <a:pt x="136" y="417"/>
                    <a:pt x="136" y="417"/>
                  </a:cubicBezTo>
                  <a:cubicBezTo>
                    <a:pt x="127" y="417"/>
                    <a:pt x="127" y="417"/>
                    <a:pt x="127" y="417"/>
                  </a:cubicBezTo>
                  <a:cubicBezTo>
                    <a:pt x="128" y="427"/>
                    <a:pt x="128" y="427"/>
                    <a:pt x="128" y="427"/>
                  </a:cubicBezTo>
                  <a:close/>
                  <a:moveTo>
                    <a:pt x="115" y="385"/>
                  </a:moveTo>
                  <a:cubicBezTo>
                    <a:pt x="115" y="385"/>
                    <a:pt x="115" y="385"/>
                    <a:pt x="115" y="385"/>
                  </a:cubicBezTo>
                  <a:cubicBezTo>
                    <a:pt x="115" y="382"/>
                    <a:pt x="116" y="379"/>
                    <a:pt x="117" y="378"/>
                  </a:cubicBezTo>
                  <a:cubicBezTo>
                    <a:pt x="119" y="377"/>
                    <a:pt x="122" y="377"/>
                    <a:pt x="127" y="377"/>
                  </a:cubicBezTo>
                  <a:cubicBezTo>
                    <a:pt x="131" y="377"/>
                    <a:pt x="134" y="378"/>
                    <a:pt x="135" y="379"/>
                  </a:cubicBezTo>
                  <a:cubicBezTo>
                    <a:pt x="137" y="381"/>
                    <a:pt x="138" y="383"/>
                    <a:pt x="137" y="386"/>
                  </a:cubicBezTo>
                  <a:cubicBezTo>
                    <a:pt x="137" y="395"/>
                    <a:pt x="137" y="395"/>
                    <a:pt x="137" y="395"/>
                  </a:cubicBezTo>
                  <a:cubicBezTo>
                    <a:pt x="114" y="394"/>
                    <a:pt x="114" y="394"/>
                    <a:pt x="114" y="394"/>
                  </a:cubicBezTo>
                  <a:cubicBezTo>
                    <a:pt x="115" y="385"/>
                    <a:pt x="115" y="385"/>
                    <a:pt x="115" y="385"/>
                  </a:cubicBezTo>
                  <a:close/>
                  <a:moveTo>
                    <a:pt x="107" y="401"/>
                  </a:moveTo>
                  <a:cubicBezTo>
                    <a:pt x="108" y="384"/>
                    <a:pt x="108" y="384"/>
                    <a:pt x="108" y="384"/>
                  </a:cubicBezTo>
                  <a:cubicBezTo>
                    <a:pt x="109" y="378"/>
                    <a:pt x="111" y="374"/>
                    <a:pt x="114" y="372"/>
                  </a:cubicBezTo>
                  <a:cubicBezTo>
                    <a:pt x="117" y="369"/>
                    <a:pt x="122" y="368"/>
                    <a:pt x="128" y="369"/>
                  </a:cubicBezTo>
                  <a:cubicBezTo>
                    <a:pt x="131" y="369"/>
                    <a:pt x="134" y="370"/>
                    <a:pt x="136" y="371"/>
                  </a:cubicBezTo>
                  <a:cubicBezTo>
                    <a:pt x="138" y="372"/>
                    <a:pt x="140" y="373"/>
                    <a:pt x="141" y="375"/>
                  </a:cubicBezTo>
                  <a:cubicBezTo>
                    <a:pt x="142" y="377"/>
                    <a:pt x="143" y="378"/>
                    <a:pt x="143" y="380"/>
                  </a:cubicBezTo>
                  <a:cubicBezTo>
                    <a:pt x="144" y="381"/>
                    <a:pt x="144" y="384"/>
                    <a:pt x="144" y="387"/>
                  </a:cubicBezTo>
                  <a:cubicBezTo>
                    <a:pt x="142" y="403"/>
                    <a:pt x="142" y="403"/>
                    <a:pt x="142" y="403"/>
                  </a:cubicBezTo>
                  <a:cubicBezTo>
                    <a:pt x="107" y="401"/>
                    <a:pt x="107" y="401"/>
                    <a:pt x="107" y="401"/>
                  </a:cubicBezTo>
                  <a:close/>
                  <a:moveTo>
                    <a:pt x="128" y="362"/>
                  </a:moveTo>
                  <a:cubicBezTo>
                    <a:pt x="123" y="361"/>
                    <a:pt x="118" y="359"/>
                    <a:pt x="116" y="355"/>
                  </a:cubicBezTo>
                  <a:cubicBezTo>
                    <a:pt x="114" y="351"/>
                    <a:pt x="114" y="347"/>
                    <a:pt x="115" y="341"/>
                  </a:cubicBezTo>
                  <a:cubicBezTo>
                    <a:pt x="116" y="335"/>
                    <a:pt x="119" y="331"/>
                    <a:pt x="122" y="329"/>
                  </a:cubicBezTo>
                  <a:cubicBezTo>
                    <a:pt x="126" y="327"/>
                    <a:pt x="131" y="326"/>
                    <a:pt x="137" y="328"/>
                  </a:cubicBezTo>
                  <a:cubicBezTo>
                    <a:pt x="143" y="329"/>
                    <a:pt x="147" y="332"/>
                    <a:pt x="149" y="335"/>
                  </a:cubicBezTo>
                  <a:cubicBezTo>
                    <a:pt x="152" y="339"/>
                    <a:pt x="152" y="343"/>
                    <a:pt x="151" y="349"/>
                  </a:cubicBezTo>
                  <a:cubicBezTo>
                    <a:pt x="149" y="355"/>
                    <a:pt x="147" y="359"/>
                    <a:pt x="143" y="361"/>
                  </a:cubicBezTo>
                  <a:cubicBezTo>
                    <a:pt x="140" y="364"/>
                    <a:pt x="135" y="364"/>
                    <a:pt x="128" y="362"/>
                  </a:cubicBezTo>
                  <a:close/>
                  <a:moveTo>
                    <a:pt x="121" y="342"/>
                  </a:moveTo>
                  <a:cubicBezTo>
                    <a:pt x="122" y="339"/>
                    <a:pt x="123" y="337"/>
                    <a:pt x="125" y="336"/>
                  </a:cubicBezTo>
                  <a:cubicBezTo>
                    <a:pt x="128" y="335"/>
                    <a:pt x="131" y="335"/>
                    <a:pt x="135" y="336"/>
                  </a:cubicBezTo>
                  <a:cubicBezTo>
                    <a:pt x="139" y="337"/>
                    <a:pt x="142" y="338"/>
                    <a:pt x="143" y="340"/>
                  </a:cubicBezTo>
                  <a:cubicBezTo>
                    <a:pt x="145" y="342"/>
                    <a:pt x="145" y="345"/>
                    <a:pt x="145" y="348"/>
                  </a:cubicBezTo>
                  <a:cubicBezTo>
                    <a:pt x="144" y="351"/>
                    <a:pt x="142" y="353"/>
                    <a:pt x="140" y="354"/>
                  </a:cubicBezTo>
                  <a:cubicBezTo>
                    <a:pt x="138" y="355"/>
                    <a:pt x="135" y="355"/>
                    <a:pt x="130" y="354"/>
                  </a:cubicBezTo>
                  <a:cubicBezTo>
                    <a:pt x="126" y="353"/>
                    <a:pt x="124" y="352"/>
                    <a:pt x="122" y="350"/>
                  </a:cubicBezTo>
                  <a:cubicBezTo>
                    <a:pt x="121" y="348"/>
                    <a:pt x="120" y="345"/>
                    <a:pt x="121" y="342"/>
                  </a:cubicBezTo>
                  <a:close/>
                  <a:moveTo>
                    <a:pt x="124" y="314"/>
                  </a:moveTo>
                  <a:cubicBezTo>
                    <a:pt x="127" y="305"/>
                    <a:pt x="127" y="305"/>
                    <a:pt x="127" y="305"/>
                  </a:cubicBezTo>
                  <a:cubicBezTo>
                    <a:pt x="156" y="301"/>
                    <a:pt x="156" y="301"/>
                    <a:pt x="156" y="301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5" y="284"/>
                    <a:pt x="135" y="284"/>
                    <a:pt x="135" y="284"/>
                  </a:cubicBezTo>
                  <a:cubicBezTo>
                    <a:pt x="168" y="298"/>
                    <a:pt x="168" y="298"/>
                    <a:pt x="168" y="298"/>
                  </a:cubicBezTo>
                  <a:cubicBezTo>
                    <a:pt x="165" y="306"/>
                    <a:pt x="165" y="306"/>
                    <a:pt x="165" y="306"/>
                  </a:cubicBezTo>
                  <a:cubicBezTo>
                    <a:pt x="135" y="310"/>
                    <a:pt x="135" y="310"/>
                    <a:pt x="135" y="310"/>
                  </a:cubicBezTo>
                  <a:cubicBezTo>
                    <a:pt x="159" y="320"/>
                    <a:pt x="159" y="320"/>
                    <a:pt x="159" y="320"/>
                  </a:cubicBezTo>
                  <a:cubicBezTo>
                    <a:pt x="156" y="327"/>
                    <a:pt x="156" y="327"/>
                    <a:pt x="156" y="327"/>
                  </a:cubicBezTo>
                  <a:cubicBezTo>
                    <a:pt x="124" y="314"/>
                    <a:pt x="124" y="314"/>
                    <a:pt x="124" y="314"/>
                  </a:cubicBezTo>
                  <a:close/>
                  <a:moveTo>
                    <a:pt x="166" y="273"/>
                  </a:moveTo>
                  <a:cubicBezTo>
                    <a:pt x="160" y="269"/>
                    <a:pt x="160" y="269"/>
                    <a:pt x="160" y="269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87" y="265"/>
                    <a:pt x="187" y="265"/>
                    <a:pt x="187" y="265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8" y="281"/>
                    <a:pt x="176" y="283"/>
                    <a:pt x="175" y="284"/>
                  </a:cubicBezTo>
                  <a:cubicBezTo>
                    <a:pt x="174" y="286"/>
                    <a:pt x="172" y="286"/>
                    <a:pt x="171" y="287"/>
                  </a:cubicBezTo>
                  <a:cubicBezTo>
                    <a:pt x="168" y="288"/>
                    <a:pt x="166" y="288"/>
                    <a:pt x="164" y="288"/>
                  </a:cubicBezTo>
                  <a:cubicBezTo>
                    <a:pt x="161" y="287"/>
                    <a:pt x="159" y="286"/>
                    <a:pt x="156" y="284"/>
                  </a:cubicBezTo>
                  <a:cubicBezTo>
                    <a:pt x="151" y="281"/>
                    <a:pt x="147" y="278"/>
                    <a:pt x="146" y="274"/>
                  </a:cubicBezTo>
                  <a:cubicBezTo>
                    <a:pt x="145" y="270"/>
                    <a:pt x="146" y="265"/>
                    <a:pt x="149" y="260"/>
                  </a:cubicBezTo>
                  <a:cubicBezTo>
                    <a:pt x="157" y="247"/>
                    <a:pt x="157" y="247"/>
                    <a:pt x="157" y="247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54" y="264"/>
                    <a:pt x="154" y="264"/>
                    <a:pt x="154" y="264"/>
                  </a:cubicBezTo>
                  <a:cubicBezTo>
                    <a:pt x="153" y="266"/>
                    <a:pt x="152" y="268"/>
                    <a:pt x="153" y="271"/>
                  </a:cubicBezTo>
                  <a:cubicBezTo>
                    <a:pt x="154" y="273"/>
                    <a:pt x="156" y="275"/>
                    <a:pt x="160" y="277"/>
                  </a:cubicBezTo>
                  <a:cubicBezTo>
                    <a:pt x="163" y="279"/>
                    <a:pt x="166" y="280"/>
                    <a:pt x="168" y="280"/>
                  </a:cubicBezTo>
                  <a:cubicBezTo>
                    <a:pt x="170" y="279"/>
                    <a:pt x="172" y="278"/>
                    <a:pt x="174" y="276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1" y="264"/>
                    <a:pt x="171" y="264"/>
                    <a:pt x="171" y="264"/>
                  </a:cubicBezTo>
                  <a:cubicBezTo>
                    <a:pt x="166" y="273"/>
                    <a:pt x="166" y="273"/>
                    <a:pt x="166" y="273"/>
                  </a:cubicBezTo>
                  <a:close/>
                  <a:moveTo>
                    <a:pt x="197" y="199"/>
                  </a:moveTo>
                  <a:cubicBezTo>
                    <a:pt x="211" y="215"/>
                    <a:pt x="211" y="215"/>
                    <a:pt x="211" y="215"/>
                  </a:cubicBezTo>
                  <a:cubicBezTo>
                    <a:pt x="213" y="217"/>
                    <a:pt x="215" y="218"/>
                    <a:pt x="217" y="219"/>
                  </a:cubicBezTo>
                  <a:cubicBezTo>
                    <a:pt x="219" y="219"/>
                    <a:pt x="221" y="218"/>
                    <a:pt x="223" y="216"/>
                  </a:cubicBezTo>
                  <a:cubicBezTo>
                    <a:pt x="225" y="214"/>
                    <a:pt x="226" y="212"/>
                    <a:pt x="226" y="210"/>
                  </a:cubicBezTo>
                  <a:cubicBezTo>
                    <a:pt x="226" y="208"/>
                    <a:pt x="225" y="206"/>
                    <a:pt x="223" y="204"/>
                  </a:cubicBezTo>
                  <a:cubicBezTo>
                    <a:pt x="208" y="188"/>
                    <a:pt x="208" y="188"/>
                    <a:pt x="208" y="188"/>
                  </a:cubicBezTo>
                  <a:cubicBezTo>
                    <a:pt x="214" y="183"/>
                    <a:pt x="214" y="183"/>
                    <a:pt x="214" y="183"/>
                  </a:cubicBezTo>
                  <a:cubicBezTo>
                    <a:pt x="228" y="199"/>
                    <a:pt x="228" y="199"/>
                    <a:pt x="228" y="199"/>
                  </a:cubicBezTo>
                  <a:cubicBezTo>
                    <a:pt x="230" y="201"/>
                    <a:pt x="231" y="202"/>
                    <a:pt x="232" y="203"/>
                  </a:cubicBezTo>
                  <a:cubicBezTo>
                    <a:pt x="233" y="205"/>
                    <a:pt x="233" y="206"/>
                    <a:pt x="233" y="207"/>
                  </a:cubicBezTo>
                  <a:cubicBezTo>
                    <a:pt x="233" y="209"/>
                    <a:pt x="233" y="212"/>
                    <a:pt x="232" y="214"/>
                  </a:cubicBezTo>
                  <a:cubicBezTo>
                    <a:pt x="231" y="216"/>
                    <a:pt x="229" y="218"/>
                    <a:pt x="227" y="220"/>
                  </a:cubicBezTo>
                  <a:cubicBezTo>
                    <a:pt x="224" y="222"/>
                    <a:pt x="222" y="224"/>
                    <a:pt x="220" y="225"/>
                  </a:cubicBezTo>
                  <a:cubicBezTo>
                    <a:pt x="218" y="226"/>
                    <a:pt x="216" y="226"/>
                    <a:pt x="214" y="226"/>
                  </a:cubicBezTo>
                  <a:cubicBezTo>
                    <a:pt x="213" y="225"/>
                    <a:pt x="212" y="225"/>
                    <a:pt x="210" y="224"/>
                  </a:cubicBezTo>
                  <a:cubicBezTo>
                    <a:pt x="209" y="223"/>
                    <a:pt x="208" y="222"/>
                    <a:pt x="206" y="22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97" y="199"/>
                    <a:pt x="197" y="199"/>
                    <a:pt x="197" y="199"/>
                  </a:cubicBezTo>
                  <a:close/>
                  <a:moveTo>
                    <a:pt x="222" y="175"/>
                  </a:moveTo>
                  <a:cubicBezTo>
                    <a:pt x="230" y="170"/>
                    <a:pt x="230" y="170"/>
                    <a:pt x="230" y="170"/>
                  </a:cubicBezTo>
                  <a:cubicBezTo>
                    <a:pt x="256" y="183"/>
                    <a:pt x="256" y="183"/>
                    <a:pt x="256" y="183"/>
                  </a:cubicBezTo>
                  <a:cubicBezTo>
                    <a:pt x="242" y="162"/>
                    <a:pt x="242" y="162"/>
                    <a:pt x="242" y="16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68" y="187"/>
                    <a:pt x="268" y="187"/>
                    <a:pt x="268" y="187"/>
                  </a:cubicBezTo>
                  <a:cubicBezTo>
                    <a:pt x="261" y="192"/>
                    <a:pt x="261" y="192"/>
                    <a:pt x="261" y="192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49" y="200"/>
                    <a:pt x="249" y="200"/>
                    <a:pt x="249" y="200"/>
                  </a:cubicBezTo>
                  <a:cubicBezTo>
                    <a:pt x="243" y="205"/>
                    <a:pt x="243" y="205"/>
                    <a:pt x="243" y="205"/>
                  </a:cubicBezTo>
                  <a:cubicBezTo>
                    <a:pt x="222" y="175"/>
                    <a:pt x="222" y="175"/>
                    <a:pt x="222" y="175"/>
                  </a:cubicBezTo>
                  <a:close/>
                  <a:moveTo>
                    <a:pt x="282" y="180"/>
                  </a:moveTo>
                  <a:cubicBezTo>
                    <a:pt x="275" y="184"/>
                    <a:pt x="275" y="184"/>
                    <a:pt x="275" y="184"/>
                  </a:cubicBezTo>
                  <a:cubicBezTo>
                    <a:pt x="257" y="153"/>
                    <a:pt x="257" y="153"/>
                    <a:pt x="257" y="153"/>
                  </a:cubicBezTo>
                  <a:cubicBezTo>
                    <a:pt x="264" y="149"/>
                    <a:pt x="264" y="149"/>
                    <a:pt x="264" y="149"/>
                  </a:cubicBezTo>
                  <a:cubicBezTo>
                    <a:pt x="282" y="180"/>
                    <a:pt x="282" y="180"/>
                    <a:pt x="282" y="180"/>
                  </a:cubicBezTo>
                  <a:close/>
                  <a:moveTo>
                    <a:pt x="297" y="172"/>
                  </a:moveTo>
                  <a:cubicBezTo>
                    <a:pt x="268" y="146"/>
                    <a:pt x="268" y="146"/>
                    <a:pt x="268" y="146"/>
                  </a:cubicBezTo>
                  <a:cubicBezTo>
                    <a:pt x="276" y="142"/>
                    <a:pt x="276" y="142"/>
                    <a:pt x="276" y="142"/>
                  </a:cubicBezTo>
                  <a:cubicBezTo>
                    <a:pt x="297" y="162"/>
                    <a:pt x="297" y="162"/>
                    <a:pt x="297" y="162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297" y="172"/>
                    <a:pt x="297" y="172"/>
                    <a:pt x="297" y="172"/>
                  </a:cubicBezTo>
                  <a:close/>
                  <a:moveTo>
                    <a:pt x="325" y="130"/>
                  </a:moveTo>
                  <a:cubicBezTo>
                    <a:pt x="323" y="131"/>
                    <a:pt x="321" y="132"/>
                    <a:pt x="320" y="134"/>
                  </a:cubicBezTo>
                  <a:cubicBezTo>
                    <a:pt x="319" y="136"/>
                    <a:pt x="319" y="138"/>
                    <a:pt x="320" y="141"/>
                  </a:cubicBezTo>
                  <a:cubicBezTo>
                    <a:pt x="339" y="135"/>
                    <a:pt x="339" y="135"/>
                    <a:pt x="339" y="135"/>
                  </a:cubicBezTo>
                  <a:cubicBezTo>
                    <a:pt x="341" y="141"/>
                    <a:pt x="341" y="141"/>
                    <a:pt x="341" y="141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322" y="150"/>
                    <a:pt x="323" y="152"/>
                    <a:pt x="325" y="153"/>
                  </a:cubicBezTo>
                  <a:cubicBezTo>
                    <a:pt x="327" y="154"/>
                    <a:pt x="329" y="154"/>
                    <a:pt x="332" y="153"/>
                  </a:cubicBezTo>
                  <a:cubicBezTo>
                    <a:pt x="344" y="149"/>
                    <a:pt x="344" y="149"/>
                    <a:pt x="344" y="149"/>
                  </a:cubicBezTo>
                  <a:cubicBezTo>
                    <a:pt x="345" y="155"/>
                    <a:pt x="345" y="155"/>
                    <a:pt x="345" y="155"/>
                  </a:cubicBezTo>
                  <a:cubicBezTo>
                    <a:pt x="333" y="159"/>
                    <a:pt x="333" y="159"/>
                    <a:pt x="333" y="159"/>
                  </a:cubicBezTo>
                  <a:cubicBezTo>
                    <a:pt x="331" y="160"/>
                    <a:pt x="328" y="160"/>
                    <a:pt x="327" y="160"/>
                  </a:cubicBezTo>
                  <a:cubicBezTo>
                    <a:pt x="325" y="160"/>
                    <a:pt x="323" y="160"/>
                    <a:pt x="322" y="159"/>
                  </a:cubicBezTo>
                  <a:cubicBezTo>
                    <a:pt x="320" y="158"/>
                    <a:pt x="318" y="157"/>
                    <a:pt x="316" y="155"/>
                  </a:cubicBezTo>
                  <a:cubicBezTo>
                    <a:pt x="315" y="153"/>
                    <a:pt x="314" y="150"/>
                    <a:pt x="313" y="147"/>
                  </a:cubicBezTo>
                  <a:cubicBezTo>
                    <a:pt x="311" y="141"/>
                    <a:pt x="311" y="136"/>
                    <a:pt x="313" y="132"/>
                  </a:cubicBezTo>
                  <a:cubicBezTo>
                    <a:pt x="315" y="129"/>
                    <a:pt x="318" y="126"/>
                    <a:pt x="324" y="124"/>
                  </a:cubicBezTo>
                  <a:cubicBezTo>
                    <a:pt x="335" y="121"/>
                    <a:pt x="335" y="121"/>
                    <a:pt x="335" y="121"/>
                  </a:cubicBezTo>
                  <a:cubicBezTo>
                    <a:pt x="337" y="127"/>
                    <a:pt x="337" y="127"/>
                    <a:pt x="337" y="127"/>
                  </a:cubicBezTo>
                  <a:cubicBezTo>
                    <a:pt x="325" y="130"/>
                    <a:pt x="325" y="130"/>
                    <a:pt x="325" y="130"/>
                  </a:cubicBezTo>
                  <a:close/>
                  <a:moveTo>
                    <a:pt x="364" y="122"/>
                  </a:moveTo>
                  <a:cubicBezTo>
                    <a:pt x="364" y="122"/>
                    <a:pt x="364" y="122"/>
                    <a:pt x="364" y="122"/>
                  </a:cubicBezTo>
                  <a:cubicBezTo>
                    <a:pt x="367" y="122"/>
                    <a:pt x="368" y="122"/>
                    <a:pt x="369" y="123"/>
                  </a:cubicBezTo>
                  <a:cubicBezTo>
                    <a:pt x="370" y="123"/>
                    <a:pt x="371" y="124"/>
                    <a:pt x="371" y="126"/>
                  </a:cubicBezTo>
                  <a:cubicBezTo>
                    <a:pt x="371" y="128"/>
                    <a:pt x="371" y="129"/>
                    <a:pt x="370" y="130"/>
                  </a:cubicBezTo>
                  <a:cubicBezTo>
                    <a:pt x="369" y="130"/>
                    <a:pt x="368" y="131"/>
                    <a:pt x="365" y="131"/>
                  </a:cubicBezTo>
                  <a:cubicBezTo>
                    <a:pt x="356" y="133"/>
                    <a:pt x="356" y="133"/>
                    <a:pt x="356" y="133"/>
                  </a:cubicBezTo>
                  <a:cubicBezTo>
                    <a:pt x="355" y="124"/>
                    <a:pt x="355" y="124"/>
                    <a:pt x="355" y="124"/>
                  </a:cubicBezTo>
                  <a:cubicBezTo>
                    <a:pt x="364" y="122"/>
                    <a:pt x="364" y="122"/>
                    <a:pt x="364" y="122"/>
                  </a:cubicBezTo>
                  <a:close/>
                  <a:moveTo>
                    <a:pt x="347" y="118"/>
                  </a:moveTo>
                  <a:cubicBezTo>
                    <a:pt x="365" y="116"/>
                    <a:pt x="365" y="116"/>
                    <a:pt x="365" y="116"/>
                  </a:cubicBezTo>
                  <a:cubicBezTo>
                    <a:pt x="369" y="115"/>
                    <a:pt x="372" y="116"/>
                    <a:pt x="375" y="117"/>
                  </a:cubicBezTo>
                  <a:cubicBezTo>
                    <a:pt x="377" y="119"/>
                    <a:pt x="378" y="121"/>
                    <a:pt x="379" y="125"/>
                  </a:cubicBezTo>
                  <a:cubicBezTo>
                    <a:pt x="379" y="128"/>
                    <a:pt x="379" y="130"/>
                    <a:pt x="378" y="132"/>
                  </a:cubicBezTo>
                  <a:cubicBezTo>
                    <a:pt x="377" y="134"/>
                    <a:pt x="375" y="135"/>
                    <a:pt x="373" y="136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76" y="151"/>
                    <a:pt x="376" y="151"/>
                    <a:pt x="376" y="151"/>
                  </a:cubicBezTo>
                  <a:cubicBezTo>
                    <a:pt x="366" y="138"/>
                    <a:pt x="366" y="138"/>
                    <a:pt x="366" y="138"/>
                  </a:cubicBezTo>
                  <a:cubicBezTo>
                    <a:pt x="357" y="139"/>
                    <a:pt x="357" y="139"/>
                    <a:pt x="357" y="139"/>
                  </a:cubicBezTo>
                  <a:cubicBezTo>
                    <a:pt x="359" y="153"/>
                    <a:pt x="359" y="153"/>
                    <a:pt x="359" y="153"/>
                  </a:cubicBezTo>
                  <a:cubicBezTo>
                    <a:pt x="352" y="154"/>
                    <a:pt x="352" y="154"/>
                    <a:pt x="352" y="154"/>
                  </a:cubicBezTo>
                  <a:cubicBezTo>
                    <a:pt x="347" y="118"/>
                    <a:pt x="347" y="118"/>
                    <a:pt x="347" y="118"/>
                  </a:cubicBezTo>
                  <a:close/>
                  <a:moveTo>
                    <a:pt x="419" y="121"/>
                  </a:moveTo>
                  <a:cubicBezTo>
                    <a:pt x="401" y="121"/>
                    <a:pt x="401" y="121"/>
                    <a:pt x="401" y="121"/>
                  </a:cubicBezTo>
                  <a:cubicBezTo>
                    <a:pt x="399" y="121"/>
                    <a:pt x="397" y="121"/>
                    <a:pt x="396" y="122"/>
                  </a:cubicBezTo>
                  <a:cubicBezTo>
                    <a:pt x="395" y="123"/>
                    <a:pt x="395" y="124"/>
                    <a:pt x="395" y="125"/>
                  </a:cubicBezTo>
                  <a:cubicBezTo>
                    <a:pt x="395" y="127"/>
                    <a:pt x="395" y="128"/>
                    <a:pt x="396" y="128"/>
                  </a:cubicBezTo>
                  <a:cubicBezTo>
                    <a:pt x="397" y="129"/>
                    <a:pt x="398" y="129"/>
                    <a:pt x="399" y="129"/>
                  </a:cubicBezTo>
                  <a:cubicBezTo>
                    <a:pt x="409" y="129"/>
                    <a:pt x="409" y="129"/>
                    <a:pt x="409" y="129"/>
                  </a:cubicBezTo>
                  <a:cubicBezTo>
                    <a:pt x="413" y="130"/>
                    <a:pt x="416" y="130"/>
                    <a:pt x="418" y="132"/>
                  </a:cubicBezTo>
                  <a:cubicBezTo>
                    <a:pt x="420" y="134"/>
                    <a:pt x="420" y="136"/>
                    <a:pt x="420" y="140"/>
                  </a:cubicBezTo>
                  <a:cubicBezTo>
                    <a:pt x="420" y="144"/>
                    <a:pt x="419" y="146"/>
                    <a:pt x="417" y="148"/>
                  </a:cubicBezTo>
                  <a:cubicBezTo>
                    <a:pt x="415" y="150"/>
                    <a:pt x="412" y="150"/>
                    <a:pt x="408" y="150"/>
                  </a:cubicBezTo>
                  <a:cubicBezTo>
                    <a:pt x="388" y="150"/>
                    <a:pt x="388" y="150"/>
                    <a:pt x="388" y="150"/>
                  </a:cubicBezTo>
                  <a:cubicBezTo>
                    <a:pt x="388" y="144"/>
                    <a:pt x="388" y="144"/>
                    <a:pt x="388" y="144"/>
                  </a:cubicBezTo>
                  <a:cubicBezTo>
                    <a:pt x="407" y="144"/>
                    <a:pt x="407" y="144"/>
                    <a:pt x="407" y="144"/>
                  </a:cubicBezTo>
                  <a:cubicBezTo>
                    <a:pt x="409" y="144"/>
                    <a:pt x="410" y="144"/>
                    <a:pt x="411" y="143"/>
                  </a:cubicBezTo>
                  <a:cubicBezTo>
                    <a:pt x="412" y="142"/>
                    <a:pt x="413" y="141"/>
                    <a:pt x="413" y="140"/>
                  </a:cubicBezTo>
                  <a:cubicBezTo>
                    <a:pt x="413" y="139"/>
                    <a:pt x="412" y="137"/>
                    <a:pt x="411" y="137"/>
                  </a:cubicBezTo>
                  <a:cubicBezTo>
                    <a:pt x="411" y="136"/>
                    <a:pt x="409" y="136"/>
                    <a:pt x="407" y="136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5" y="136"/>
                    <a:pt x="392" y="135"/>
                    <a:pt x="390" y="133"/>
                  </a:cubicBezTo>
                  <a:cubicBezTo>
                    <a:pt x="388" y="131"/>
                    <a:pt x="387" y="129"/>
                    <a:pt x="387" y="125"/>
                  </a:cubicBezTo>
                  <a:cubicBezTo>
                    <a:pt x="387" y="121"/>
                    <a:pt x="388" y="119"/>
                    <a:pt x="390" y="117"/>
                  </a:cubicBezTo>
                  <a:cubicBezTo>
                    <a:pt x="392" y="115"/>
                    <a:pt x="395" y="114"/>
                    <a:pt x="400" y="114"/>
                  </a:cubicBezTo>
                  <a:cubicBezTo>
                    <a:pt x="419" y="115"/>
                    <a:pt x="419" y="115"/>
                    <a:pt x="419" y="115"/>
                  </a:cubicBezTo>
                  <a:cubicBezTo>
                    <a:pt x="419" y="121"/>
                    <a:pt x="419" y="121"/>
                    <a:pt x="419" y="121"/>
                  </a:cubicBezTo>
                  <a:close/>
                  <a:moveTo>
                    <a:pt x="433" y="152"/>
                  </a:moveTo>
                  <a:cubicBezTo>
                    <a:pt x="426" y="151"/>
                    <a:pt x="426" y="151"/>
                    <a:pt x="426" y="151"/>
                  </a:cubicBezTo>
                  <a:cubicBezTo>
                    <a:pt x="431" y="115"/>
                    <a:pt x="431" y="115"/>
                    <a:pt x="431" y="115"/>
                  </a:cubicBezTo>
                  <a:cubicBezTo>
                    <a:pt x="438" y="117"/>
                    <a:pt x="438" y="117"/>
                    <a:pt x="438" y="117"/>
                  </a:cubicBezTo>
                  <a:cubicBezTo>
                    <a:pt x="433" y="152"/>
                    <a:pt x="433" y="152"/>
                    <a:pt x="433" y="152"/>
                  </a:cubicBezTo>
                  <a:close/>
                  <a:moveTo>
                    <a:pt x="453" y="126"/>
                  </a:moveTo>
                  <a:cubicBezTo>
                    <a:pt x="442" y="124"/>
                    <a:pt x="442" y="124"/>
                    <a:pt x="442" y="124"/>
                  </a:cubicBezTo>
                  <a:cubicBezTo>
                    <a:pt x="443" y="118"/>
                    <a:pt x="443" y="118"/>
                    <a:pt x="443" y="118"/>
                  </a:cubicBezTo>
                  <a:cubicBezTo>
                    <a:pt x="473" y="123"/>
                    <a:pt x="473" y="123"/>
                    <a:pt x="473" y="123"/>
                  </a:cubicBezTo>
                  <a:cubicBezTo>
                    <a:pt x="472" y="129"/>
                    <a:pt x="472" y="129"/>
                    <a:pt x="472" y="129"/>
                  </a:cubicBezTo>
                  <a:cubicBezTo>
                    <a:pt x="461" y="127"/>
                    <a:pt x="461" y="127"/>
                    <a:pt x="461" y="127"/>
                  </a:cubicBezTo>
                  <a:cubicBezTo>
                    <a:pt x="456" y="156"/>
                    <a:pt x="456" y="156"/>
                    <a:pt x="456" y="156"/>
                  </a:cubicBezTo>
                  <a:cubicBezTo>
                    <a:pt x="448" y="155"/>
                    <a:pt x="448" y="155"/>
                    <a:pt x="448" y="155"/>
                  </a:cubicBezTo>
                  <a:cubicBezTo>
                    <a:pt x="453" y="126"/>
                    <a:pt x="453" y="126"/>
                    <a:pt x="453" y="126"/>
                  </a:cubicBezTo>
                  <a:close/>
                  <a:moveTo>
                    <a:pt x="477" y="124"/>
                  </a:moveTo>
                  <a:cubicBezTo>
                    <a:pt x="485" y="127"/>
                    <a:pt x="485" y="127"/>
                    <a:pt x="485" y="127"/>
                  </a:cubicBezTo>
                  <a:cubicBezTo>
                    <a:pt x="488" y="142"/>
                    <a:pt x="488" y="142"/>
                    <a:pt x="488" y="142"/>
                  </a:cubicBezTo>
                  <a:cubicBezTo>
                    <a:pt x="501" y="132"/>
                    <a:pt x="501" y="132"/>
                    <a:pt x="501" y="132"/>
                  </a:cubicBezTo>
                  <a:cubicBezTo>
                    <a:pt x="509" y="135"/>
                    <a:pt x="509" y="135"/>
                    <a:pt x="509" y="135"/>
                  </a:cubicBezTo>
                  <a:cubicBezTo>
                    <a:pt x="490" y="150"/>
                    <a:pt x="490" y="150"/>
                    <a:pt x="490" y="150"/>
                  </a:cubicBezTo>
                  <a:cubicBezTo>
                    <a:pt x="485" y="165"/>
                    <a:pt x="485" y="165"/>
                    <a:pt x="485" y="165"/>
                  </a:cubicBezTo>
                  <a:cubicBezTo>
                    <a:pt x="478" y="162"/>
                    <a:pt x="478" y="162"/>
                    <a:pt x="478" y="162"/>
                  </a:cubicBezTo>
                  <a:cubicBezTo>
                    <a:pt x="483" y="147"/>
                    <a:pt x="483" y="147"/>
                    <a:pt x="483" y="147"/>
                  </a:cubicBezTo>
                  <a:cubicBezTo>
                    <a:pt x="477" y="124"/>
                    <a:pt x="477" y="124"/>
                    <a:pt x="477" y="124"/>
                  </a:cubicBezTo>
                  <a:close/>
                  <a:moveTo>
                    <a:pt x="541" y="171"/>
                  </a:moveTo>
                  <a:cubicBezTo>
                    <a:pt x="545" y="166"/>
                    <a:pt x="548" y="163"/>
                    <a:pt x="552" y="162"/>
                  </a:cubicBezTo>
                  <a:cubicBezTo>
                    <a:pt x="557" y="161"/>
                    <a:pt x="561" y="162"/>
                    <a:pt x="566" y="166"/>
                  </a:cubicBezTo>
                  <a:cubicBezTo>
                    <a:pt x="571" y="169"/>
                    <a:pt x="574" y="173"/>
                    <a:pt x="574" y="177"/>
                  </a:cubicBezTo>
                  <a:cubicBezTo>
                    <a:pt x="575" y="181"/>
                    <a:pt x="574" y="186"/>
                    <a:pt x="570" y="191"/>
                  </a:cubicBezTo>
                  <a:cubicBezTo>
                    <a:pt x="567" y="196"/>
                    <a:pt x="563" y="200"/>
                    <a:pt x="559" y="200"/>
                  </a:cubicBezTo>
                  <a:cubicBezTo>
                    <a:pt x="555" y="201"/>
                    <a:pt x="550" y="200"/>
                    <a:pt x="545" y="197"/>
                  </a:cubicBezTo>
                  <a:cubicBezTo>
                    <a:pt x="540" y="193"/>
                    <a:pt x="538" y="190"/>
                    <a:pt x="537" y="185"/>
                  </a:cubicBezTo>
                  <a:cubicBezTo>
                    <a:pt x="536" y="181"/>
                    <a:pt x="538" y="176"/>
                    <a:pt x="541" y="171"/>
                  </a:cubicBezTo>
                  <a:close/>
                  <a:moveTo>
                    <a:pt x="563" y="171"/>
                  </a:moveTo>
                  <a:cubicBezTo>
                    <a:pt x="565" y="173"/>
                    <a:pt x="567" y="175"/>
                    <a:pt x="567" y="178"/>
                  </a:cubicBezTo>
                  <a:cubicBezTo>
                    <a:pt x="567" y="180"/>
                    <a:pt x="566" y="183"/>
                    <a:pt x="564" y="187"/>
                  </a:cubicBezTo>
                  <a:cubicBezTo>
                    <a:pt x="561" y="190"/>
                    <a:pt x="559" y="192"/>
                    <a:pt x="556" y="193"/>
                  </a:cubicBezTo>
                  <a:cubicBezTo>
                    <a:pt x="554" y="194"/>
                    <a:pt x="551" y="193"/>
                    <a:pt x="549" y="192"/>
                  </a:cubicBezTo>
                  <a:cubicBezTo>
                    <a:pt x="546" y="190"/>
                    <a:pt x="545" y="188"/>
                    <a:pt x="545" y="185"/>
                  </a:cubicBezTo>
                  <a:cubicBezTo>
                    <a:pt x="544" y="182"/>
                    <a:pt x="546" y="179"/>
                    <a:pt x="548" y="176"/>
                  </a:cubicBezTo>
                  <a:cubicBezTo>
                    <a:pt x="550" y="172"/>
                    <a:pt x="553" y="170"/>
                    <a:pt x="555" y="169"/>
                  </a:cubicBezTo>
                  <a:cubicBezTo>
                    <a:pt x="557" y="169"/>
                    <a:pt x="560" y="169"/>
                    <a:pt x="563" y="171"/>
                  </a:cubicBezTo>
                  <a:close/>
                  <a:moveTo>
                    <a:pt x="574" y="198"/>
                  </a:moveTo>
                  <a:cubicBezTo>
                    <a:pt x="577" y="194"/>
                    <a:pt x="580" y="192"/>
                    <a:pt x="581" y="191"/>
                  </a:cubicBezTo>
                  <a:cubicBezTo>
                    <a:pt x="583" y="189"/>
                    <a:pt x="585" y="189"/>
                    <a:pt x="587" y="188"/>
                  </a:cubicBezTo>
                  <a:cubicBezTo>
                    <a:pt x="589" y="188"/>
                    <a:pt x="591" y="189"/>
                    <a:pt x="593" y="190"/>
                  </a:cubicBezTo>
                  <a:cubicBezTo>
                    <a:pt x="595" y="191"/>
                    <a:pt x="597" y="192"/>
                    <a:pt x="600" y="195"/>
                  </a:cubicBezTo>
                  <a:cubicBezTo>
                    <a:pt x="608" y="202"/>
                    <a:pt x="608" y="202"/>
                    <a:pt x="608" y="202"/>
                  </a:cubicBezTo>
                  <a:cubicBezTo>
                    <a:pt x="604" y="207"/>
                    <a:pt x="604" y="207"/>
                    <a:pt x="604" y="207"/>
                  </a:cubicBezTo>
                  <a:cubicBezTo>
                    <a:pt x="595" y="199"/>
                    <a:pt x="595" y="199"/>
                    <a:pt x="595" y="199"/>
                  </a:cubicBezTo>
                  <a:cubicBezTo>
                    <a:pt x="593" y="197"/>
                    <a:pt x="591" y="196"/>
                    <a:pt x="589" y="196"/>
                  </a:cubicBezTo>
                  <a:cubicBezTo>
                    <a:pt x="587" y="196"/>
                    <a:pt x="585" y="197"/>
                    <a:pt x="583" y="199"/>
                  </a:cubicBezTo>
                  <a:cubicBezTo>
                    <a:pt x="599" y="213"/>
                    <a:pt x="599" y="213"/>
                    <a:pt x="599" y="213"/>
                  </a:cubicBezTo>
                  <a:cubicBezTo>
                    <a:pt x="595" y="218"/>
                    <a:pt x="595" y="218"/>
                    <a:pt x="595" y="218"/>
                  </a:cubicBezTo>
                  <a:cubicBezTo>
                    <a:pt x="579" y="204"/>
                    <a:pt x="579" y="204"/>
                    <a:pt x="579" y="204"/>
                  </a:cubicBezTo>
                  <a:cubicBezTo>
                    <a:pt x="569" y="215"/>
                    <a:pt x="569" y="215"/>
                    <a:pt x="569" y="215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74" y="198"/>
                    <a:pt x="574" y="198"/>
                    <a:pt x="574" y="198"/>
                  </a:cubicBezTo>
                  <a:close/>
                  <a:moveTo>
                    <a:pt x="641" y="254"/>
                  </a:moveTo>
                  <a:cubicBezTo>
                    <a:pt x="635" y="244"/>
                    <a:pt x="635" y="244"/>
                    <a:pt x="635" y="244"/>
                  </a:cubicBezTo>
                  <a:cubicBezTo>
                    <a:pt x="640" y="241"/>
                    <a:pt x="640" y="241"/>
                    <a:pt x="640" y="241"/>
                  </a:cubicBezTo>
                  <a:cubicBezTo>
                    <a:pt x="656" y="267"/>
                    <a:pt x="656" y="267"/>
                    <a:pt x="656" y="267"/>
                  </a:cubicBezTo>
                  <a:cubicBezTo>
                    <a:pt x="651" y="270"/>
                    <a:pt x="651" y="270"/>
                    <a:pt x="651" y="270"/>
                  </a:cubicBezTo>
                  <a:cubicBezTo>
                    <a:pt x="645" y="260"/>
                    <a:pt x="645" y="260"/>
                    <a:pt x="645" y="260"/>
                  </a:cubicBezTo>
                  <a:cubicBezTo>
                    <a:pt x="620" y="276"/>
                    <a:pt x="620" y="276"/>
                    <a:pt x="620" y="276"/>
                  </a:cubicBezTo>
                  <a:cubicBezTo>
                    <a:pt x="616" y="269"/>
                    <a:pt x="616" y="269"/>
                    <a:pt x="616" y="269"/>
                  </a:cubicBezTo>
                  <a:cubicBezTo>
                    <a:pt x="641" y="254"/>
                    <a:pt x="641" y="254"/>
                    <a:pt x="641" y="254"/>
                  </a:cubicBezTo>
                  <a:close/>
                  <a:moveTo>
                    <a:pt x="662" y="290"/>
                  </a:moveTo>
                  <a:cubicBezTo>
                    <a:pt x="660" y="287"/>
                    <a:pt x="659" y="286"/>
                    <a:pt x="657" y="285"/>
                  </a:cubicBezTo>
                  <a:cubicBezTo>
                    <a:pt x="655" y="284"/>
                    <a:pt x="653" y="285"/>
                    <a:pt x="651" y="286"/>
                  </a:cubicBezTo>
                  <a:cubicBezTo>
                    <a:pt x="659" y="305"/>
                    <a:pt x="659" y="305"/>
                    <a:pt x="659" y="305"/>
                  </a:cubicBezTo>
                  <a:cubicBezTo>
                    <a:pt x="654" y="307"/>
                    <a:pt x="654" y="307"/>
                    <a:pt x="654" y="307"/>
                  </a:cubicBezTo>
                  <a:cubicBezTo>
                    <a:pt x="645" y="288"/>
                    <a:pt x="645" y="288"/>
                    <a:pt x="645" y="288"/>
                  </a:cubicBezTo>
                  <a:cubicBezTo>
                    <a:pt x="642" y="290"/>
                    <a:pt x="641" y="291"/>
                    <a:pt x="640" y="293"/>
                  </a:cubicBezTo>
                  <a:cubicBezTo>
                    <a:pt x="639" y="295"/>
                    <a:pt x="639" y="297"/>
                    <a:pt x="641" y="300"/>
                  </a:cubicBezTo>
                  <a:cubicBezTo>
                    <a:pt x="646" y="311"/>
                    <a:pt x="646" y="311"/>
                    <a:pt x="646" y="311"/>
                  </a:cubicBezTo>
                  <a:cubicBezTo>
                    <a:pt x="640" y="313"/>
                    <a:pt x="640" y="313"/>
                    <a:pt x="640" y="313"/>
                  </a:cubicBezTo>
                  <a:cubicBezTo>
                    <a:pt x="635" y="302"/>
                    <a:pt x="635" y="302"/>
                    <a:pt x="635" y="302"/>
                  </a:cubicBezTo>
                  <a:cubicBezTo>
                    <a:pt x="634" y="299"/>
                    <a:pt x="633" y="297"/>
                    <a:pt x="633" y="296"/>
                  </a:cubicBezTo>
                  <a:cubicBezTo>
                    <a:pt x="633" y="294"/>
                    <a:pt x="633" y="292"/>
                    <a:pt x="633" y="291"/>
                  </a:cubicBezTo>
                  <a:cubicBezTo>
                    <a:pt x="634" y="288"/>
                    <a:pt x="635" y="286"/>
                    <a:pt x="637" y="284"/>
                  </a:cubicBezTo>
                  <a:cubicBezTo>
                    <a:pt x="638" y="283"/>
                    <a:pt x="641" y="281"/>
                    <a:pt x="644" y="280"/>
                  </a:cubicBezTo>
                  <a:cubicBezTo>
                    <a:pt x="649" y="277"/>
                    <a:pt x="654" y="276"/>
                    <a:pt x="658" y="277"/>
                  </a:cubicBezTo>
                  <a:cubicBezTo>
                    <a:pt x="662" y="279"/>
                    <a:pt x="665" y="282"/>
                    <a:pt x="667" y="287"/>
                  </a:cubicBezTo>
                  <a:cubicBezTo>
                    <a:pt x="672" y="298"/>
                    <a:pt x="672" y="298"/>
                    <a:pt x="672" y="298"/>
                  </a:cubicBezTo>
                  <a:cubicBezTo>
                    <a:pt x="667" y="301"/>
                    <a:pt x="667" y="301"/>
                    <a:pt x="667" y="301"/>
                  </a:cubicBezTo>
                  <a:cubicBezTo>
                    <a:pt x="662" y="290"/>
                    <a:pt x="662" y="290"/>
                    <a:pt x="662" y="290"/>
                  </a:cubicBezTo>
                  <a:close/>
                  <a:moveTo>
                    <a:pt x="675" y="325"/>
                  </a:moveTo>
                  <a:cubicBezTo>
                    <a:pt x="674" y="322"/>
                    <a:pt x="672" y="320"/>
                    <a:pt x="670" y="319"/>
                  </a:cubicBezTo>
                  <a:cubicBezTo>
                    <a:pt x="668" y="319"/>
                    <a:pt x="665" y="319"/>
                    <a:pt x="660" y="320"/>
                  </a:cubicBezTo>
                  <a:cubicBezTo>
                    <a:pt x="657" y="322"/>
                    <a:pt x="654" y="323"/>
                    <a:pt x="653" y="325"/>
                  </a:cubicBezTo>
                  <a:cubicBezTo>
                    <a:pt x="652" y="327"/>
                    <a:pt x="652" y="329"/>
                    <a:pt x="653" y="332"/>
                  </a:cubicBezTo>
                  <a:cubicBezTo>
                    <a:pt x="657" y="344"/>
                    <a:pt x="657" y="344"/>
                    <a:pt x="657" y="344"/>
                  </a:cubicBezTo>
                  <a:cubicBezTo>
                    <a:pt x="651" y="346"/>
                    <a:pt x="651" y="346"/>
                    <a:pt x="651" y="346"/>
                  </a:cubicBezTo>
                  <a:cubicBezTo>
                    <a:pt x="647" y="334"/>
                    <a:pt x="647" y="334"/>
                    <a:pt x="647" y="334"/>
                  </a:cubicBezTo>
                  <a:cubicBezTo>
                    <a:pt x="646" y="331"/>
                    <a:pt x="646" y="329"/>
                    <a:pt x="646" y="327"/>
                  </a:cubicBezTo>
                  <a:cubicBezTo>
                    <a:pt x="646" y="326"/>
                    <a:pt x="646" y="324"/>
                    <a:pt x="647" y="322"/>
                  </a:cubicBezTo>
                  <a:cubicBezTo>
                    <a:pt x="647" y="320"/>
                    <a:pt x="649" y="318"/>
                    <a:pt x="651" y="316"/>
                  </a:cubicBezTo>
                  <a:cubicBezTo>
                    <a:pt x="653" y="315"/>
                    <a:pt x="655" y="314"/>
                    <a:pt x="658" y="313"/>
                  </a:cubicBezTo>
                  <a:cubicBezTo>
                    <a:pt x="664" y="311"/>
                    <a:pt x="669" y="310"/>
                    <a:pt x="673" y="312"/>
                  </a:cubicBezTo>
                  <a:cubicBezTo>
                    <a:pt x="676" y="314"/>
                    <a:pt x="679" y="317"/>
                    <a:pt x="681" y="323"/>
                  </a:cubicBezTo>
                  <a:cubicBezTo>
                    <a:pt x="684" y="335"/>
                    <a:pt x="684" y="335"/>
                    <a:pt x="684" y="335"/>
                  </a:cubicBezTo>
                  <a:cubicBezTo>
                    <a:pt x="679" y="337"/>
                    <a:pt x="679" y="337"/>
                    <a:pt x="679" y="337"/>
                  </a:cubicBezTo>
                  <a:cubicBezTo>
                    <a:pt x="675" y="325"/>
                    <a:pt x="675" y="325"/>
                    <a:pt x="675" y="325"/>
                  </a:cubicBezTo>
                  <a:close/>
                  <a:moveTo>
                    <a:pt x="689" y="352"/>
                  </a:moveTo>
                  <a:cubicBezTo>
                    <a:pt x="675" y="354"/>
                    <a:pt x="675" y="354"/>
                    <a:pt x="675" y="354"/>
                  </a:cubicBezTo>
                  <a:cubicBezTo>
                    <a:pt x="677" y="368"/>
                    <a:pt x="677" y="368"/>
                    <a:pt x="677" y="368"/>
                  </a:cubicBezTo>
                  <a:cubicBezTo>
                    <a:pt x="691" y="365"/>
                    <a:pt x="691" y="365"/>
                    <a:pt x="691" y="365"/>
                  </a:cubicBezTo>
                  <a:cubicBezTo>
                    <a:pt x="692" y="373"/>
                    <a:pt x="692" y="373"/>
                    <a:pt x="692" y="373"/>
                  </a:cubicBezTo>
                  <a:cubicBezTo>
                    <a:pt x="658" y="379"/>
                    <a:pt x="658" y="379"/>
                    <a:pt x="658" y="379"/>
                  </a:cubicBezTo>
                  <a:cubicBezTo>
                    <a:pt x="656" y="372"/>
                    <a:pt x="656" y="372"/>
                    <a:pt x="656" y="372"/>
                  </a:cubicBezTo>
                  <a:cubicBezTo>
                    <a:pt x="671" y="369"/>
                    <a:pt x="671" y="369"/>
                    <a:pt x="671" y="369"/>
                  </a:cubicBezTo>
                  <a:cubicBezTo>
                    <a:pt x="669" y="355"/>
                    <a:pt x="669" y="355"/>
                    <a:pt x="669" y="355"/>
                  </a:cubicBezTo>
                  <a:cubicBezTo>
                    <a:pt x="654" y="358"/>
                    <a:pt x="654" y="358"/>
                    <a:pt x="654" y="358"/>
                  </a:cubicBezTo>
                  <a:cubicBezTo>
                    <a:pt x="653" y="351"/>
                    <a:pt x="653" y="351"/>
                    <a:pt x="653" y="351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9" y="352"/>
                    <a:pt x="689" y="352"/>
                    <a:pt x="689" y="352"/>
                  </a:cubicBezTo>
                  <a:close/>
                  <a:moveTo>
                    <a:pt x="695" y="386"/>
                  </a:moveTo>
                  <a:cubicBezTo>
                    <a:pt x="695" y="396"/>
                    <a:pt x="695" y="396"/>
                    <a:pt x="695" y="396"/>
                  </a:cubicBezTo>
                  <a:cubicBezTo>
                    <a:pt x="670" y="411"/>
                    <a:pt x="670" y="411"/>
                    <a:pt x="670" y="411"/>
                  </a:cubicBezTo>
                  <a:cubicBezTo>
                    <a:pt x="695" y="410"/>
                    <a:pt x="695" y="410"/>
                    <a:pt x="695" y="410"/>
                  </a:cubicBezTo>
                  <a:cubicBezTo>
                    <a:pt x="695" y="418"/>
                    <a:pt x="695" y="418"/>
                    <a:pt x="695" y="418"/>
                  </a:cubicBezTo>
                  <a:cubicBezTo>
                    <a:pt x="660" y="419"/>
                    <a:pt x="660" y="419"/>
                    <a:pt x="660" y="419"/>
                  </a:cubicBezTo>
                  <a:cubicBezTo>
                    <a:pt x="660" y="410"/>
                    <a:pt x="660" y="410"/>
                    <a:pt x="660" y="410"/>
                  </a:cubicBezTo>
                  <a:cubicBezTo>
                    <a:pt x="686" y="394"/>
                    <a:pt x="686" y="394"/>
                    <a:pt x="686" y="394"/>
                  </a:cubicBezTo>
                  <a:cubicBezTo>
                    <a:pt x="660" y="395"/>
                    <a:pt x="660" y="395"/>
                    <a:pt x="660" y="395"/>
                  </a:cubicBezTo>
                  <a:cubicBezTo>
                    <a:pt x="659" y="387"/>
                    <a:pt x="659" y="387"/>
                    <a:pt x="659" y="387"/>
                  </a:cubicBezTo>
                  <a:cubicBezTo>
                    <a:pt x="695" y="386"/>
                    <a:pt x="695" y="386"/>
                    <a:pt x="695" y="386"/>
                  </a:cubicBezTo>
                  <a:close/>
                  <a:moveTo>
                    <a:pt x="677" y="425"/>
                  </a:moveTo>
                  <a:cubicBezTo>
                    <a:pt x="683" y="426"/>
                    <a:pt x="688" y="428"/>
                    <a:pt x="690" y="431"/>
                  </a:cubicBezTo>
                  <a:cubicBezTo>
                    <a:pt x="693" y="434"/>
                    <a:pt x="694" y="439"/>
                    <a:pt x="693" y="445"/>
                  </a:cubicBezTo>
                  <a:cubicBezTo>
                    <a:pt x="692" y="451"/>
                    <a:pt x="690" y="455"/>
                    <a:pt x="687" y="458"/>
                  </a:cubicBezTo>
                  <a:cubicBezTo>
                    <a:pt x="684" y="460"/>
                    <a:pt x="679" y="461"/>
                    <a:pt x="673" y="460"/>
                  </a:cubicBezTo>
                  <a:cubicBezTo>
                    <a:pt x="667" y="459"/>
                    <a:pt x="662" y="457"/>
                    <a:pt x="660" y="454"/>
                  </a:cubicBezTo>
                  <a:cubicBezTo>
                    <a:pt x="657" y="451"/>
                    <a:pt x="656" y="446"/>
                    <a:pt x="657" y="440"/>
                  </a:cubicBezTo>
                  <a:cubicBezTo>
                    <a:pt x="657" y="434"/>
                    <a:pt x="659" y="430"/>
                    <a:pt x="663" y="427"/>
                  </a:cubicBezTo>
                  <a:cubicBezTo>
                    <a:pt x="666" y="425"/>
                    <a:pt x="671" y="424"/>
                    <a:pt x="677" y="425"/>
                  </a:cubicBezTo>
                  <a:close/>
                  <a:moveTo>
                    <a:pt x="687" y="444"/>
                  </a:moveTo>
                  <a:cubicBezTo>
                    <a:pt x="687" y="447"/>
                    <a:pt x="685" y="450"/>
                    <a:pt x="683" y="451"/>
                  </a:cubicBezTo>
                  <a:cubicBezTo>
                    <a:pt x="681" y="452"/>
                    <a:pt x="678" y="453"/>
                    <a:pt x="674" y="452"/>
                  </a:cubicBezTo>
                  <a:cubicBezTo>
                    <a:pt x="670" y="452"/>
                    <a:pt x="667" y="450"/>
                    <a:pt x="665" y="449"/>
                  </a:cubicBezTo>
                  <a:cubicBezTo>
                    <a:pt x="663" y="447"/>
                    <a:pt x="662" y="444"/>
                    <a:pt x="663" y="441"/>
                  </a:cubicBezTo>
                  <a:cubicBezTo>
                    <a:pt x="663" y="438"/>
                    <a:pt x="664" y="435"/>
                    <a:pt x="667" y="434"/>
                  </a:cubicBezTo>
                  <a:cubicBezTo>
                    <a:pt x="669" y="433"/>
                    <a:pt x="672" y="432"/>
                    <a:pt x="676" y="433"/>
                  </a:cubicBezTo>
                  <a:cubicBezTo>
                    <a:pt x="680" y="433"/>
                    <a:pt x="683" y="435"/>
                    <a:pt x="685" y="436"/>
                  </a:cubicBezTo>
                  <a:cubicBezTo>
                    <a:pt x="687" y="438"/>
                    <a:pt x="687" y="441"/>
                    <a:pt x="687" y="444"/>
                  </a:cubicBezTo>
                  <a:close/>
                  <a:moveTo>
                    <a:pt x="651" y="478"/>
                  </a:moveTo>
                  <a:cubicBezTo>
                    <a:pt x="652" y="474"/>
                    <a:pt x="653" y="472"/>
                    <a:pt x="654" y="471"/>
                  </a:cubicBezTo>
                  <a:cubicBezTo>
                    <a:pt x="655" y="469"/>
                    <a:pt x="656" y="468"/>
                    <a:pt x="658" y="467"/>
                  </a:cubicBezTo>
                  <a:cubicBezTo>
                    <a:pt x="659" y="466"/>
                    <a:pt x="661" y="466"/>
                    <a:pt x="662" y="465"/>
                  </a:cubicBezTo>
                  <a:cubicBezTo>
                    <a:pt x="664" y="465"/>
                    <a:pt x="666" y="466"/>
                    <a:pt x="669" y="466"/>
                  </a:cubicBezTo>
                  <a:cubicBezTo>
                    <a:pt x="689" y="471"/>
                    <a:pt x="689" y="471"/>
                    <a:pt x="689" y="471"/>
                  </a:cubicBezTo>
                  <a:cubicBezTo>
                    <a:pt x="687" y="478"/>
                    <a:pt x="687" y="478"/>
                    <a:pt x="687" y="478"/>
                  </a:cubicBezTo>
                  <a:cubicBezTo>
                    <a:pt x="667" y="474"/>
                    <a:pt x="667" y="474"/>
                    <a:pt x="667" y="474"/>
                  </a:cubicBezTo>
                  <a:cubicBezTo>
                    <a:pt x="665" y="473"/>
                    <a:pt x="664" y="473"/>
                    <a:pt x="663" y="473"/>
                  </a:cubicBezTo>
                  <a:cubicBezTo>
                    <a:pt x="662" y="473"/>
                    <a:pt x="661" y="473"/>
                    <a:pt x="661" y="473"/>
                  </a:cubicBezTo>
                  <a:cubicBezTo>
                    <a:pt x="660" y="474"/>
                    <a:pt x="659" y="475"/>
                    <a:pt x="658" y="475"/>
                  </a:cubicBezTo>
                  <a:cubicBezTo>
                    <a:pt x="658" y="476"/>
                    <a:pt x="657" y="478"/>
                    <a:pt x="657" y="480"/>
                  </a:cubicBezTo>
                  <a:cubicBezTo>
                    <a:pt x="655" y="488"/>
                    <a:pt x="655" y="488"/>
                    <a:pt x="655" y="488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651" y="478"/>
                    <a:pt x="651" y="478"/>
                    <a:pt x="651" y="478"/>
                  </a:cubicBezTo>
                  <a:close/>
                  <a:moveTo>
                    <a:pt x="667" y="494"/>
                  </a:moveTo>
                  <a:cubicBezTo>
                    <a:pt x="672" y="496"/>
                    <a:pt x="676" y="499"/>
                    <a:pt x="678" y="503"/>
                  </a:cubicBezTo>
                  <a:cubicBezTo>
                    <a:pt x="679" y="507"/>
                    <a:pt x="679" y="512"/>
                    <a:pt x="677" y="517"/>
                  </a:cubicBezTo>
                  <a:cubicBezTo>
                    <a:pt x="675" y="523"/>
                    <a:pt x="671" y="526"/>
                    <a:pt x="668" y="528"/>
                  </a:cubicBezTo>
                  <a:cubicBezTo>
                    <a:pt x="664" y="529"/>
                    <a:pt x="659" y="529"/>
                    <a:pt x="653" y="527"/>
                  </a:cubicBezTo>
                  <a:cubicBezTo>
                    <a:pt x="647" y="524"/>
                    <a:pt x="644" y="521"/>
                    <a:pt x="642" y="517"/>
                  </a:cubicBezTo>
                  <a:cubicBezTo>
                    <a:pt x="640" y="513"/>
                    <a:pt x="641" y="509"/>
                    <a:pt x="643" y="503"/>
                  </a:cubicBezTo>
                  <a:cubicBezTo>
                    <a:pt x="645" y="497"/>
                    <a:pt x="648" y="494"/>
                    <a:pt x="652" y="492"/>
                  </a:cubicBezTo>
                  <a:cubicBezTo>
                    <a:pt x="656" y="491"/>
                    <a:pt x="661" y="491"/>
                    <a:pt x="667" y="494"/>
                  </a:cubicBezTo>
                  <a:close/>
                  <a:moveTo>
                    <a:pt x="671" y="515"/>
                  </a:moveTo>
                  <a:cubicBezTo>
                    <a:pt x="670" y="518"/>
                    <a:pt x="668" y="520"/>
                    <a:pt x="666" y="520"/>
                  </a:cubicBezTo>
                  <a:cubicBezTo>
                    <a:pt x="663" y="521"/>
                    <a:pt x="660" y="521"/>
                    <a:pt x="656" y="519"/>
                  </a:cubicBezTo>
                  <a:cubicBezTo>
                    <a:pt x="652" y="517"/>
                    <a:pt x="650" y="516"/>
                    <a:pt x="649" y="513"/>
                  </a:cubicBezTo>
                  <a:cubicBezTo>
                    <a:pt x="647" y="511"/>
                    <a:pt x="647" y="508"/>
                    <a:pt x="648" y="505"/>
                  </a:cubicBezTo>
                  <a:cubicBezTo>
                    <a:pt x="650" y="502"/>
                    <a:pt x="651" y="500"/>
                    <a:pt x="654" y="500"/>
                  </a:cubicBezTo>
                  <a:cubicBezTo>
                    <a:pt x="656" y="499"/>
                    <a:pt x="660" y="500"/>
                    <a:pt x="664" y="501"/>
                  </a:cubicBezTo>
                  <a:cubicBezTo>
                    <a:pt x="667" y="503"/>
                    <a:pt x="670" y="505"/>
                    <a:pt x="671" y="507"/>
                  </a:cubicBezTo>
                  <a:cubicBezTo>
                    <a:pt x="672" y="509"/>
                    <a:pt x="672" y="512"/>
                    <a:pt x="671" y="515"/>
                  </a:cubicBezTo>
                  <a:close/>
                  <a:moveTo>
                    <a:pt x="641" y="544"/>
                  </a:moveTo>
                  <a:cubicBezTo>
                    <a:pt x="646" y="547"/>
                    <a:pt x="646" y="547"/>
                    <a:pt x="646" y="547"/>
                  </a:cubicBezTo>
                  <a:cubicBezTo>
                    <a:pt x="637" y="562"/>
                    <a:pt x="637" y="562"/>
                    <a:pt x="637" y="562"/>
                  </a:cubicBezTo>
                  <a:cubicBezTo>
                    <a:pt x="619" y="552"/>
                    <a:pt x="619" y="552"/>
                    <a:pt x="619" y="552"/>
                  </a:cubicBezTo>
                  <a:cubicBezTo>
                    <a:pt x="628" y="538"/>
                    <a:pt x="628" y="538"/>
                    <a:pt x="628" y="538"/>
                  </a:cubicBezTo>
                  <a:cubicBezTo>
                    <a:pt x="629" y="535"/>
                    <a:pt x="631" y="533"/>
                    <a:pt x="632" y="532"/>
                  </a:cubicBezTo>
                  <a:cubicBezTo>
                    <a:pt x="633" y="531"/>
                    <a:pt x="634" y="530"/>
                    <a:pt x="636" y="530"/>
                  </a:cubicBezTo>
                  <a:cubicBezTo>
                    <a:pt x="638" y="529"/>
                    <a:pt x="641" y="529"/>
                    <a:pt x="643" y="529"/>
                  </a:cubicBezTo>
                  <a:cubicBezTo>
                    <a:pt x="645" y="529"/>
                    <a:pt x="648" y="530"/>
                    <a:pt x="651" y="532"/>
                  </a:cubicBezTo>
                  <a:cubicBezTo>
                    <a:pt x="656" y="535"/>
                    <a:pt x="659" y="539"/>
                    <a:pt x="661" y="543"/>
                  </a:cubicBezTo>
                  <a:cubicBezTo>
                    <a:pt x="662" y="547"/>
                    <a:pt x="661" y="551"/>
                    <a:pt x="658" y="556"/>
                  </a:cubicBezTo>
                  <a:cubicBezTo>
                    <a:pt x="650" y="570"/>
                    <a:pt x="650" y="570"/>
                    <a:pt x="650" y="570"/>
                  </a:cubicBezTo>
                  <a:cubicBezTo>
                    <a:pt x="644" y="567"/>
                    <a:pt x="644" y="567"/>
                    <a:pt x="644" y="567"/>
                  </a:cubicBezTo>
                  <a:cubicBezTo>
                    <a:pt x="653" y="553"/>
                    <a:pt x="653" y="553"/>
                    <a:pt x="653" y="553"/>
                  </a:cubicBezTo>
                  <a:cubicBezTo>
                    <a:pt x="654" y="550"/>
                    <a:pt x="654" y="548"/>
                    <a:pt x="654" y="546"/>
                  </a:cubicBezTo>
                  <a:cubicBezTo>
                    <a:pt x="653" y="544"/>
                    <a:pt x="650" y="542"/>
                    <a:pt x="647" y="539"/>
                  </a:cubicBezTo>
                  <a:cubicBezTo>
                    <a:pt x="644" y="537"/>
                    <a:pt x="641" y="537"/>
                    <a:pt x="639" y="537"/>
                  </a:cubicBezTo>
                  <a:cubicBezTo>
                    <a:pt x="636" y="537"/>
                    <a:pt x="635" y="538"/>
                    <a:pt x="633" y="541"/>
                  </a:cubicBezTo>
                  <a:cubicBezTo>
                    <a:pt x="629" y="548"/>
                    <a:pt x="629" y="548"/>
                    <a:pt x="629" y="548"/>
                  </a:cubicBezTo>
                  <a:cubicBezTo>
                    <a:pt x="636" y="553"/>
                    <a:pt x="636" y="553"/>
                    <a:pt x="636" y="553"/>
                  </a:cubicBezTo>
                  <a:cubicBezTo>
                    <a:pt x="641" y="544"/>
                    <a:pt x="641" y="544"/>
                    <a:pt x="641" y="544"/>
                  </a:cubicBezTo>
                  <a:close/>
                  <a:moveTo>
                    <a:pt x="648" y="574"/>
                  </a:moveTo>
                  <a:cubicBezTo>
                    <a:pt x="643" y="581"/>
                    <a:pt x="643" y="581"/>
                    <a:pt x="643" y="581"/>
                  </a:cubicBezTo>
                  <a:cubicBezTo>
                    <a:pt x="627" y="580"/>
                    <a:pt x="627" y="580"/>
                    <a:pt x="627" y="580"/>
                  </a:cubicBezTo>
                  <a:cubicBezTo>
                    <a:pt x="632" y="595"/>
                    <a:pt x="632" y="595"/>
                    <a:pt x="632" y="595"/>
                  </a:cubicBezTo>
                  <a:cubicBezTo>
                    <a:pt x="627" y="602"/>
                    <a:pt x="627" y="602"/>
                    <a:pt x="627" y="602"/>
                  </a:cubicBezTo>
                  <a:cubicBezTo>
                    <a:pt x="619" y="579"/>
                    <a:pt x="619" y="579"/>
                    <a:pt x="619" y="579"/>
                  </a:cubicBezTo>
                  <a:cubicBezTo>
                    <a:pt x="607" y="570"/>
                    <a:pt x="607" y="570"/>
                    <a:pt x="607" y="570"/>
                  </a:cubicBezTo>
                  <a:cubicBezTo>
                    <a:pt x="611" y="564"/>
                    <a:pt x="611" y="564"/>
                    <a:pt x="611" y="564"/>
                  </a:cubicBezTo>
                  <a:cubicBezTo>
                    <a:pt x="624" y="573"/>
                    <a:pt x="624" y="573"/>
                    <a:pt x="624" y="573"/>
                  </a:cubicBezTo>
                  <a:cubicBezTo>
                    <a:pt x="648" y="574"/>
                    <a:pt x="648" y="574"/>
                    <a:pt x="648" y="574"/>
                  </a:cubicBezTo>
                  <a:close/>
                  <a:moveTo>
                    <a:pt x="264" y="535"/>
                  </a:moveTo>
                  <a:cubicBezTo>
                    <a:pt x="392" y="535"/>
                    <a:pt x="392" y="535"/>
                    <a:pt x="392" y="535"/>
                  </a:cubicBezTo>
                  <a:cubicBezTo>
                    <a:pt x="401" y="536"/>
                    <a:pt x="400" y="566"/>
                    <a:pt x="392" y="565"/>
                  </a:cubicBezTo>
                  <a:cubicBezTo>
                    <a:pt x="264" y="565"/>
                    <a:pt x="264" y="565"/>
                    <a:pt x="264" y="565"/>
                  </a:cubicBezTo>
                  <a:cubicBezTo>
                    <a:pt x="275" y="565"/>
                    <a:pt x="276" y="536"/>
                    <a:pt x="264" y="535"/>
                  </a:cubicBezTo>
                  <a:close/>
                  <a:moveTo>
                    <a:pt x="550" y="535"/>
                  </a:moveTo>
                  <a:cubicBezTo>
                    <a:pt x="538" y="536"/>
                    <a:pt x="539" y="565"/>
                    <a:pt x="550" y="565"/>
                  </a:cubicBezTo>
                  <a:cubicBezTo>
                    <a:pt x="421" y="565"/>
                    <a:pt x="421" y="565"/>
                    <a:pt x="421" y="565"/>
                  </a:cubicBezTo>
                  <a:cubicBezTo>
                    <a:pt x="413" y="566"/>
                    <a:pt x="412" y="536"/>
                    <a:pt x="421" y="535"/>
                  </a:cubicBezTo>
                  <a:cubicBezTo>
                    <a:pt x="550" y="535"/>
                    <a:pt x="550" y="535"/>
                    <a:pt x="550" y="535"/>
                  </a:cubicBezTo>
                  <a:close/>
                  <a:moveTo>
                    <a:pt x="495" y="212"/>
                  </a:moveTo>
                  <a:cubicBezTo>
                    <a:pt x="495" y="260"/>
                    <a:pt x="495" y="260"/>
                    <a:pt x="495" y="260"/>
                  </a:cubicBezTo>
                  <a:cubicBezTo>
                    <a:pt x="481" y="257"/>
                    <a:pt x="469" y="266"/>
                    <a:pt x="462" y="280"/>
                  </a:cubicBezTo>
                  <a:cubicBezTo>
                    <a:pt x="462" y="449"/>
                    <a:pt x="462" y="449"/>
                    <a:pt x="462" y="449"/>
                  </a:cubicBezTo>
                  <a:cubicBezTo>
                    <a:pt x="493" y="439"/>
                    <a:pt x="510" y="421"/>
                    <a:pt x="516" y="396"/>
                  </a:cubicBezTo>
                  <a:cubicBezTo>
                    <a:pt x="519" y="389"/>
                    <a:pt x="519" y="377"/>
                    <a:pt x="514" y="358"/>
                  </a:cubicBezTo>
                  <a:cubicBezTo>
                    <a:pt x="501" y="332"/>
                    <a:pt x="486" y="324"/>
                    <a:pt x="477" y="327"/>
                  </a:cubicBezTo>
                  <a:cubicBezTo>
                    <a:pt x="477" y="278"/>
                    <a:pt x="477" y="278"/>
                    <a:pt x="477" y="278"/>
                  </a:cubicBezTo>
                  <a:cubicBezTo>
                    <a:pt x="516" y="281"/>
                    <a:pt x="552" y="305"/>
                    <a:pt x="562" y="357"/>
                  </a:cubicBezTo>
                  <a:cubicBezTo>
                    <a:pt x="570" y="390"/>
                    <a:pt x="562" y="422"/>
                    <a:pt x="545" y="449"/>
                  </a:cubicBezTo>
                  <a:cubicBezTo>
                    <a:pt x="523" y="472"/>
                    <a:pt x="499" y="491"/>
                    <a:pt x="462" y="497"/>
                  </a:cubicBezTo>
                  <a:cubicBezTo>
                    <a:pt x="462" y="514"/>
                    <a:pt x="462" y="514"/>
                    <a:pt x="462" y="514"/>
                  </a:cubicBezTo>
                  <a:cubicBezTo>
                    <a:pt x="413" y="514"/>
                    <a:pt x="413" y="514"/>
                    <a:pt x="413" y="514"/>
                  </a:cubicBezTo>
                  <a:cubicBezTo>
                    <a:pt x="413" y="274"/>
                    <a:pt x="413" y="274"/>
                    <a:pt x="413" y="274"/>
                  </a:cubicBezTo>
                  <a:cubicBezTo>
                    <a:pt x="425" y="233"/>
                    <a:pt x="453" y="213"/>
                    <a:pt x="495" y="212"/>
                  </a:cubicBezTo>
                  <a:close/>
                  <a:moveTo>
                    <a:pt x="316" y="212"/>
                  </a:moveTo>
                  <a:cubicBezTo>
                    <a:pt x="358" y="213"/>
                    <a:pt x="386" y="233"/>
                    <a:pt x="398" y="274"/>
                  </a:cubicBezTo>
                  <a:cubicBezTo>
                    <a:pt x="398" y="514"/>
                    <a:pt x="398" y="514"/>
                    <a:pt x="398" y="514"/>
                  </a:cubicBezTo>
                  <a:cubicBezTo>
                    <a:pt x="349" y="514"/>
                    <a:pt x="349" y="514"/>
                    <a:pt x="349" y="514"/>
                  </a:cubicBezTo>
                  <a:cubicBezTo>
                    <a:pt x="349" y="497"/>
                    <a:pt x="349" y="497"/>
                    <a:pt x="349" y="497"/>
                  </a:cubicBezTo>
                  <a:cubicBezTo>
                    <a:pt x="312" y="491"/>
                    <a:pt x="288" y="472"/>
                    <a:pt x="267" y="449"/>
                  </a:cubicBezTo>
                  <a:cubicBezTo>
                    <a:pt x="249" y="422"/>
                    <a:pt x="241" y="390"/>
                    <a:pt x="249" y="357"/>
                  </a:cubicBezTo>
                  <a:cubicBezTo>
                    <a:pt x="259" y="305"/>
                    <a:pt x="295" y="281"/>
                    <a:pt x="334" y="278"/>
                  </a:cubicBezTo>
                  <a:cubicBezTo>
                    <a:pt x="334" y="327"/>
                    <a:pt x="334" y="327"/>
                    <a:pt x="334" y="327"/>
                  </a:cubicBezTo>
                  <a:cubicBezTo>
                    <a:pt x="325" y="324"/>
                    <a:pt x="310" y="332"/>
                    <a:pt x="297" y="358"/>
                  </a:cubicBezTo>
                  <a:cubicBezTo>
                    <a:pt x="292" y="377"/>
                    <a:pt x="292" y="389"/>
                    <a:pt x="295" y="396"/>
                  </a:cubicBezTo>
                  <a:cubicBezTo>
                    <a:pt x="302" y="421"/>
                    <a:pt x="318" y="439"/>
                    <a:pt x="349" y="449"/>
                  </a:cubicBezTo>
                  <a:cubicBezTo>
                    <a:pt x="349" y="280"/>
                    <a:pt x="349" y="280"/>
                    <a:pt x="349" y="280"/>
                  </a:cubicBezTo>
                  <a:cubicBezTo>
                    <a:pt x="343" y="266"/>
                    <a:pt x="330" y="257"/>
                    <a:pt x="316" y="260"/>
                  </a:cubicBezTo>
                  <a:cubicBezTo>
                    <a:pt x="316" y="212"/>
                    <a:pt x="316" y="212"/>
                    <a:pt x="316" y="212"/>
                  </a:cubicBezTo>
                  <a:close/>
                  <a:moveTo>
                    <a:pt x="249" y="587"/>
                  </a:moveTo>
                  <a:cubicBezTo>
                    <a:pt x="567" y="587"/>
                    <a:pt x="567" y="587"/>
                    <a:pt x="567" y="587"/>
                  </a:cubicBezTo>
                  <a:cubicBezTo>
                    <a:pt x="567" y="615"/>
                    <a:pt x="567" y="615"/>
                    <a:pt x="567" y="615"/>
                  </a:cubicBezTo>
                  <a:cubicBezTo>
                    <a:pt x="249" y="615"/>
                    <a:pt x="249" y="615"/>
                    <a:pt x="249" y="615"/>
                  </a:cubicBezTo>
                  <a:lnTo>
                    <a:pt x="249" y="587"/>
                  </a:lnTo>
                  <a:close/>
                </a:path>
              </a:pathLst>
            </a:custGeom>
            <a:solidFill>
              <a:srgbClr val="B600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3048DE19-F7E9-4DFB-BAFC-ED25DF514918}"/>
              </a:ext>
            </a:extLst>
          </p:cNvPr>
          <p:cNvGrpSpPr/>
          <p:nvPr/>
        </p:nvGrpSpPr>
        <p:grpSpPr>
          <a:xfrm>
            <a:off x="498678" y="4046"/>
            <a:ext cx="11276453" cy="6117276"/>
            <a:chOff x="498678" y="4046"/>
            <a:chExt cx="11276453" cy="6117276"/>
          </a:xfrm>
        </p:grpSpPr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2CF97F03-CA26-458B-8D79-8D63046A08D7}"/>
                </a:ext>
              </a:extLst>
            </p:cNvPr>
            <p:cNvGrpSpPr/>
            <p:nvPr/>
          </p:nvGrpSpPr>
          <p:grpSpPr>
            <a:xfrm>
              <a:off x="2370907" y="4304856"/>
              <a:ext cx="8400484" cy="1816466"/>
              <a:chOff x="669926" y="1070043"/>
              <a:chExt cx="8400484" cy="1816466"/>
            </a:xfrm>
          </p:grpSpPr>
          <p:grpSp>
            <p:nvGrpSpPr>
              <p:cNvPr id="52" name="组合 51">
                <a:extLst>
                  <a:ext uri="{FF2B5EF4-FFF2-40B4-BE49-F238E27FC236}">
                    <a16:creationId xmlns:a16="http://schemas.microsoft.com/office/drawing/2014/main" id="{EBC50C89-CF7A-4E5A-BE87-73401643710C}"/>
                  </a:ext>
                </a:extLst>
              </p:cNvPr>
              <p:cNvGrpSpPr/>
              <p:nvPr/>
            </p:nvGrpSpPr>
            <p:grpSpPr>
              <a:xfrm>
                <a:off x="3351892" y="1132701"/>
                <a:ext cx="3551553" cy="1643957"/>
                <a:chOff x="3351892" y="1132701"/>
                <a:chExt cx="3551553" cy="1643957"/>
              </a:xfrm>
            </p:grpSpPr>
            <p:sp>
              <p:nvSpPr>
                <p:cNvPr id="75" name="矩形 189">
                  <a:extLst>
                    <a:ext uri="{FF2B5EF4-FFF2-40B4-BE49-F238E27FC236}">
                      <a16:creationId xmlns:a16="http://schemas.microsoft.com/office/drawing/2014/main" id="{4DFF6379-8313-4DCA-93CF-266FB7A27757}"/>
                    </a:ext>
                  </a:extLst>
                </p:cNvPr>
                <p:cNvSpPr/>
                <p:nvPr/>
              </p:nvSpPr>
              <p:spPr>
                <a:xfrm>
                  <a:off x="3351892" y="2453493"/>
                  <a:ext cx="3336479" cy="3231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anchor="ctr">
                  <a:spAutoFit/>
                </a:bodyPr>
                <a:lstStyle/>
                <a:p>
                  <a:pPr defTabSz="914354">
                    <a:lnSpc>
                      <a:spcPct val="150000"/>
                    </a:lnSpc>
                    <a:defRPr/>
                  </a:pP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  <a:hlinkClick r:id="rId5"/>
                    </a:rPr>
                    <a:t>www.islide.cc</a:t>
                  </a:r>
                  <a:endPara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6" name="矩形 190">
                  <a:extLst>
                    <a:ext uri="{FF2B5EF4-FFF2-40B4-BE49-F238E27FC236}">
                      <a16:creationId xmlns:a16="http://schemas.microsoft.com/office/drawing/2014/main" id="{B9240125-4D8C-4CA2-9A61-C7085B81F5FF}"/>
                    </a:ext>
                  </a:extLst>
                </p:cNvPr>
                <p:cNvSpPr/>
                <p:nvPr/>
              </p:nvSpPr>
              <p:spPr>
                <a:xfrm>
                  <a:off x="3351892" y="1132701"/>
                  <a:ext cx="3551553" cy="110799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anchor="t">
                  <a:spAutoFit/>
                </a:bodyPr>
                <a:lstStyle/>
                <a:p>
                  <a:pPr defTabSz="914354">
                    <a:lnSpc>
                      <a:spcPct val="120000"/>
                    </a:lnSpc>
                    <a:defRPr/>
                  </a:pP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PPT</a:t>
                  </a:r>
                  <a:r>
                    <a:rPr lang="zh-CN" altLang="en-US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“一键”美化神器</a:t>
                  </a:r>
                  <a:endPara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  <a:p>
                  <a:pPr defTabSz="914354">
                    <a:lnSpc>
                      <a:spcPct val="120000"/>
                    </a:lnSpc>
                    <a:defRPr/>
                  </a:pP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180K+</a:t>
                  </a:r>
                  <a:r>
                    <a:rPr lang="zh-CN" altLang="en-US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专业</a:t>
                  </a: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PPT</a:t>
                  </a:r>
                  <a:r>
                    <a:rPr lang="zh-CN" altLang="en-US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素材资源下载</a:t>
                  </a:r>
                  <a:endPara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  <a:p>
                  <a:pPr defTabSz="914354">
                    <a:lnSpc>
                      <a:spcPct val="120000"/>
                    </a:lnSpc>
                    <a:defRPr/>
                  </a:pPr>
                  <a:r>
                    <a:rPr lang="zh-CN" altLang="en-US" sz="1000" dirty="0">
                      <a:solidFill>
                        <a:srgbClr val="CC4B4A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让</a:t>
                  </a:r>
                  <a:r>
                    <a:rPr lang="en-US" altLang="zh-CN" sz="1000" dirty="0">
                      <a:solidFill>
                        <a:srgbClr val="CC4B4A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PPT</a:t>
                  </a:r>
                  <a:r>
                    <a:rPr lang="zh-CN" altLang="en-US" sz="1000" dirty="0">
                      <a:solidFill>
                        <a:srgbClr val="CC4B4A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设计简单起来！</a:t>
                  </a:r>
                  <a:endPara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  <a:p>
                  <a:pPr defTabSz="914354">
                    <a:defRPr/>
                  </a:pPr>
                  <a:endPara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  <a:p>
                  <a:pPr defTabSz="914354">
                    <a:defRPr/>
                  </a:pP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All-In-One PowerPoint Design Add-in</a:t>
                  </a:r>
                </a:p>
                <a:p>
                  <a:pPr defTabSz="914354">
                    <a:defRPr/>
                  </a:pPr>
                  <a:r>
                    <a:rPr lang="en-US" altLang="zh-CN" sz="1000" dirty="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180K+ Professional PowerPoint Resources</a:t>
                  </a:r>
                  <a:endPara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  <p:grpSp>
            <p:nvGrpSpPr>
              <p:cNvPr id="53" name="组合 52">
                <a:extLst>
                  <a:ext uri="{FF2B5EF4-FFF2-40B4-BE49-F238E27FC236}">
                    <a16:creationId xmlns:a16="http://schemas.microsoft.com/office/drawing/2014/main" id="{8337546B-EF04-4048-B930-24A2333B2B5F}"/>
                  </a:ext>
                </a:extLst>
              </p:cNvPr>
              <p:cNvGrpSpPr/>
              <p:nvPr/>
            </p:nvGrpSpPr>
            <p:grpSpPr>
              <a:xfrm>
                <a:off x="7672272" y="1128666"/>
                <a:ext cx="1398138" cy="1757843"/>
                <a:chOff x="7672272" y="1128666"/>
                <a:chExt cx="1398138" cy="1757843"/>
              </a:xfrm>
            </p:grpSpPr>
            <p:sp>
              <p:nvSpPr>
                <p:cNvPr id="69" name="矩形 211">
                  <a:extLst>
                    <a:ext uri="{FF2B5EF4-FFF2-40B4-BE49-F238E27FC236}">
                      <a16:creationId xmlns:a16="http://schemas.microsoft.com/office/drawing/2014/main" id="{000F281E-1C6A-41E7-A547-A550C313F296}"/>
                    </a:ext>
                  </a:extLst>
                </p:cNvPr>
                <p:cNvSpPr/>
                <p:nvPr/>
              </p:nvSpPr>
              <p:spPr>
                <a:xfrm>
                  <a:off x="7672272" y="2486399"/>
                  <a:ext cx="1398138" cy="40011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zh-CN" altLang="en-US" sz="100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关注官方微信公众号</a:t>
                  </a:r>
                  <a:br>
                    <a:rPr lang="zh-CN" altLang="en-US" sz="100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</a:br>
                  <a:r>
                    <a:rPr lang="en-US" altLang="zh-CN" sz="100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rPr>
                    <a:t>Follow us on WeChat</a:t>
                  </a:r>
                </a:p>
              </p:txBody>
            </p:sp>
            <p:grpSp>
              <p:nvGrpSpPr>
                <p:cNvPr id="70" name="组合 212">
                  <a:extLst>
                    <a:ext uri="{FF2B5EF4-FFF2-40B4-BE49-F238E27FC236}">
                      <a16:creationId xmlns:a16="http://schemas.microsoft.com/office/drawing/2014/main" id="{751C2A39-1010-411C-A93E-13CDAB24F179}"/>
                    </a:ext>
                  </a:extLst>
                </p:cNvPr>
                <p:cNvGrpSpPr/>
                <p:nvPr/>
              </p:nvGrpSpPr>
              <p:grpSpPr>
                <a:xfrm>
                  <a:off x="7692468" y="1128666"/>
                  <a:ext cx="1357733" cy="1357734"/>
                  <a:chOff x="4693653" y="1484781"/>
                  <a:chExt cx="2329760" cy="2329758"/>
                </a:xfrm>
              </p:grpSpPr>
              <p:pic>
                <p:nvPicPr>
                  <p:cNvPr id="71" name="图片 213">
                    <a:extLst>
                      <a:ext uri="{FF2B5EF4-FFF2-40B4-BE49-F238E27FC236}">
                        <a16:creationId xmlns:a16="http://schemas.microsoft.com/office/drawing/2014/main" id="{90400572-3850-44F7-9DDC-B464E6BA93D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4693653" y="1484781"/>
                    <a:ext cx="2329760" cy="2329758"/>
                  </a:xfrm>
                  <a:prstGeom prst="rect">
                    <a:avLst/>
                  </a:prstGeom>
                </p:spPr>
              </p:pic>
              <p:grpSp>
                <p:nvGrpSpPr>
                  <p:cNvPr id="72" name="组合 214">
                    <a:extLst>
                      <a:ext uri="{FF2B5EF4-FFF2-40B4-BE49-F238E27FC236}">
                        <a16:creationId xmlns:a16="http://schemas.microsoft.com/office/drawing/2014/main" id="{F0120199-26CB-4E4D-BDE7-60E37874DC32}"/>
                      </a:ext>
                    </a:extLst>
                  </p:cNvPr>
                  <p:cNvGrpSpPr/>
                  <p:nvPr/>
                </p:nvGrpSpPr>
                <p:grpSpPr>
                  <a:xfrm>
                    <a:off x="5497245" y="2228001"/>
                    <a:ext cx="722580" cy="722580"/>
                    <a:chOff x="5758004" y="2227152"/>
                    <a:chExt cx="724278" cy="724278"/>
                  </a:xfrm>
                </p:grpSpPr>
                <p:sp>
                  <p:nvSpPr>
                    <p:cNvPr id="73" name="圆角矩形 215">
                      <a:extLst>
                        <a:ext uri="{FF2B5EF4-FFF2-40B4-BE49-F238E27FC236}">
                          <a16:creationId xmlns:a16="http://schemas.microsoft.com/office/drawing/2014/main" id="{B3F19E87-73AA-4350-9EC9-9F91AAFA8A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58004" y="2227152"/>
                      <a:ext cx="724278" cy="724278"/>
                    </a:xfrm>
                    <a:prstGeom prst="roundRect">
                      <a:avLst>
                        <a:gd name="adj" fmla="val 7023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>
                        <a:latin typeface="Arial" panose="020B0604020202020204" pitchFamily="34" charset="0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4" name="圆角矩形 216">
                      <a:extLst>
                        <a:ext uri="{FF2B5EF4-FFF2-40B4-BE49-F238E27FC236}">
                          <a16:creationId xmlns:a16="http://schemas.microsoft.com/office/drawing/2014/main" id="{4EE56433-0D26-4E2D-A24A-4EC21C415B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04041" y="2273189"/>
                      <a:ext cx="632205" cy="632205"/>
                    </a:xfrm>
                    <a:prstGeom prst="roundRect">
                      <a:avLst>
                        <a:gd name="adj" fmla="val 10091"/>
                      </a:avLst>
                    </a:prstGeom>
                    <a:blipFill>
                      <a:blip r:embed="rId7"/>
                      <a:stretch>
                        <a:fillRect/>
                      </a:stretch>
                    </a:blip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>
                        <a:latin typeface="Arial" panose="020B0604020202020204" pitchFamily="34" charset="0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p:txBody>
                </p:sp>
              </p:grpSp>
            </p:grpSp>
          </p:grpSp>
          <p:cxnSp>
            <p:nvCxnSpPr>
              <p:cNvPr id="54" name="直接连接符 53">
                <a:extLst>
                  <a:ext uri="{FF2B5EF4-FFF2-40B4-BE49-F238E27FC236}">
                    <a16:creationId xmlns:a16="http://schemas.microsoft.com/office/drawing/2014/main" id="{2B119F66-1A81-4F16-B2D5-C548EC7D1BE7}"/>
                  </a:ext>
                </a:extLst>
              </p:cNvPr>
              <p:cNvCxnSpPr/>
              <p:nvPr/>
            </p:nvCxnSpPr>
            <p:spPr>
              <a:xfrm>
                <a:off x="3007696" y="1070043"/>
                <a:ext cx="0" cy="1689055"/>
              </a:xfrm>
              <a:prstGeom prst="line">
                <a:avLst/>
              </a:prstGeom>
              <a:ln w="3175">
                <a:solidFill>
                  <a:srgbClr val="000000"/>
                </a:solidFill>
              </a:ln>
            </p:spPr>
          </p:cxnSp>
          <p:cxnSp>
            <p:nvCxnSpPr>
              <p:cNvPr id="58" name="直接连接符 57">
                <a:extLst>
                  <a:ext uri="{FF2B5EF4-FFF2-40B4-BE49-F238E27FC236}">
                    <a16:creationId xmlns:a16="http://schemas.microsoft.com/office/drawing/2014/main" id="{0CD17EEC-3850-412D-A9B7-5BF94EB61D73}"/>
                  </a:ext>
                </a:extLst>
              </p:cNvPr>
              <p:cNvCxnSpPr/>
              <p:nvPr/>
            </p:nvCxnSpPr>
            <p:spPr>
              <a:xfrm>
                <a:off x="7247640" y="1070043"/>
                <a:ext cx="0" cy="1689055"/>
              </a:xfrm>
              <a:prstGeom prst="line">
                <a:avLst/>
              </a:prstGeom>
              <a:ln w="3175">
                <a:solidFill>
                  <a:srgbClr val="000000"/>
                </a:solidFill>
              </a:ln>
            </p:spPr>
          </p:cxnSp>
          <p:grpSp>
            <p:nvGrpSpPr>
              <p:cNvPr id="59" name="组合 58">
                <a:extLst>
                  <a:ext uri="{FF2B5EF4-FFF2-40B4-BE49-F238E27FC236}">
                    <a16:creationId xmlns:a16="http://schemas.microsoft.com/office/drawing/2014/main" id="{04BBCBA5-E8D5-4E70-B5B6-8F41A2D38C36}"/>
                  </a:ext>
                </a:extLst>
              </p:cNvPr>
              <p:cNvGrpSpPr/>
              <p:nvPr/>
            </p:nvGrpSpPr>
            <p:grpSpPr>
              <a:xfrm>
                <a:off x="669926" y="1204895"/>
                <a:ext cx="1699443" cy="445784"/>
                <a:chOff x="669926" y="1204895"/>
                <a:chExt cx="1699443" cy="445784"/>
              </a:xfrm>
            </p:grpSpPr>
            <p:sp>
              <p:nvSpPr>
                <p:cNvPr id="60" name="AutoShape 15">
                  <a:extLst>
                    <a:ext uri="{FF2B5EF4-FFF2-40B4-BE49-F238E27FC236}">
                      <a16:creationId xmlns:a16="http://schemas.microsoft.com/office/drawing/2014/main" id="{75B3C555-78AB-40D6-8CB4-18E129E51C76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69926" y="1204895"/>
                  <a:ext cx="1699443" cy="4457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1" name="Freeform 17">
                  <a:extLst>
                    <a:ext uri="{FF2B5EF4-FFF2-40B4-BE49-F238E27FC236}">
                      <a16:creationId xmlns:a16="http://schemas.microsoft.com/office/drawing/2014/main" id="{891DC5EA-CE21-4D58-86F4-BC6BEBAF4B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0473" y="1204895"/>
                  <a:ext cx="444415" cy="445784"/>
                </a:xfrm>
                <a:custGeom>
                  <a:avLst/>
                  <a:gdLst>
                    <a:gd name="T0" fmla="*/ 344 w 687"/>
                    <a:gd name="T1" fmla="*/ 687 h 687"/>
                    <a:gd name="T2" fmla="*/ 344 w 687"/>
                    <a:gd name="T3" fmla="*/ 687 h 687"/>
                    <a:gd name="T4" fmla="*/ 0 w 687"/>
                    <a:gd name="T5" fmla="*/ 344 h 687"/>
                    <a:gd name="T6" fmla="*/ 0 w 687"/>
                    <a:gd name="T7" fmla="*/ 344 h 687"/>
                    <a:gd name="T8" fmla="*/ 344 w 687"/>
                    <a:gd name="T9" fmla="*/ 0 h 687"/>
                    <a:gd name="T10" fmla="*/ 344 w 687"/>
                    <a:gd name="T11" fmla="*/ 0 h 687"/>
                    <a:gd name="T12" fmla="*/ 687 w 687"/>
                    <a:gd name="T13" fmla="*/ 344 h 687"/>
                    <a:gd name="T14" fmla="*/ 687 w 687"/>
                    <a:gd name="T15" fmla="*/ 344 h 687"/>
                    <a:gd name="T16" fmla="*/ 344 w 687"/>
                    <a:gd name="T17" fmla="*/ 687 h 6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87" h="687">
                      <a:moveTo>
                        <a:pt x="344" y="687"/>
                      </a:moveTo>
                      <a:cubicBezTo>
                        <a:pt x="344" y="687"/>
                        <a:pt x="344" y="687"/>
                        <a:pt x="344" y="687"/>
                      </a:cubicBezTo>
                      <a:cubicBezTo>
                        <a:pt x="155" y="687"/>
                        <a:pt x="0" y="533"/>
                        <a:pt x="0" y="344"/>
                      </a:cubicBezTo>
                      <a:cubicBezTo>
                        <a:pt x="0" y="344"/>
                        <a:pt x="0" y="344"/>
                        <a:pt x="0" y="344"/>
                      </a:cubicBezTo>
                      <a:cubicBezTo>
                        <a:pt x="0" y="155"/>
                        <a:pt x="155" y="0"/>
                        <a:pt x="344" y="0"/>
                      </a:cubicBez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533" y="0"/>
                        <a:pt x="687" y="155"/>
                        <a:pt x="687" y="344"/>
                      </a:cubicBezTo>
                      <a:cubicBezTo>
                        <a:pt x="687" y="344"/>
                        <a:pt x="687" y="344"/>
                        <a:pt x="687" y="344"/>
                      </a:cubicBezTo>
                      <a:cubicBezTo>
                        <a:pt x="687" y="533"/>
                        <a:pt x="533" y="687"/>
                        <a:pt x="344" y="6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2" name="Freeform 18">
                  <a:extLst>
                    <a:ext uri="{FF2B5EF4-FFF2-40B4-BE49-F238E27FC236}">
                      <a16:creationId xmlns:a16="http://schemas.microsoft.com/office/drawing/2014/main" id="{DAF84655-B366-4F6C-9672-14DEE5E96D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73" y="1204895"/>
                  <a:ext cx="444415" cy="444417"/>
                </a:xfrm>
                <a:custGeom>
                  <a:avLst/>
                  <a:gdLst>
                    <a:gd name="T0" fmla="*/ 344 w 687"/>
                    <a:gd name="T1" fmla="*/ 0 h 685"/>
                    <a:gd name="T2" fmla="*/ 344 w 687"/>
                    <a:gd name="T3" fmla="*/ 0 h 685"/>
                    <a:gd name="T4" fmla="*/ 0 w 687"/>
                    <a:gd name="T5" fmla="*/ 344 h 685"/>
                    <a:gd name="T6" fmla="*/ 209 w 687"/>
                    <a:gd name="T7" fmla="*/ 659 h 685"/>
                    <a:gd name="T8" fmla="*/ 210 w 687"/>
                    <a:gd name="T9" fmla="*/ 648 h 685"/>
                    <a:gd name="T10" fmla="*/ 260 w 687"/>
                    <a:gd name="T11" fmla="*/ 402 h 685"/>
                    <a:gd name="T12" fmla="*/ 362 w 687"/>
                    <a:gd name="T13" fmla="*/ 334 h 685"/>
                    <a:gd name="T14" fmla="*/ 430 w 687"/>
                    <a:gd name="T15" fmla="*/ 436 h 685"/>
                    <a:gd name="T16" fmla="*/ 380 w 687"/>
                    <a:gd name="T17" fmla="*/ 682 h 685"/>
                    <a:gd name="T18" fmla="*/ 379 w 687"/>
                    <a:gd name="T19" fmla="*/ 685 h 685"/>
                    <a:gd name="T20" fmla="*/ 687 w 687"/>
                    <a:gd name="T21" fmla="*/ 344 h 685"/>
                    <a:gd name="T22" fmla="*/ 344 w 687"/>
                    <a:gd name="T23" fmla="*/ 0 h 685"/>
                    <a:gd name="T24" fmla="*/ 388 w 687"/>
                    <a:gd name="T25" fmla="*/ 293 h 685"/>
                    <a:gd name="T26" fmla="*/ 299 w 687"/>
                    <a:gd name="T27" fmla="*/ 204 h 685"/>
                    <a:gd name="T28" fmla="*/ 388 w 687"/>
                    <a:gd name="T29" fmla="*/ 115 h 685"/>
                    <a:gd name="T30" fmla="*/ 477 w 687"/>
                    <a:gd name="T31" fmla="*/ 204 h 685"/>
                    <a:gd name="T32" fmla="*/ 388 w 687"/>
                    <a:gd name="T33" fmla="*/ 293 h 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87" h="685">
                      <a:moveTo>
                        <a:pt x="344" y="0"/>
                      </a:move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155" y="0"/>
                        <a:pt x="0" y="155"/>
                        <a:pt x="0" y="344"/>
                      </a:cubicBezTo>
                      <a:cubicBezTo>
                        <a:pt x="0" y="485"/>
                        <a:pt x="86" y="607"/>
                        <a:pt x="209" y="659"/>
                      </a:cubicBezTo>
                      <a:cubicBezTo>
                        <a:pt x="209" y="656"/>
                        <a:pt x="209" y="652"/>
                        <a:pt x="210" y="648"/>
                      </a:cubicBezTo>
                      <a:cubicBezTo>
                        <a:pt x="260" y="402"/>
                        <a:pt x="260" y="402"/>
                        <a:pt x="260" y="402"/>
                      </a:cubicBezTo>
                      <a:cubicBezTo>
                        <a:pt x="269" y="355"/>
                        <a:pt x="315" y="325"/>
                        <a:pt x="362" y="334"/>
                      </a:cubicBezTo>
                      <a:cubicBezTo>
                        <a:pt x="409" y="344"/>
                        <a:pt x="439" y="390"/>
                        <a:pt x="430" y="436"/>
                      </a:cubicBezTo>
                      <a:cubicBezTo>
                        <a:pt x="380" y="682"/>
                        <a:pt x="380" y="682"/>
                        <a:pt x="380" y="682"/>
                      </a:cubicBezTo>
                      <a:cubicBezTo>
                        <a:pt x="379" y="684"/>
                        <a:pt x="379" y="684"/>
                        <a:pt x="379" y="685"/>
                      </a:cubicBezTo>
                      <a:cubicBezTo>
                        <a:pt x="551" y="668"/>
                        <a:pt x="687" y="521"/>
                        <a:pt x="687" y="344"/>
                      </a:cubicBezTo>
                      <a:cubicBezTo>
                        <a:pt x="687" y="155"/>
                        <a:pt x="533" y="0"/>
                        <a:pt x="344" y="0"/>
                      </a:cubicBezTo>
                      <a:close/>
                      <a:moveTo>
                        <a:pt x="388" y="293"/>
                      </a:moveTo>
                      <a:cubicBezTo>
                        <a:pt x="339" y="293"/>
                        <a:pt x="299" y="253"/>
                        <a:pt x="299" y="204"/>
                      </a:cubicBezTo>
                      <a:cubicBezTo>
                        <a:pt x="299" y="155"/>
                        <a:pt x="339" y="115"/>
                        <a:pt x="388" y="115"/>
                      </a:cubicBezTo>
                      <a:cubicBezTo>
                        <a:pt x="437" y="115"/>
                        <a:pt x="477" y="155"/>
                        <a:pt x="477" y="204"/>
                      </a:cubicBezTo>
                      <a:cubicBezTo>
                        <a:pt x="477" y="253"/>
                        <a:pt x="437" y="293"/>
                        <a:pt x="388" y="293"/>
                      </a:cubicBezTo>
                      <a:close/>
                    </a:path>
                  </a:pathLst>
                </a:custGeom>
                <a:solidFill>
                  <a:srgbClr val="CC4B4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3" name="Freeform 19">
                  <a:extLst>
                    <a:ext uri="{FF2B5EF4-FFF2-40B4-BE49-F238E27FC236}">
                      <a16:creationId xmlns:a16="http://schemas.microsoft.com/office/drawing/2014/main" id="{91DA43D8-C62B-4135-857D-5864E835ED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6721" y="1281471"/>
                  <a:ext cx="237933" cy="309587"/>
                </a:xfrm>
                <a:custGeom>
                  <a:avLst/>
                  <a:gdLst>
                    <a:gd name="T0" fmla="*/ 320 w 368"/>
                    <a:gd name="T1" fmla="*/ 141 h 477"/>
                    <a:gd name="T2" fmla="*/ 291 w 368"/>
                    <a:gd name="T3" fmla="*/ 119 h 477"/>
                    <a:gd name="T4" fmla="*/ 263 w 368"/>
                    <a:gd name="T5" fmla="*/ 77 h 477"/>
                    <a:gd name="T6" fmla="*/ 183 w 368"/>
                    <a:gd name="T7" fmla="*/ 54 h 477"/>
                    <a:gd name="T8" fmla="*/ 106 w 368"/>
                    <a:gd name="T9" fmla="*/ 72 h 477"/>
                    <a:gd name="T10" fmla="*/ 76 w 368"/>
                    <a:gd name="T11" fmla="*/ 123 h 477"/>
                    <a:gd name="T12" fmla="*/ 99 w 368"/>
                    <a:gd name="T13" fmla="*/ 168 h 477"/>
                    <a:gd name="T14" fmla="*/ 187 w 368"/>
                    <a:gd name="T15" fmla="*/ 197 h 477"/>
                    <a:gd name="T16" fmla="*/ 280 w 368"/>
                    <a:gd name="T17" fmla="*/ 223 h 477"/>
                    <a:gd name="T18" fmla="*/ 342 w 368"/>
                    <a:gd name="T19" fmla="*/ 264 h 477"/>
                    <a:gd name="T20" fmla="*/ 368 w 368"/>
                    <a:gd name="T21" fmla="*/ 339 h 477"/>
                    <a:gd name="T22" fmla="*/ 321 w 368"/>
                    <a:gd name="T23" fmla="*/ 438 h 477"/>
                    <a:gd name="T24" fmla="*/ 197 w 368"/>
                    <a:gd name="T25" fmla="*/ 477 h 477"/>
                    <a:gd name="T26" fmla="*/ 51 w 368"/>
                    <a:gd name="T27" fmla="*/ 434 h 477"/>
                    <a:gd name="T28" fmla="*/ 4 w 368"/>
                    <a:gd name="T29" fmla="*/ 351 h 477"/>
                    <a:gd name="T30" fmla="*/ 29 w 368"/>
                    <a:gd name="T31" fmla="*/ 318 h 477"/>
                    <a:gd name="T32" fmla="*/ 32 w 368"/>
                    <a:gd name="T33" fmla="*/ 318 h 477"/>
                    <a:gd name="T34" fmla="*/ 62 w 368"/>
                    <a:gd name="T35" fmla="*/ 340 h 477"/>
                    <a:gd name="T36" fmla="*/ 101 w 368"/>
                    <a:gd name="T37" fmla="*/ 397 h 477"/>
                    <a:gd name="T38" fmla="*/ 194 w 368"/>
                    <a:gd name="T39" fmla="*/ 422 h 477"/>
                    <a:gd name="T40" fmla="*/ 277 w 368"/>
                    <a:gd name="T41" fmla="*/ 401 h 477"/>
                    <a:gd name="T42" fmla="*/ 309 w 368"/>
                    <a:gd name="T43" fmla="*/ 343 h 477"/>
                    <a:gd name="T44" fmla="*/ 276 w 368"/>
                    <a:gd name="T45" fmla="*/ 288 h 477"/>
                    <a:gd name="T46" fmla="*/ 165 w 368"/>
                    <a:gd name="T47" fmla="*/ 254 h 477"/>
                    <a:gd name="T48" fmla="*/ 53 w 368"/>
                    <a:gd name="T49" fmla="*/ 207 h 477"/>
                    <a:gd name="T50" fmla="*/ 18 w 368"/>
                    <a:gd name="T51" fmla="*/ 127 h 477"/>
                    <a:gd name="T52" fmla="*/ 62 w 368"/>
                    <a:gd name="T53" fmla="*/ 36 h 477"/>
                    <a:gd name="T54" fmla="*/ 180 w 368"/>
                    <a:gd name="T55" fmla="*/ 0 h 477"/>
                    <a:gd name="T56" fmla="*/ 304 w 368"/>
                    <a:gd name="T57" fmla="*/ 36 h 477"/>
                    <a:gd name="T58" fmla="*/ 349 w 368"/>
                    <a:gd name="T59" fmla="*/ 108 h 477"/>
                    <a:gd name="T60" fmla="*/ 324 w 368"/>
                    <a:gd name="T61" fmla="*/ 140 h 477"/>
                    <a:gd name="T62" fmla="*/ 320 w 368"/>
                    <a:gd name="T63" fmla="*/ 141 h 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68" h="477">
                      <a:moveTo>
                        <a:pt x="320" y="141"/>
                      </a:moveTo>
                      <a:cubicBezTo>
                        <a:pt x="306" y="142"/>
                        <a:pt x="294" y="133"/>
                        <a:pt x="291" y="119"/>
                      </a:cubicBezTo>
                      <a:cubicBezTo>
                        <a:pt x="286" y="101"/>
                        <a:pt x="276" y="87"/>
                        <a:pt x="263" y="77"/>
                      </a:cubicBezTo>
                      <a:cubicBezTo>
                        <a:pt x="244" y="62"/>
                        <a:pt x="218" y="54"/>
                        <a:pt x="183" y="54"/>
                      </a:cubicBezTo>
                      <a:cubicBezTo>
                        <a:pt x="151" y="54"/>
                        <a:pt x="126" y="60"/>
                        <a:pt x="106" y="72"/>
                      </a:cubicBezTo>
                      <a:cubicBezTo>
                        <a:pt x="86" y="84"/>
                        <a:pt x="76" y="101"/>
                        <a:pt x="76" y="123"/>
                      </a:cubicBezTo>
                      <a:cubicBezTo>
                        <a:pt x="76" y="143"/>
                        <a:pt x="84" y="158"/>
                        <a:pt x="99" y="168"/>
                      </a:cubicBezTo>
                      <a:cubicBezTo>
                        <a:pt x="114" y="178"/>
                        <a:pt x="144" y="187"/>
                        <a:pt x="187" y="197"/>
                      </a:cubicBezTo>
                      <a:cubicBezTo>
                        <a:pt x="225" y="205"/>
                        <a:pt x="256" y="214"/>
                        <a:pt x="280" y="223"/>
                      </a:cubicBezTo>
                      <a:cubicBezTo>
                        <a:pt x="304" y="232"/>
                        <a:pt x="325" y="245"/>
                        <a:pt x="342" y="264"/>
                      </a:cubicBezTo>
                      <a:cubicBezTo>
                        <a:pt x="359" y="283"/>
                        <a:pt x="368" y="307"/>
                        <a:pt x="368" y="339"/>
                      </a:cubicBezTo>
                      <a:cubicBezTo>
                        <a:pt x="368" y="378"/>
                        <a:pt x="352" y="411"/>
                        <a:pt x="321" y="438"/>
                      </a:cubicBezTo>
                      <a:cubicBezTo>
                        <a:pt x="289" y="464"/>
                        <a:pt x="248" y="477"/>
                        <a:pt x="197" y="477"/>
                      </a:cubicBezTo>
                      <a:cubicBezTo>
                        <a:pt x="132" y="477"/>
                        <a:pt x="84" y="462"/>
                        <a:pt x="51" y="434"/>
                      </a:cubicBezTo>
                      <a:cubicBezTo>
                        <a:pt x="26" y="411"/>
                        <a:pt x="11" y="384"/>
                        <a:pt x="4" y="351"/>
                      </a:cubicBezTo>
                      <a:cubicBezTo>
                        <a:pt x="0" y="335"/>
                        <a:pt x="13" y="320"/>
                        <a:pt x="29" y="318"/>
                      </a:cubicBezTo>
                      <a:cubicBezTo>
                        <a:pt x="32" y="318"/>
                        <a:pt x="32" y="318"/>
                        <a:pt x="32" y="318"/>
                      </a:cubicBezTo>
                      <a:cubicBezTo>
                        <a:pt x="46" y="317"/>
                        <a:pt x="58" y="326"/>
                        <a:pt x="62" y="340"/>
                      </a:cubicBezTo>
                      <a:cubicBezTo>
                        <a:pt x="68" y="365"/>
                        <a:pt x="81" y="384"/>
                        <a:pt x="101" y="397"/>
                      </a:cubicBezTo>
                      <a:cubicBezTo>
                        <a:pt x="127" y="413"/>
                        <a:pt x="158" y="422"/>
                        <a:pt x="194" y="422"/>
                      </a:cubicBezTo>
                      <a:cubicBezTo>
                        <a:pt x="229" y="422"/>
                        <a:pt x="256" y="415"/>
                        <a:pt x="277" y="401"/>
                      </a:cubicBezTo>
                      <a:cubicBezTo>
                        <a:pt x="298" y="387"/>
                        <a:pt x="309" y="368"/>
                        <a:pt x="309" y="343"/>
                      </a:cubicBezTo>
                      <a:cubicBezTo>
                        <a:pt x="309" y="318"/>
                        <a:pt x="298" y="300"/>
                        <a:pt x="276" y="288"/>
                      </a:cubicBezTo>
                      <a:cubicBezTo>
                        <a:pt x="254" y="277"/>
                        <a:pt x="217" y="265"/>
                        <a:pt x="165" y="254"/>
                      </a:cubicBezTo>
                      <a:cubicBezTo>
                        <a:pt x="113" y="243"/>
                        <a:pt x="76" y="227"/>
                        <a:pt x="53" y="207"/>
                      </a:cubicBezTo>
                      <a:cubicBezTo>
                        <a:pt x="30" y="186"/>
                        <a:pt x="18" y="160"/>
                        <a:pt x="18" y="127"/>
                      </a:cubicBezTo>
                      <a:cubicBezTo>
                        <a:pt x="18" y="90"/>
                        <a:pt x="33" y="60"/>
                        <a:pt x="62" y="36"/>
                      </a:cubicBezTo>
                      <a:cubicBezTo>
                        <a:pt x="91" y="12"/>
                        <a:pt x="130" y="0"/>
                        <a:pt x="180" y="0"/>
                      </a:cubicBezTo>
                      <a:cubicBezTo>
                        <a:pt x="231" y="0"/>
                        <a:pt x="273" y="12"/>
                        <a:pt x="304" y="36"/>
                      </a:cubicBezTo>
                      <a:cubicBezTo>
                        <a:pt x="327" y="54"/>
                        <a:pt x="343" y="78"/>
                        <a:pt x="349" y="108"/>
                      </a:cubicBezTo>
                      <a:cubicBezTo>
                        <a:pt x="353" y="124"/>
                        <a:pt x="341" y="139"/>
                        <a:pt x="324" y="140"/>
                      </a:cubicBezTo>
                      <a:lnTo>
                        <a:pt x="320" y="141"/>
                      </a:ln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4" name="Freeform 20">
                  <a:extLst>
                    <a:ext uri="{FF2B5EF4-FFF2-40B4-BE49-F238E27FC236}">
                      <a16:creationId xmlns:a16="http://schemas.microsoft.com/office/drawing/2014/main" id="{52D551E5-3843-4F8D-BD46-E514F978B0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3608" y="1286121"/>
                  <a:ext cx="36921" cy="299742"/>
                </a:xfrm>
                <a:custGeom>
                  <a:avLst/>
                  <a:gdLst>
                    <a:gd name="T0" fmla="*/ 29 w 57"/>
                    <a:gd name="T1" fmla="*/ 462 h 462"/>
                    <a:gd name="T2" fmla="*/ 29 w 57"/>
                    <a:gd name="T3" fmla="*/ 462 h 462"/>
                    <a:gd name="T4" fmla="*/ 0 w 57"/>
                    <a:gd name="T5" fmla="*/ 434 h 462"/>
                    <a:gd name="T6" fmla="*/ 0 w 57"/>
                    <a:gd name="T7" fmla="*/ 29 h 462"/>
                    <a:gd name="T8" fmla="*/ 29 w 57"/>
                    <a:gd name="T9" fmla="*/ 0 h 462"/>
                    <a:gd name="T10" fmla="*/ 29 w 57"/>
                    <a:gd name="T11" fmla="*/ 0 h 462"/>
                    <a:gd name="T12" fmla="*/ 57 w 57"/>
                    <a:gd name="T13" fmla="*/ 29 h 462"/>
                    <a:gd name="T14" fmla="*/ 57 w 57"/>
                    <a:gd name="T15" fmla="*/ 434 h 462"/>
                    <a:gd name="T16" fmla="*/ 29 w 57"/>
                    <a:gd name="T17" fmla="*/ 462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462">
                      <a:moveTo>
                        <a:pt x="29" y="462"/>
                      </a:moveTo>
                      <a:cubicBezTo>
                        <a:pt x="29" y="462"/>
                        <a:pt x="29" y="462"/>
                        <a:pt x="29" y="462"/>
                      </a:cubicBezTo>
                      <a:cubicBezTo>
                        <a:pt x="13" y="462"/>
                        <a:pt x="0" y="449"/>
                        <a:pt x="0" y="434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44" y="0"/>
                        <a:pt x="57" y="13"/>
                        <a:pt x="57" y="29"/>
                      </a:cubicBezTo>
                      <a:cubicBezTo>
                        <a:pt x="57" y="434"/>
                        <a:pt x="57" y="434"/>
                        <a:pt x="57" y="434"/>
                      </a:cubicBezTo>
                      <a:cubicBezTo>
                        <a:pt x="57" y="449"/>
                        <a:pt x="44" y="462"/>
                        <a:pt x="29" y="462"/>
                      </a:cubicBez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5" name="Freeform 21">
                  <a:extLst>
                    <a:ext uri="{FF2B5EF4-FFF2-40B4-BE49-F238E27FC236}">
                      <a16:creationId xmlns:a16="http://schemas.microsoft.com/office/drawing/2014/main" id="{632BDA5C-E59E-46B2-BDDB-D334E35D8E1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96867" y="1286121"/>
                  <a:ext cx="36100" cy="299742"/>
                </a:xfrm>
                <a:custGeom>
                  <a:avLst/>
                  <a:gdLst>
                    <a:gd name="T0" fmla="*/ 28 w 56"/>
                    <a:gd name="T1" fmla="*/ 65 h 462"/>
                    <a:gd name="T2" fmla="*/ 28 w 56"/>
                    <a:gd name="T3" fmla="*/ 65 h 462"/>
                    <a:gd name="T4" fmla="*/ 0 w 56"/>
                    <a:gd name="T5" fmla="*/ 36 h 462"/>
                    <a:gd name="T6" fmla="*/ 0 w 56"/>
                    <a:gd name="T7" fmla="*/ 29 h 462"/>
                    <a:gd name="T8" fmla="*/ 28 w 56"/>
                    <a:gd name="T9" fmla="*/ 0 h 462"/>
                    <a:gd name="T10" fmla="*/ 28 w 56"/>
                    <a:gd name="T11" fmla="*/ 0 h 462"/>
                    <a:gd name="T12" fmla="*/ 56 w 56"/>
                    <a:gd name="T13" fmla="*/ 29 h 462"/>
                    <a:gd name="T14" fmla="*/ 56 w 56"/>
                    <a:gd name="T15" fmla="*/ 36 h 462"/>
                    <a:gd name="T16" fmla="*/ 28 w 56"/>
                    <a:gd name="T17" fmla="*/ 65 h 462"/>
                    <a:gd name="T18" fmla="*/ 28 w 56"/>
                    <a:gd name="T19" fmla="*/ 462 h 462"/>
                    <a:gd name="T20" fmla="*/ 28 w 56"/>
                    <a:gd name="T21" fmla="*/ 462 h 462"/>
                    <a:gd name="T22" fmla="*/ 0 w 56"/>
                    <a:gd name="T23" fmla="*/ 434 h 462"/>
                    <a:gd name="T24" fmla="*/ 0 w 56"/>
                    <a:gd name="T25" fmla="*/ 156 h 462"/>
                    <a:gd name="T26" fmla="*/ 28 w 56"/>
                    <a:gd name="T27" fmla="*/ 128 h 462"/>
                    <a:gd name="T28" fmla="*/ 28 w 56"/>
                    <a:gd name="T29" fmla="*/ 128 h 462"/>
                    <a:gd name="T30" fmla="*/ 56 w 56"/>
                    <a:gd name="T31" fmla="*/ 156 h 462"/>
                    <a:gd name="T32" fmla="*/ 56 w 56"/>
                    <a:gd name="T33" fmla="*/ 434 h 462"/>
                    <a:gd name="T34" fmla="*/ 28 w 56"/>
                    <a:gd name="T35" fmla="*/ 462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6" h="462">
                      <a:moveTo>
                        <a:pt x="28" y="65"/>
                      </a:moveTo>
                      <a:cubicBezTo>
                        <a:pt x="28" y="65"/>
                        <a:pt x="28" y="65"/>
                        <a:pt x="28" y="65"/>
                      </a:cubicBezTo>
                      <a:cubicBezTo>
                        <a:pt x="12" y="65"/>
                        <a:pt x="0" y="52"/>
                        <a:pt x="0" y="3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44" y="0"/>
                        <a:pt x="56" y="13"/>
                        <a:pt x="56" y="29"/>
                      </a:cubicBezTo>
                      <a:cubicBezTo>
                        <a:pt x="56" y="36"/>
                        <a:pt x="56" y="36"/>
                        <a:pt x="56" y="36"/>
                      </a:cubicBezTo>
                      <a:cubicBezTo>
                        <a:pt x="56" y="52"/>
                        <a:pt x="44" y="65"/>
                        <a:pt x="28" y="65"/>
                      </a:cubicBezTo>
                      <a:close/>
                      <a:moveTo>
                        <a:pt x="28" y="462"/>
                      </a:moveTo>
                      <a:cubicBezTo>
                        <a:pt x="28" y="462"/>
                        <a:pt x="28" y="462"/>
                        <a:pt x="28" y="462"/>
                      </a:cubicBezTo>
                      <a:cubicBezTo>
                        <a:pt x="12" y="462"/>
                        <a:pt x="0" y="449"/>
                        <a:pt x="0" y="434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141"/>
                        <a:pt x="12" y="128"/>
                        <a:pt x="28" y="128"/>
                      </a:cubicBezTo>
                      <a:cubicBezTo>
                        <a:pt x="28" y="128"/>
                        <a:pt x="28" y="128"/>
                        <a:pt x="28" y="128"/>
                      </a:cubicBezTo>
                      <a:cubicBezTo>
                        <a:pt x="44" y="128"/>
                        <a:pt x="56" y="141"/>
                        <a:pt x="56" y="156"/>
                      </a:cubicBezTo>
                      <a:cubicBezTo>
                        <a:pt x="56" y="434"/>
                        <a:pt x="56" y="434"/>
                        <a:pt x="56" y="434"/>
                      </a:cubicBezTo>
                      <a:cubicBezTo>
                        <a:pt x="56" y="449"/>
                        <a:pt x="44" y="462"/>
                        <a:pt x="28" y="462"/>
                      </a:cubicBez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6" name="Freeform 22">
                  <a:extLst>
                    <a:ext uri="{FF2B5EF4-FFF2-40B4-BE49-F238E27FC236}">
                      <a16:creationId xmlns:a16="http://schemas.microsoft.com/office/drawing/2014/main" id="{5A65B7E9-52C5-4363-8360-C6CE4159BA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35222" y="1286121"/>
                  <a:ext cx="36647" cy="299742"/>
                </a:xfrm>
                <a:custGeom>
                  <a:avLst/>
                  <a:gdLst>
                    <a:gd name="T0" fmla="*/ 29 w 57"/>
                    <a:gd name="T1" fmla="*/ 65 h 462"/>
                    <a:gd name="T2" fmla="*/ 29 w 57"/>
                    <a:gd name="T3" fmla="*/ 65 h 462"/>
                    <a:gd name="T4" fmla="*/ 0 w 57"/>
                    <a:gd name="T5" fmla="*/ 36 h 462"/>
                    <a:gd name="T6" fmla="*/ 0 w 57"/>
                    <a:gd name="T7" fmla="*/ 29 h 462"/>
                    <a:gd name="T8" fmla="*/ 29 w 57"/>
                    <a:gd name="T9" fmla="*/ 0 h 462"/>
                    <a:gd name="T10" fmla="*/ 29 w 57"/>
                    <a:gd name="T11" fmla="*/ 0 h 462"/>
                    <a:gd name="T12" fmla="*/ 57 w 57"/>
                    <a:gd name="T13" fmla="*/ 29 h 462"/>
                    <a:gd name="T14" fmla="*/ 57 w 57"/>
                    <a:gd name="T15" fmla="*/ 36 h 462"/>
                    <a:gd name="T16" fmla="*/ 29 w 57"/>
                    <a:gd name="T17" fmla="*/ 65 h 462"/>
                    <a:gd name="T18" fmla="*/ 29 w 57"/>
                    <a:gd name="T19" fmla="*/ 462 h 462"/>
                    <a:gd name="T20" fmla="*/ 29 w 57"/>
                    <a:gd name="T21" fmla="*/ 462 h 462"/>
                    <a:gd name="T22" fmla="*/ 0 w 57"/>
                    <a:gd name="T23" fmla="*/ 434 h 462"/>
                    <a:gd name="T24" fmla="*/ 0 w 57"/>
                    <a:gd name="T25" fmla="*/ 156 h 462"/>
                    <a:gd name="T26" fmla="*/ 29 w 57"/>
                    <a:gd name="T27" fmla="*/ 128 h 462"/>
                    <a:gd name="T28" fmla="*/ 29 w 57"/>
                    <a:gd name="T29" fmla="*/ 128 h 462"/>
                    <a:gd name="T30" fmla="*/ 57 w 57"/>
                    <a:gd name="T31" fmla="*/ 156 h 462"/>
                    <a:gd name="T32" fmla="*/ 57 w 57"/>
                    <a:gd name="T33" fmla="*/ 434 h 462"/>
                    <a:gd name="T34" fmla="*/ 29 w 57"/>
                    <a:gd name="T35" fmla="*/ 462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7" h="462">
                      <a:moveTo>
                        <a:pt x="29" y="65"/>
                      </a:moveTo>
                      <a:cubicBezTo>
                        <a:pt x="29" y="65"/>
                        <a:pt x="29" y="65"/>
                        <a:pt x="29" y="65"/>
                      </a:cubicBezTo>
                      <a:cubicBezTo>
                        <a:pt x="13" y="65"/>
                        <a:pt x="0" y="52"/>
                        <a:pt x="0" y="3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44" y="0"/>
                        <a:pt x="57" y="13"/>
                        <a:pt x="57" y="29"/>
                      </a:cubicBezTo>
                      <a:cubicBezTo>
                        <a:pt x="57" y="36"/>
                        <a:pt x="57" y="36"/>
                        <a:pt x="57" y="36"/>
                      </a:cubicBezTo>
                      <a:cubicBezTo>
                        <a:pt x="57" y="52"/>
                        <a:pt x="44" y="65"/>
                        <a:pt x="29" y="65"/>
                      </a:cubicBezTo>
                      <a:close/>
                      <a:moveTo>
                        <a:pt x="29" y="462"/>
                      </a:moveTo>
                      <a:cubicBezTo>
                        <a:pt x="29" y="462"/>
                        <a:pt x="29" y="462"/>
                        <a:pt x="29" y="462"/>
                      </a:cubicBezTo>
                      <a:cubicBezTo>
                        <a:pt x="13" y="462"/>
                        <a:pt x="0" y="449"/>
                        <a:pt x="0" y="434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141"/>
                        <a:pt x="13" y="128"/>
                        <a:pt x="29" y="128"/>
                      </a:cubicBezTo>
                      <a:cubicBezTo>
                        <a:pt x="29" y="128"/>
                        <a:pt x="29" y="128"/>
                        <a:pt x="29" y="128"/>
                      </a:cubicBezTo>
                      <a:cubicBezTo>
                        <a:pt x="44" y="128"/>
                        <a:pt x="57" y="141"/>
                        <a:pt x="57" y="156"/>
                      </a:cubicBezTo>
                      <a:cubicBezTo>
                        <a:pt x="57" y="434"/>
                        <a:pt x="57" y="434"/>
                        <a:pt x="57" y="434"/>
                      </a:cubicBezTo>
                      <a:cubicBezTo>
                        <a:pt x="57" y="449"/>
                        <a:pt x="44" y="462"/>
                        <a:pt x="29" y="462"/>
                      </a:cubicBez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7" name="Freeform 23">
                  <a:extLst>
                    <a:ext uri="{FF2B5EF4-FFF2-40B4-BE49-F238E27FC236}">
                      <a16:creationId xmlns:a16="http://schemas.microsoft.com/office/drawing/2014/main" id="{710DB078-6BB6-4DB4-B3EC-CAE9441C7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76451" y="1286121"/>
                  <a:ext cx="187338" cy="304938"/>
                </a:xfrm>
                <a:custGeom>
                  <a:avLst/>
                  <a:gdLst>
                    <a:gd name="T0" fmla="*/ 264 w 290"/>
                    <a:gd name="T1" fmla="*/ 462 h 470"/>
                    <a:gd name="T2" fmla="*/ 264 w 290"/>
                    <a:gd name="T3" fmla="*/ 462 h 470"/>
                    <a:gd name="T4" fmla="*/ 237 w 290"/>
                    <a:gd name="T5" fmla="*/ 436 h 470"/>
                    <a:gd name="T6" fmla="*/ 237 w 290"/>
                    <a:gd name="T7" fmla="*/ 420 h 470"/>
                    <a:gd name="T8" fmla="*/ 236 w 290"/>
                    <a:gd name="T9" fmla="*/ 420 h 470"/>
                    <a:gd name="T10" fmla="*/ 144 w 290"/>
                    <a:gd name="T11" fmla="*/ 470 h 470"/>
                    <a:gd name="T12" fmla="*/ 41 w 290"/>
                    <a:gd name="T13" fmla="*/ 421 h 470"/>
                    <a:gd name="T14" fmla="*/ 0 w 290"/>
                    <a:gd name="T15" fmla="*/ 295 h 470"/>
                    <a:gd name="T16" fmla="*/ 39 w 290"/>
                    <a:gd name="T17" fmla="*/ 167 h 470"/>
                    <a:gd name="T18" fmla="*/ 141 w 290"/>
                    <a:gd name="T19" fmla="*/ 120 h 470"/>
                    <a:gd name="T20" fmla="*/ 232 w 290"/>
                    <a:gd name="T21" fmla="*/ 166 h 470"/>
                    <a:gd name="T22" fmla="*/ 234 w 290"/>
                    <a:gd name="T23" fmla="*/ 166 h 470"/>
                    <a:gd name="T24" fmla="*/ 234 w 290"/>
                    <a:gd name="T25" fmla="*/ 27 h 470"/>
                    <a:gd name="T26" fmla="*/ 260 w 290"/>
                    <a:gd name="T27" fmla="*/ 0 h 470"/>
                    <a:gd name="T28" fmla="*/ 264 w 290"/>
                    <a:gd name="T29" fmla="*/ 0 h 470"/>
                    <a:gd name="T30" fmla="*/ 290 w 290"/>
                    <a:gd name="T31" fmla="*/ 27 h 470"/>
                    <a:gd name="T32" fmla="*/ 290 w 290"/>
                    <a:gd name="T33" fmla="*/ 436 h 470"/>
                    <a:gd name="T34" fmla="*/ 264 w 290"/>
                    <a:gd name="T35" fmla="*/ 462 h 470"/>
                    <a:gd name="T36" fmla="*/ 150 w 290"/>
                    <a:gd name="T37" fmla="*/ 423 h 470"/>
                    <a:gd name="T38" fmla="*/ 213 w 290"/>
                    <a:gd name="T39" fmla="*/ 393 h 470"/>
                    <a:gd name="T40" fmla="*/ 239 w 290"/>
                    <a:gd name="T41" fmla="*/ 300 h 470"/>
                    <a:gd name="T42" fmla="*/ 215 w 290"/>
                    <a:gd name="T43" fmla="*/ 203 h 470"/>
                    <a:gd name="T44" fmla="*/ 147 w 290"/>
                    <a:gd name="T45" fmla="*/ 167 h 470"/>
                    <a:gd name="T46" fmla="*/ 81 w 290"/>
                    <a:gd name="T47" fmla="*/ 202 h 470"/>
                    <a:gd name="T48" fmla="*/ 58 w 290"/>
                    <a:gd name="T49" fmla="*/ 295 h 470"/>
                    <a:gd name="T50" fmla="*/ 70 w 290"/>
                    <a:gd name="T51" fmla="*/ 366 h 470"/>
                    <a:gd name="T52" fmla="*/ 104 w 290"/>
                    <a:gd name="T53" fmla="*/ 409 h 470"/>
                    <a:gd name="T54" fmla="*/ 150 w 290"/>
                    <a:gd name="T55" fmla="*/ 423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90" h="470">
                      <a:moveTo>
                        <a:pt x="264" y="462"/>
                      </a:moveTo>
                      <a:cubicBezTo>
                        <a:pt x="264" y="462"/>
                        <a:pt x="264" y="462"/>
                        <a:pt x="264" y="462"/>
                      </a:cubicBezTo>
                      <a:cubicBezTo>
                        <a:pt x="249" y="462"/>
                        <a:pt x="237" y="450"/>
                        <a:pt x="237" y="436"/>
                      </a:cubicBezTo>
                      <a:cubicBezTo>
                        <a:pt x="237" y="420"/>
                        <a:pt x="237" y="420"/>
                        <a:pt x="237" y="420"/>
                      </a:cubicBezTo>
                      <a:cubicBezTo>
                        <a:pt x="236" y="420"/>
                        <a:pt x="236" y="420"/>
                        <a:pt x="236" y="420"/>
                      </a:cubicBezTo>
                      <a:cubicBezTo>
                        <a:pt x="216" y="453"/>
                        <a:pt x="185" y="470"/>
                        <a:pt x="144" y="470"/>
                      </a:cubicBezTo>
                      <a:cubicBezTo>
                        <a:pt x="103" y="470"/>
                        <a:pt x="69" y="454"/>
                        <a:pt x="41" y="421"/>
                      </a:cubicBezTo>
                      <a:cubicBezTo>
                        <a:pt x="14" y="389"/>
                        <a:pt x="0" y="347"/>
                        <a:pt x="0" y="295"/>
                      </a:cubicBezTo>
                      <a:cubicBezTo>
                        <a:pt x="0" y="241"/>
                        <a:pt x="13" y="199"/>
                        <a:pt x="39" y="167"/>
                      </a:cubicBezTo>
                      <a:cubicBezTo>
                        <a:pt x="65" y="136"/>
                        <a:pt x="99" y="120"/>
                        <a:pt x="141" y="120"/>
                      </a:cubicBezTo>
                      <a:cubicBezTo>
                        <a:pt x="181" y="120"/>
                        <a:pt x="212" y="136"/>
                        <a:pt x="232" y="166"/>
                      </a:cubicBezTo>
                      <a:cubicBezTo>
                        <a:pt x="234" y="166"/>
                        <a:pt x="234" y="166"/>
                        <a:pt x="234" y="166"/>
                      </a:cubicBezTo>
                      <a:cubicBezTo>
                        <a:pt x="234" y="27"/>
                        <a:pt x="234" y="27"/>
                        <a:pt x="234" y="27"/>
                      </a:cubicBezTo>
                      <a:cubicBezTo>
                        <a:pt x="234" y="12"/>
                        <a:pt x="245" y="0"/>
                        <a:pt x="260" y="0"/>
                      </a:cubicBezTo>
                      <a:cubicBezTo>
                        <a:pt x="264" y="0"/>
                        <a:pt x="264" y="0"/>
                        <a:pt x="264" y="0"/>
                      </a:cubicBezTo>
                      <a:cubicBezTo>
                        <a:pt x="278" y="0"/>
                        <a:pt x="290" y="12"/>
                        <a:pt x="290" y="27"/>
                      </a:cubicBezTo>
                      <a:cubicBezTo>
                        <a:pt x="290" y="436"/>
                        <a:pt x="290" y="436"/>
                        <a:pt x="290" y="436"/>
                      </a:cubicBezTo>
                      <a:cubicBezTo>
                        <a:pt x="290" y="450"/>
                        <a:pt x="278" y="462"/>
                        <a:pt x="264" y="462"/>
                      </a:cubicBezTo>
                      <a:close/>
                      <a:moveTo>
                        <a:pt x="150" y="423"/>
                      </a:moveTo>
                      <a:cubicBezTo>
                        <a:pt x="175" y="423"/>
                        <a:pt x="196" y="413"/>
                        <a:pt x="213" y="393"/>
                      </a:cubicBezTo>
                      <a:cubicBezTo>
                        <a:pt x="230" y="372"/>
                        <a:pt x="239" y="342"/>
                        <a:pt x="239" y="300"/>
                      </a:cubicBezTo>
                      <a:cubicBezTo>
                        <a:pt x="239" y="260"/>
                        <a:pt x="231" y="227"/>
                        <a:pt x="215" y="203"/>
                      </a:cubicBezTo>
                      <a:cubicBezTo>
                        <a:pt x="199" y="179"/>
                        <a:pt x="177" y="167"/>
                        <a:pt x="147" y="167"/>
                      </a:cubicBezTo>
                      <a:cubicBezTo>
                        <a:pt x="118" y="167"/>
                        <a:pt x="96" y="178"/>
                        <a:pt x="81" y="202"/>
                      </a:cubicBezTo>
                      <a:cubicBezTo>
                        <a:pt x="66" y="226"/>
                        <a:pt x="58" y="257"/>
                        <a:pt x="58" y="295"/>
                      </a:cubicBezTo>
                      <a:cubicBezTo>
                        <a:pt x="58" y="323"/>
                        <a:pt x="62" y="346"/>
                        <a:pt x="70" y="366"/>
                      </a:cubicBezTo>
                      <a:cubicBezTo>
                        <a:pt x="78" y="385"/>
                        <a:pt x="90" y="399"/>
                        <a:pt x="104" y="409"/>
                      </a:cubicBezTo>
                      <a:cubicBezTo>
                        <a:pt x="119" y="419"/>
                        <a:pt x="134" y="423"/>
                        <a:pt x="150" y="423"/>
                      </a:cubicBez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8" name="Freeform 24">
                  <a:extLst>
                    <a:ext uri="{FF2B5EF4-FFF2-40B4-BE49-F238E27FC236}">
                      <a16:creationId xmlns:a16="http://schemas.microsoft.com/office/drawing/2014/main" id="{292E7C86-4D7C-480A-978D-395168F718C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09735" y="1363791"/>
                  <a:ext cx="199371" cy="227268"/>
                </a:xfrm>
                <a:custGeom>
                  <a:avLst/>
                  <a:gdLst>
                    <a:gd name="T0" fmla="*/ 280 w 308"/>
                    <a:gd name="T1" fmla="*/ 189 h 350"/>
                    <a:gd name="T2" fmla="*/ 68 w 308"/>
                    <a:gd name="T3" fmla="*/ 189 h 350"/>
                    <a:gd name="T4" fmla="*/ 59 w 308"/>
                    <a:gd name="T5" fmla="*/ 200 h 350"/>
                    <a:gd name="T6" fmla="*/ 89 w 308"/>
                    <a:gd name="T7" fmla="*/ 274 h 350"/>
                    <a:gd name="T8" fmla="*/ 160 w 308"/>
                    <a:gd name="T9" fmla="*/ 303 h 350"/>
                    <a:gd name="T10" fmla="*/ 214 w 308"/>
                    <a:gd name="T11" fmla="*/ 286 h 350"/>
                    <a:gd name="T12" fmla="*/ 239 w 308"/>
                    <a:gd name="T13" fmla="*/ 255 h 350"/>
                    <a:gd name="T14" fmla="*/ 272 w 308"/>
                    <a:gd name="T15" fmla="*/ 237 h 350"/>
                    <a:gd name="T16" fmla="*/ 272 w 308"/>
                    <a:gd name="T17" fmla="*/ 237 h 350"/>
                    <a:gd name="T18" fmla="*/ 293 w 308"/>
                    <a:gd name="T19" fmla="*/ 277 h 350"/>
                    <a:gd name="T20" fmla="*/ 254 w 308"/>
                    <a:gd name="T21" fmla="*/ 322 h 350"/>
                    <a:gd name="T22" fmla="*/ 160 w 308"/>
                    <a:gd name="T23" fmla="*/ 350 h 350"/>
                    <a:gd name="T24" fmla="*/ 42 w 308"/>
                    <a:gd name="T25" fmla="*/ 304 h 350"/>
                    <a:gd name="T26" fmla="*/ 0 w 308"/>
                    <a:gd name="T27" fmla="*/ 178 h 350"/>
                    <a:gd name="T28" fmla="*/ 41 w 308"/>
                    <a:gd name="T29" fmla="*/ 50 h 350"/>
                    <a:gd name="T30" fmla="*/ 157 w 308"/>
                    <a:gd name="T31" fmla="*/ 0 h 350"/>
                    <a:gd name="T32" fmla="*/ 227 w 308"/>
                    <a:gd name="T33" fmla="*/ 16 h 350"/>
                    <a:gd name="T34" fmla="*/ 284 w 308"/>
                    <a:gd name="T35" fmla="*/ 71 h 350"/>
                    <a:gd name="T36" fmla="*/ 307 w 308"/>
                    <a:gd name="T37" fmla="*/ 161 h 350"/>
                    <a:gd name="T38" fmla="*/ 280 w 308"/>
                    <a:gd name="T39" fmla="*/ 189 h 350"/>
                    <a:gd name="T40" fmla="*/ 245 w 308"/>
                    <a:gd name="T41" fmla="*/ 143 h 350"/>
                    <a:gd name="T42" fmla="*/ 249 w 308"/>
                    <a:gd name="T43" fmla="*/ 137 h 350"/>
                    <a:gd name="T44" fmla="*/ 218 w 308"/>
                    <a:gd name="T45" fmla="*/ 69 h 350"/>
                    <a:gd name="T46" fmla="*/ 157 w 308"/>
                    <a:gd name="T47" fmla="*/ 47 h 350"/>
                    <a:gd name="T48" fmla="*/ 91 w 308"/>
                    <a:gd name="T49" fmla="*/ 73 h 350"/>
                    <a:gd name="T50" fmla="*/ 63 w 308"/>
                    <a:gd name="T51" fmla="*/ 127 h 350"/>
                    <a:gd name="T52" fmla="*/ 75 w 308"/>
                    <a:gd name="T53" fmla="*/ 143 h 350"/>
                    <a:gd name="T54" fmla="*/ 245 w 308"/>
                    <a:gd name="T55" fmla="*/ 143 h 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08" h="350">
                      <a:moveTo>
                        <a:pt x="280" y="189"/>
                      </a:moveTo>
                      <a:cubicBezTo>
                        <a:pt x="68" y="189"/>
                        <a:pt x="68" y="189"/>
                        <a:pt x="68" y="189"/>
                      </a:cubicBezTo>
                      <a:cubicBezTo>
                        <a:pt x="63" y="189"/>
                        <a:pt x="58" y="194"/>
                        <a:pt x="59" y="200"/>
                      </a:cubicBezTo>
                      <a:cubicBezTo>
                        <a:pt x="62" y="232"/>
                        <a:pt x="72" y="256"/>
                        <a:pt x="89" y="274"/>
                      </a:cubicBezTo>
                      <a:cubicBezTo>
                        <a:pt x="108" y="294"/>
                        <a:pt x="132" y="303"/>
                        <a:pt x="160" y="303"/>
                      </a:cubicBezTo>
                      <a:cubicBezTo>
                        <a:pt x="181" y="303"/>
                        <a:pt x="200" y="298"/>
                        <a:pt x="214" y="286"/>
                      </a:cubicBezTo>
                      <a:cubicBezTo>
                        <a:pt x="224" y="278"/>
                        <a:pt x="232" y="268"/>
                        <a:pt x="239" y="255"/>
                      </a:cubicBezTo>
                      <a:cubicBezTo>
                        <a:pt x="246" y="243"/>
                        <a:pt x="258" y="236"/>
                        <a:pt x="272" y="237"/>
                      </a:cubicBezTo>
                      <a:cubicBezTo>
                        <a:pt x="272" y="237"/>
                        <a:pt x="272" y="237"/>
                        <a:pt x="272" y="237"/>
                      </a:cubicBezTo>
                      <a:cubicBezTo>
                        <a:pt x="291" y="240"/>
                        <a:pt x="301" y="260"/>
                        <a:pt x="293" y="277"/>
                      </a:cubicBezTo>
                      <a:cubicBezTo>
                        <a:pt x="283" y="295"/>
                        <a:pt x="270" y="310"/>
                        <a:pt x="254" y="322"/>
                      </a:cubicBezTo>
                      <a:cubicBezTo>
                        <a:pt x="229" y="341"/>
                        <a:pt x="198" y="350"/>
                        <a:pt x="160" y="350"/>
                      </a:cubicBezTo>
                      <a:cubicBezTo>
                        <a:pt x="110" y="350"/>
                        <a:pt x="70" y="335"/>
                        <a:pt x="42" y="304"/>
                      </a:cubicBezTo>
                      <a:cubicBezTo>
                        <a:pt x="14" y="273"/>
                        <a:pt x="0" y="231"/>
                        <a:pt x="0" y="178"/>
                      </a:cubicBezTo>
                      <a:cubicBezTo>
                        <a:pt x="0" y="125"/>
                        <a:pt x="13" y="82"/>
                        <a:pt x="41" y="50"/>
                      </a:cubicBezTo>
                      <a:cubicBezTo>
                        <a:pt x="68" y="17"/>
                        <a:pt x="107" y="0"/>
                        <a:pt x="157" y="0"/>
                      </a:cubicBezTo>
                      <a:cubicBezTo>
                        <a:pt x="181" y="0"/>
                        <a:pt x="204" y="6"/>
                        <a:pt x="227" y="16"/>
                      </a:cubicBezTo>
                      <a:cubicBezTo>
                        <a:pt x="250" y="27"/>
                        <a:pt x="269" y="45"/>
                        <a:pt x="284" y="71"/>
                      </a:cubicBezTo>
                      <a:cubicBezTo>
                        <a:pt x="297" y="92"/>
                        <a:pt x="305" y="122"/>
                        <a:pt x="307" y="161"/>
                      </a:cubicBezTo>
                      <a:cubicBezTo>
                        <a:pt x="308" y="176"/>
                        <a:pt x="296" y="189"/>
                        <a:pt x="280" y="189"/>
                      </a:cubicBezTo>
                      <a:close/>
                      <a:moveTo>
                        <a:pt x="245" y="143"/>
                      </a:moveTo>
                      <a:cubicBezTo>
                        <a:pt x="247" y="143"/>
                        <a:pt x="250" y="140"/>
                        <a:pt x="249" y="137"/>
                      </a:cubicBezTo>
                      <a:cubicBezTo>
                        <a:pt x="246" y="106"/>
                        <a:pt x="236" y="83"/>
                        <a:pt x="218" y="69"/>
                      </a:cubicBezTo>
                      <a:cubicBezTo>
                        <a:pt x="199" y="54"/>
                        <a:pt x="179" y="47"/>
                        <a:pt x="157" y="47"/>
                      </a:cubicBezTo>
                      <a:cubicBezTo>
                        <a:pt x="130" y="47"/>
                        <a:pt x="108" y="56"/>
                        <a:pt x="91" y="73"/>
                      </a:cubicBezTo>
                      <a:cubicBezTo>
                        <a:pt x="77" y="88"/>
                        <a:pt x="68" y="106"/>
                        <a:pt x="63" y="127"/>
                      </a:cubicBezTo>
                      <a:cubicBezTo>
                        <a:pt x="62" y="135"/>
                        <a:pt x="67" y="143"/>
                        <a:pt x="75" y="143"/>
                      </a:cubicBezTo>
                      <a:lnTo>
                        <a:pt x="245" y="143"/>
                      </a:lnTo>
                      <a:close/>
                    </a:path>
                  </a:pathLst>
                </a:custGeom>
                <a:solidFill>
                  <a:srgbClr val="354A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E059AA63-C414-415D-861A-0D5163379D86}"/>
                </a:ext>
              </a:extLst>
            </p:cNvPr>
            <p:cNvGrpSpPr/>
            <p:nvPr/>
          </p:nvGrpSpPr>
          <p:grpSpPr>
            <a:xfrm>
              <a:off x="593371" y="4405572"/>
              <a:ext cx="1115973" cy="369332"/>
              <a:chOff x="593371" y="4405572"/>
              <a:chExt cx="1115973" cy="369332"/>
            </a:xfrm>
          </p:grpSpPr>
          <p:sp>
            <p:nvSpPr>
              <p:cNvPr id="78" name="矩形 77">
                <a:extLst>
                  <a:ext uri="{FF2B5EF4-FFF2-40B4-BE49-F238E27FC236}">
                    <a16:creationId xmlns:a16="http://schemas.microsoft.com/office/drawing/2014/main" id="{DA384350-72D2-4CAB-8352-6EB0478CA00E}"/>
                  </a:ext>
                </a:extLst>
              </p:cNvPr>
              <p:cNvSpPr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solidFill>
                <a:srgbClr val="CC4B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文本框 78">
                <a:extLst>
                  <a:ext uri="{FF2B5EF4-FFF2-40B4-BE49-F238E27FC236}">
                    <a16:creationId xmlns:a16="http://schemas.microsoft.com/office/drawing/2014/main" id="{5054BB89-E75E-4AFC-A950-AD1507614E73}"/>
                  </a:ext>
                </a:extLst>
              </p:cNvPr>
              <p:cNvSpPr txBox="1"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</a:rPr>
                  <a:t>模板设计</a:t>
                </a:r>
              </a:p>
            </p:txBody>
          </p:sp>
        </p:grpSp>
        <p:grpSp>
          <p:nvGrpSpPr>
            <p:cNvPr id="80" name="组合 79">
              <a:extLst>
                <a:ext uri="{FF2B5EF4-FFF2-40B4-BE49-F238E27FC236}">
                  <a16:creationId xmlns:a16="http://schemas.microsoft.com/office/drawing/2014/main" id="{D45562B0-4DFA-42B2-8029-3FB8A801160A}"/>
                </a:ext>
              </a:extLst>
            </p:cNvPr>
            <p:cNvGrpSpPr/>
            <p:nvPr/>
          </p:nvGrpSpPr>
          <p:grpSpPr>
            <a:xfrm>
              <a:off x="593371" y="2085159"/>
              <a:ext cx="1115973" cy="369332"/>
              <a:chOff x="593371" y="4405572"/>
              <a:chExt cx="1115973" cy="369332"/>
            </a:xfrm>
          </p:grpSpPr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7002413D-746B-418D-893B-AD3D07D82A9B}"/>
                  </a:ext>
                </a:extLst>
              </p:cNvPr>
              <p:cNvSpPr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solidFill>
                <a:srgbClr val="CC4B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文本框 81">
                <a:extLst>
                  <a:ext uri="{FF2B5EF4-FFF2-40B4-BE49-F238E27FC236}">
                    <a16:creationId xmlns:a16="http://schemas.microsoft.com/office/drawing/2014/main" id="{1B15E6F5-DDEF-4C5F-B54A-0A02DC28E844}"/>
                  </a:ext>
                </a:extLst>
              </p:cNvPr>
              <p:cNvSpPr txBox="1"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</a:rPr>
                  <a:t>发布平台</a:t>
                </a:r>
              </a:p>
            </p:txBody>
          </p:sp>
        </p:grpSp>
        <p:cxnSp>
          <p:nvCxnSpPr>
            <p:cNvPr id="83" name="直接连接符 82">
              <a:extLst>
                <a:ext uri="{FF2B5EF4-FFF2-40B4-BE49-F238E27FC236}">
                  <a16:creationId xmlns:a16="http://schemas.microsoft.com/office/drawing/2014/main" id="{DD3AE821-5010-4AEC-B2D1-5A27C5A411C4}"/>
                </a:ext>
              </a:extLst>
            </p:cNvPr>
            <p:cNvCxnSpPr/>
            <p:nvPr/>
          </p:nvCxnSpPr>
          <p:spPr>
            <a:xfrm>
              <a:off x="6125497" y="2085159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84" name="组合 83">
              <a:extLst>
                <a:ext uri="{FF2B5EF4-FFF2-40B4-BE49-F238E27FC236}">
                  <a16:creationId xmlns:a16="http://schemas.microsoft.com/office/drawing/2014/main" id="{58377A2B-21F4-457A-9AFB-9E0B731CBEEA}"/>
                </a:ext>
              </a:extLst>
            </p:cNvPr>
            <p:cNvGrpSpPr/>
            <p:nvPr/>
          </p:nvGrpSpPr>
          <p:grpSpPr>
            <a:xfrm>
              <a:off x="6384571" y="2085159"/>
              <a:ext cx="1115973" cy="369332"/>
              <a:chOff x="593371" y="4405572"/>
              <a:chExt cx="1115973" cy="369332"/>
            </a:xfrm>
          </p:grpSpPr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EF6AF204-ECCC-4FFA-BE74-9BD45809167A}"/>
                  </a:ext>
                </a:extLst>
              </p:cNvPr>
              <p:cNvSpPr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solidFill>
                <a:srgbClr val="CC4B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6" name="文本框 85">
                <a:extLst>
                  <a:ext uri="{FF2B5EF4-FFF2-40B4-BE49-F238E27FC236}">
                    <a16:creationId xmlns:a16="http://schemas.microsoft.com/office/drawing/2014/main" id="{E55159ED-10FD-4E6E-9009-B2F394A8DEA6}"/>
                  </a:ext>
                </a:extLst>
              </p:cNvPr>
              <p:cNvSpPr txBox="1"/>
              <p:nvPr/>
            </p:nvSpPr>
            <p:spPr>
              <a:xfrm>
                <a:off x="593371" y="4405572"/>
                <a:ext cx="111597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</a:rPr>
                  <a:t>素材来源</a:t>
                </a:r>
              </a:p>
            </p:txBody>
          </p:sp>
        </p:grpSp>
        <p:sp>
          <p:nvSpPr>
            <p:cNvPr id="87" name="矩形 211">
              <a:extLst>
                <a:ext uri="{FF2B5EF4-FFF2-40B4-BE49-F238E27FC236}">
                  <a16:creationId xmlns:a16="http://schemas.microsoft.com/office/drawing/2014/main" id="{5C2921A0-F046-4146-B204-6F3F8AD10388}"/>
                </a:ext>
              </a:extLst>
            </p:cNvPr>
            <p:cNvSpPr/>
            <p:nvPr/>
          </p:nvSpPr>
          <p:spPr>
            <a:xfrm>
              <a:off x="4419097" y="3442893"/>
              <a:ext cx="1404164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dist"/>
              <a:r>
                <a:rPr lang="zh-CN" altLang="en-US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关注官方微信公众号</a:t>
              </a:r>
              <a:endParaRPr lang="en-US" altLang="zh-CN" sz="10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pic>
          <p:nvPicPr>
            <p:cNvPr id="88" name="图片 87">
              <a:extLst>
                <a:ext uri="{FF2B5EF4-FFF2-40B4-BE49-F238E27FC236}">
                  <a16:creationId xmlns:a16="http://schemas.microsoft.com/office/drawing/2014/main" id="{804D75B7-5EC8-4954-BE2C-D2D965395E9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2603" y="2092209"/>
              <a:ext cx="1404166" cy="1404166"/>
            </a:xfrm>
            <a:prstGeom prst="rect">
              <a:avLst/>
            </a:prstGeom>
          </p:spPr>
        </p:pic>
        <p:pic>
          <p:nvPicPr>
            <p:cNvPr id="89" name="图片 88">
              <a:extLst>
                <a:ext uri="{FF2B5EF4-FFF2-40B4-BE49-F238E27FC236}">
                  <a16:creationId xmlns:a16="http://schemas.microsoft.com/office/drawing/2014/main" id="{804AF6A5-9BC5-4224-940F-21E4FD8F4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6058" y="2176041"/>
              <a:ext cx="1224343" cy="1224343"/>
            </a:xfrm>
            <a:prstGeom prst="rect">
              <a:avLst/>
            </a:prstGeom>
          </p:spPr>
        </p:pic>
        <p:sp>
          <p:nvSpPr>
            <p:cNvPr id="90" name="矩形 211">
              <a:extLst>
                <a:ext uri="{FF2B5EF4-FFF2-40B4-BE49-F238E27FC236}">
                  <a16:creationId xmlns:a16="http://schemas.microsoft.com/office/drawing/2014/main" id="{524FB23B-5F47-4EC6-880D-2269E860A9E0}"/>
                </a:ext>
              </a:extLst>
            </p:cNvPr>
            <p:cNvSpPr/>
            <p:nvPr/>
          </p:nvSpPr>
          <p:spPr>
            <a:xfrm>
              <a:off x="2586058" y="3442892"/>
              <a:ext cx="122434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dist"/>
              <a:r>
                <a:rPr lang="zh-CN" altLang="en-US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我在广工学个</a:t>
              </a:r>
              <a:r>
                <a:rPr lang="en-US" altLang="zh-CN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P</a:t>
              </a:r>
            </a:p>
          </p:txBody>
        </p:sp>
        <p:sp>
          <p:nvSpPr>
            <p:cNvPr id="91" name="矩形 211">
              <a:extLst>
                <a:ext uri="{FF2B5EF4-FFF2-40B4-BE49-F238E27FC236}">
                  <a16:creationId xmlns:a16="http://schemas.microsoft.com/office/drawing/2014/main" id="{2E092239-7FDB-4DFC-B755-ACA5069AC795}"/>
                </a:ext>
              </a:extLst>
            </p:cNvPr>
            <p:cNvSpPr/>
            <p:nvPr/>
          </p:nvSpPr>
          <p:spPr>
            <a:xfrm>
              <a:off x="9855413" y="3442892"/>
              <a:ext cx="110602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dist"/>
              <a:r>
                <a:rPr lang="zh-CN" altLang="en-US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广工摄影协会</a:t>
              </a:r>
              <a:endParaRPr lang="en-US" altLang="zh-CN" sz="10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pic>
          <p:nvPicPr>
            <p:cNvPr id="92" name="图片 91">
              <a:extLst>
                <a:ext uri="{FF2B5EF4-FFF2-40B4-BE49-F238E27FC236}">
                  <a16:creationId xmlns:a16="http://schemas.microsoft.com/office/drawing/2014/main" id="{218A35C4-3BA9-4334-A16B-63DE2D1B8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6427" y="2176041"/>
              <a:ext cx="1224000" cy="1224000"/>
            </a:xfrm>
            <a:prstGeom prst="rect">
              <a:avLst/>
            </a:prstGeom>
          </p:spPr>
        </p:pic>
        <p:sp>
          <p:nvSpPr>
            <p:cNvPr id="93" name="矩形 211">
              <a:extLst>
                <a:ext uri="{FF2B5EF4-FFF2-40B4-BE49-F238E27FC236}">
                  <a16:creationId xmlns:a16="http://schemas.microsoft.com/office/drawing/2014/main" id="{F793B93A-7A25-4C59-99EE-455148397CE5}"/>
                </a:ext>
              </a:extLst>
            </p:cNvPr>
            <p:cNvSpPr/>
            <p:nvPr/>
          </p:nvSpPr>
          <p:spPr>
            <a:xfrm>
              <a:off x="7890617" y="3442892"/>
              <a:ext cx="1338822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dist"/>
              <a:r>
                <a:rPr lang="zh-CN" altLang="en-US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学生新闻中心摄影部</a:t>
              </a:r>
              <a:endParaRPr lang="en-US" altLang="zh-CN" sz="1000" dirty="0">
                <a:solidFill>
                  <a:sysClr val="windowText" lastClr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pic>
          <p:nvPicPr>
            <p:cNvPr id="94" name="图片 93">
              <a:extLst>
                <a:ext uri="{FF2B5EF4-FFF2-40B4-BE49-F238E27FC236}">
                  <a16:creationId xmlns:a16="http://schemas.microsoft.com/office/drawing/2014/main" id="{9A420CF6-FA58-4C62-B8B6-D32FBEAE6198}"/>
                </a:ext>
              </a:extLst>
            </p:cNvPr>
            <p:cNvPicPr/>
            <p:nvPr/>
          </p:nvPicPr>
          <p:blipFill>
            <a:blip r:embed="rId11" cstate="print"/>
            <a:srcRect/>
            <a:stretch/>
          </p:blipFill>
          <p:spPr>
            <a:xfrm>
              <a:off x="7949126" y="2176041"/>
              <a:ext cx="1224000" cy="1224000"/>
            </a:xfrm>
            <a:prstGeom prst="rect">
              <a:avLst/>
            </a:prstGeom>
          </p:spPr>
        </p:pic>
        <p:sp>
          <p:nvSpPr>
            <p:cNvPr id="95" name="标题 1">
              <a:extLst>
                <a:ext uri="{FF2B5EF4-FFF2-40B4-BE49-F238E27FC236}">
                  <a16:creationId xmlns:a16="http://schemas.microsoft.com/office/drawing/2014/main" id="{D0732142-52DC-4721-98B0-0E055311BB5C}"/>
                </a:ext>
              </a:extLst>
            </p:cNvPr>
            <p:cNvSpPr txBox="1">
              <a:spLocks/>
            </p:cNvSpPr>
            <p:nvPr/>
          </p:nvSpPr>
          <p:spPr>
            <a:xfrm>
              <a:off x="498678" y="4046"/>
              <a:ext cx="2647645" cy="101335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377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dist" defTabSz="914332"/>
              <a:r>
                <a:rPr lang="zh-CN" altLang="en-US" sz="2800" b="1" dirty="0"/>
                <a:t>版权申明页</a:t>
              </a:r>
            </a:p>
          </p:txBody>
        </p:sp>
        <p:sp>
          <p:nvSpPr>
            <p:cNvPr id="96" name="직사각형 45">
              <a:extLst>
                <a:ext uri="{FF2B5EF4-FFF2-40B4-BE49-F238E27FC236}">
                  <a16:creationId xmlns:a16="http://schemas.microsoft.com/office/drawing/2014/main" id="{38A5FE38-8173-4FC2-AB13-9B1DC2A25898}"/>
                </a:ext>
              </a:extLst>
            </p:cNvPr>
            <p:cNvSpPr/>
            <p:nvPr/>
          </p:nvSpPr>
          <p:spPr>
            <a:xfrm>
              <a:off x="695325" y="1028700"/>
              <a:ext cx="10825163" cy="87675"/>
            </a:xfrm>
            <a:prstGeom prst="rect">
              <a:avLst/>
            </a:prstGeom>
            <a:solidFill>
              <a:srgbClr val="CC4B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/>
            </a:p>
          </p:txBody>
        </p:sp>
        <p:sp>
          <p:nvSpPr>
            <p:cNvPr id="97" name="직사각형 45">
              <a:extLst>
                <a:ext uri="{FF2B5EF4-FFF2-40B4-BE49-F238E27FC236}">
                  <a16:creationId xmlns:a16="http://schemas.microsoft.com/office/drawing/2014/main" id="{2B2DBBF1-94D5-4708-B6D4-6A12E8592CA0}"/>
                </a:ext>
              </a:extLst>
            </p:cNvPr>
            <p:cNvSpPr/>
            <p:nvPr/>
          </p:nvSpPr>
          <p:spPr>
            <a:xfrm>
              <a:off x="593371" y="1028700"/>
              <a:ext cx="10825163" cy="87675"/>
            </a:xfrm>
            <a:prstGeom prst="rect">
              <a:avLst/>
            </a:prstGeom>
            <a:solidFill>
              <a:srgbClr val="CC4B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/>
            </a:p>
          </p:txBody>
        </p:sp>
        <p:sp>
          <p:nvSpPr>
            <p:cNvPr id="98" name="文本框 97">
              <a:extLst>
                <a:ext uri="{FF2B5EF4-FFF2-40B4-BE49-F238E27FC236}">
                  <a16:creationId xmlns:a16="http://schemas.microsoft.com/office/drawing/2014/main" id="{E7230ABB-A95A-45B8-8F32-3C143A28D529}"/>
                </a:ext>
              </a:extLst>
            </p:cNvPr>
            <p:cNvSpPr txBox="1"/>
            <p:nvPr/>
          </p:nvSpPr>
          <p:spPr>
            <a:xfrm>
              <a:off x="7176304" y="724779"/>
              <a:ext cx="45988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本模板仅作个人学习交流使用，请勿二次发布至互联网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1284" y="2419538"/>
            <a:ext cx="5013901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选题背景和研究意义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00" y="3314888"/>
            <a:ext cx="5013901" cy="1015623"/>
          </a:xfrm>
        </p:spPr>
        <p:txBody>
          <a:bodyPr/>
          <a:lstStyle/>
          <a:p>
            <a:r>
              <a:rPr lang="zh-CN" altLang="en-US"/>
              <a:t>本章节内容介绍文字</a:t>
            </a:r>
            <a:endParaRPr lang="en-US" altLang="zh-CN"/>
          </a:p>
          <a:p>
            <a:r>
              <a:rPr lang="en-US" altLang="zh-CN"/>
              <a:t>PPT</a:t>
            </a:r>
            <a:r>
              <a:rPr lang="zh-CN" altLang="en-US"/>
              <a:t>中的节标题可以帮助观众更有效的阅读和理解报告内容</a:t>
            </a:r>
            <a:endParaRPr lang="en-US" altLang="zh-CN"/>
          </a:p>
          <a:p>
            <a:r>
              <a:rPr lang="zh-CN" altLang="en-US"/>
              <a:t>您可以在幻灯片母版中对本页样式进行修改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500168" y="1918433"/>
            <a:ext cx="1803488" cy="80415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r>
              <a:rPr lang="zh-CN" altLang="en-US" sz="2800" b="1" dirty="0">
                <a:solidFill>
                  <a:schemeClr val="accent2"/>
                </a:solidFill>
              </a:rPr>
              <a:t>第一章</a:t>
            </a:r>
            <a:endParaRPr lang="en-US" altLang="zh-CN" sz="2800" b="1" dirty="0">
              <a:solidFill>
                <a:schemeClr val="accent2"/>
              </a:solidFill>
            </a:endParaRPr>
          </a:p>
          <a:p>
            <a:r>
              <a:rPr lang="en-US" altLang="zh-CN" sz="1100" b="1" dirty="0">
                <a:solidFill>
                  <a:schemeClr val="accent2"/>
                </a:solidFill>
              </a:rPr>
              <a:t>The fist chapter</a:t>
            </a:r>
            <a:endParaRPr lang="zh-CN" altLang="en-US" sz="1100" b="1" dirty="0">
              <a:solidFill>
                <a:schemeClr val="accent2"/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D359F57-F914-445A-B752-CBD4C3D34405}"/>
              </a:ext>
            </a:extLst>
          </p:cNvPr>
          <p:cNvCxnSpPr>
            <a:cxnSpLocks/>
          </p:cNvCxnSpPr>
          <p:nvPr/>
        </p:nvCxnSpPr>
        <p:spPr>
          <a:xfrm>
            <a:off x="6599209" y="2765585"/>
            <a:ext cx="4915976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A576D917-B5FE-4697-8A81-22B09D3F4165}"/>
              </a:ext>
            </a:extLst>
          </p:cNvPr>
          <p:cNvSpPr>
            <a:spLocks/>
          </p:cNvSpPr>
          <p:nvPr/>
        </p:nvSpPr>
        <p:spPr>
          <a:xfrm>
            <a:off x="0" y="0"/>
            <a:ext cx="6093767" cy="6858000"/>
          </a:xfrm>
          <a:prstGeom prst="rect">
            <a:avLst/>
          </a:prstGeom>
          <a:blipFill>
            <a:blip r:embed="rId2"/>
            <a:srcRect/>
            <a:stretch>
              <a:fillRect l="-20506" r="-205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ṧļïḋê">
            <a:extLst>
              <a:ext uri="{FF2B5EF4-FFF2-40B4-BE49-F238E27FC236}">
                <a16:creationId xmlns:a16="http://schemas.microsoft.com/office/drawing/2014/main" id="{742A6018-840A-47FD-80B0-2D92C6808D4E}"/>
              </a:ext>
            </a:extLst>
          </p:cNvPr>
          <p:cNvSpPr>
            <a:spLocks/>
          </p:cNvSpPr>
          <p:nvPr/>
        </p:nvSpPr>
        <p:spPr>
          <a:xfrm>
            <a:off x="1" y="0"/>
            <a:ext cx="6093767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6810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A1C16E-80C3-4743-9C85-AD3FE7469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15C524E-C3EB-4E4F-AC15-DCF7395FC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1DF58B-9682-4DBE-AE6D-9DCD48AB9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6" name="îśḷîḍè">
            <a:extLst>
              <a:ext uri="{FF2B5EF4-FFF2-40B4-BE49-F238E27FC236}">
                <a16:creationId xmlns:a16="http://schemas.microsoft.com/office/drawing/2014/main" id="{683D74B8-EC80-4381-9750-8A2AF281E887}"/>
              </a:ext>
            </a:extLst>
          </p:cNvPr>
          <p:cNvSpPr/>
          <p:nvPr/>
        </p:nvSpPr>
        <p:spPr bwMode="auto">
          <a:xfrm>
            <a:off x="1354225" y="1123952"/>
            <a:ext cx="6856775" cy="100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You can use the icon library in </a:t>
            </a:r>
            <a:r>
              <a:rPr lang="en-US" altLang="zh-CN" sz="1200" dirty="0" err="1"/>
              <a:t>iSlide</a:t>
            </a:r>
            <a:r>
              <a:rPr lang="en-US" altLang="zh-CN" sz="1200" dirty="0"/>
              <a:t>  (www.islide.cc) to filter and replace existing icon elements with one click.</a:t>
            </a:r>
          </a:p>
        </p:txBody>
      </p:sp>
      <p:sp>
        <p:nvSpPr>
          <p:cNvPr id="87" name="îṡļîḑè">
            <a:extLst>
              <a:ext uri="{FF2B5EF4-FFF2-40B4-BE49-F238E27FC236}">
                <a16:creationId xmlns:a16="http://schemas.microsoft.com/office/drawing/2014/main" id="{7F7708B6-81DB-46D4-B73E-4539B9438A78}"/>
              </a:ext>
            </a:extLst>
          </p:cNvPr>
          <p:cNvSpPr/>
          <p:nvPr/>
        </p:nvSpPr>
        <p:spPr>
          <a:xfrm>
            <a:off x="687400" y="1356183"/>
            <a:ext cx="535582" cy="535586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88" name="iṡļíde">
            <a:extLst>
              <a:ext uri="{FF2B5EF4-FFF2-40B4-BE49-F238E27FC236}">
                <a16:creationId xmlns:a16="http://schemas.microsoft.com/office/drawing/2014/main" id="{D5D14810-A4F9-42C1-BA2D-FAB52BEAA50C}"/>
              </a:ext>
            </a:extLst>
          </p:cNvPr>
          <p:cNvSpPr/>
          <p:nvPr/>
        </p:nvSpPr>
        <p:spPr bwMode="auto">
          <a:xfrm>
            <a:off x="818643" y="1490090"/>
            <a:ext cx="273095" cy="267770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24" name="íŝḻiḋè">
            <a:extLst>
              <a:ext uri="{FF2B5EF4-FFF2-40B4-BE49-F238E27FC236}">
                <a16:creationId xmlns:a16="http://schemas.microsoft.com/office/drawing/2014/main" id="{4FDCDF3D-24B3-42A4-B143-784A95F26FEC}"/>
              </a:ext>
            </a:extLst>
          </p:cNvPr>
          <p:cNvSpPr/>
          <p:nvPr/>
        </p:nvSpPr>
        <p:spPr bwMode="auto">
          <a:xfrm>
            <a:off x="10430169" y="2951523"/>
            <a:ext cx="1100970" cy="676951"/>
          </a:xfrm>
          <a:custGeom>
            <a:avLst/>
            <a:gdLst>
              <a:gd name="T0" fmla="*/ 350 w 350"/>
              <a:gd name="T1" fmla="*/ 8 h 215"/>
              <a:gd name="T2" fmla="*/ 116 w 350"/>
              <a:gd name="T3" fmla="*/ 154 h 215"/>
              <a:gd name="T4" fmla="*/ 0 w 350"/>
              <a:gd name="T5" fmla="*/ 215 h 215"/>
              <a:gd name="T6" fmla="*/ 350 w 350"/>
              <a:gd name="T7" fmla="*/ 215 h 215"/>
              <a:gd name="T8" fmla="*/ 350 w 350"/>
              <a:gd name="T9" fmla="*/ 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" h="215">
                <a:moveTo>
                  <a:pt x="350" y="8"/>
                </a:moveTo>
                <a:cubicBezTo>
                  <a:pt x="350" y="8"/>
                  <a:pt x="180" y="0"/>
                  <a:pt x="116" y="154"/>
                </a:cubicBezTo>
                <a:cubicBezTo>
                  <a:pt x="116" y="154"/>
                  <a:pt x="24" y="133"/>
                  <a:pt x="0" y="215"/>
                </a:cubicBezTo>
                <a:cubicBezTo>
                  <a:pt x="350" y="215"/>
                  <a:pt x="350" y="215"/>
                  <a:pt x="350" y="215"/>
                </a:cubicBezTo>
                <a:lnTo>
                  <a:pt x="350" y="8"/>
                </a:lnTo>
                <a:close/>
              </a:path>
            </a:pathLst>
          </a:custGeom>
          <a:solidFill>
            <a:schemeClr val="bg1">
              <a:lumMod val="85000"/>
              <a:alpha val="80000"/>
            </a:schemeClr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ís1iḓé">
            <a:extLst>
              <a:ext uri="{FF2B5EF4-FFF2-40B4-BE49-F238E27FC236}">
                <a16:creationId xmlns:a16="http://schemas.microsoft.com/office/drawing/2014/main" id="{F76E8623-9961-434A-B93D-9EB90DE4A230}"/>
              </a:ext>
            </a:extLst>
          </p:cNvPr>
          <p:cNvSpPr/>
          <p:nvPr/>
        </p:nvSpPr>
        <p:spPr bwMode="auto">
          <a:xfrm>
            <a:off x="8329895" y="2844348"/>
            <a:ext cx="1591943" cy="818291"/>
          </a:xfrm>
          <a:custGeom>
            <a:avLst/>
            <a:gdLst>
              <a:gd name="T0" fmla="*/ 506 w 506"/>
              <a:gd name="T1" fmla="*/ 208 h 261"/>
              <a:gd name="T2" fmla="*/ 476 w 506"/>
              <a:gd name="T3" fmla="*/ 160 h 261"/>
              <a:gd name="T4" fmla="*/ 476 w 506"/>
              <a:gd name="T5" fmla="*/ 154 h 261"/>
              <a:gd name="T6" fmla="*/ 410 w 506"/>
              <a:gd name="T7" fmla="*/ 88 h 261"/>
              <a:gd name="T8" fmla="*/ 370 w 506"/>
              <a:gd name="T9" fmla="*/ 103 h 261"/>
              <a:gd name="T10" fmla="*/ 318 w 506"/>
              <a:gd name="T11" fmla="*/ 60 h 261"/>
              <a:gd name="T12" fmla="*/ 223 w 506"/>
              <a:gd name="T13" fmla="*/ 0 h 261"/>
              <a:gd name="T14" fmla="*/ 119 w 506"/>
              <a:gd name="T15" fmla="*/ 95 h 261"/>
              <a:gd name="T16" fmla="*/ 87 w 506"/>
              <a:gd name="T17" fmla="*/ 88 h 261"/>
              <a:gd name="T18" fmla="*/ 0 w 506"/>
              <a:gd name="T19" fmla="*/ 175 h 261"/>
              <a:gd name="T20" fmla="*/ 87 w 506"/>
              <a:gd name="T21" fmla="*/ 261 h 261"/>
              <a:gd name="T22" fmla="*/ 453 w 506"/>
              <a:gd name="T23" fmla="*/ 261 h 261"/>
              <a:gd name="T24" fmla="*/ 453 w 506"/>
              <a:gd name="T25" fmla="*/ 261 h 261"/>
              <a:gd name="T26" fmla="*/ 506 w 506"/>
              <a:gd name="T27" fmla="*/ 208 h 261"/>
              <a:gd name="T28" fmla="*/ 348 w 506"/>
              <a:gd name="T29" fmla="*/ 175 h 261"/>
              <a:gd name="T30" fmla="*/ 345 w 506"/>
              <a:gd name="T31" fmla="*/ 175 h 261"/>
              <a:gd name="T32" fmla="*/ 347 w 506"/>
              <a:gd name="T33" fmla="*/ 173 h 261"/>
              <a:gd name="T34" fmla="*/ 348 w 506"/>
              <a:gd name="T35" fmla="*/ 175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6" h="261">
                <a:moveTo>
                  <a:pt x="506" y="208"/>
                </a:moveTo>
                <a:cubicBezTo>
                  <a:pt x="506" y="187"/>
                  <a:pt x="494" y="169"/>
                  <a:pt x="476" y="160"/>
                </a:cubicBezTo>
                <a:cubicBezTo>
                  <a:pt x="476" y="158"/>
                  <a:pt x="476" y="156"/>
                  <a:pt x="476" y="154"/>
                </a:cubicBezTo>
                <a:cubicBezTo>
                  <a:pt x="476" y="118"/>
                  <a:pt x="447" y="88"/>
                  <a:pt x="410" y="88"/>
                </a:cubicBezTo>
                <a:cubicBezTo>
                  <a:pt x="395" y="88"/>
                  <a:pt x="381" y="94"/>
                  <a:pt x="370" y="103"/>
                </a:cubicBezTo>
                <a:cubicBezTo>
                  <a:pt x="362" y="80"/>
                  <a:pt x="342" y="63"/>
                  <a:pt x="318" y="60"/>
                </a:cubicBezTo>
                <a:cubicBezTo>
                  <a:pt x="301" y="24"/>
                  <a:pt x="265" y="0"/>
                  <a:pt x="223" y="0"/>
                </a:cubicBezTo>
                <a:cubicBezTo>
                  <a:pt x="169" y="0"/>
                  <a:pt x="124" y="42"/>
                  <a:pt x="119" y="95"/>
                </a:cubicBezTo>
                <a:cubicBezTo>
                  <a:pt x="109" y="91"/>
                  <a:pt x="98" y="88"/>
                  <a:pt x="87" y="88"/>
                </a:cubicBezTo>
                <a:cubicBezTo>
                  <a:pt x="39" y="88"/>
                  <a:pt x="0" y="127"/>
                  <a:pt x="0" y="175"/>
                </a:cubicBezTo>
                <a:cubicBezTo>
                  <a:pt x="0" y="223"/>
                  <a:pt x="39" y="261"/>
                  <a:pt x="87" y="261"/>
                </a:cubicBezTo>
                <a:cubicBezTo>
                  <a:pt x="453" y="261"/>
                  <a:pt x="453" y="261"/>
                  <a:pt x="453" y="261"/>
                </a:cubicBezTo>
                <a:cubicBezTo>
                  <a:pt x="453" y="261"/>
                  <a:pt x="453" y="261"/>
                  <a:pt x="453" y="261"/>
                </a:cubicBezTo>
                <a:cubicBezTo>
                  <a:pt x="482" y="261"/>
                  <a:pt x="506" y="237"/>
                  <a:pt x="506" y="208"/>
                </a:cubicBezTo>
                <a:moveTo>
                  <a:pt x="348" y="175"/>
                </a:moveTo>
                <a:cubicBezTo>
                  <a:pt x="345" y="175"/>
                  <a:pt x="345" y="175"/>
                  <a:pt x="345" y="175"/>
                </a:cubicBezTo>
                <a:cubicBezTo>
                  <a:pt x="346" y="174"/>
                  <a:pt x="347" y="174"/>
                  <a:pt x="347" y="173"/>
                </a:cubicBezTo>
                <a:cubicBezTo>
                  <a:pt x="348" y="174"/>
                  <a:pt x="348" y="174"/>
                  <a:pt x="348" y="175"/>
                </a:cubicBez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6" name="îsļíḓè">
            <a:extLst>
              <a:ext uri="{FF2B5EF4-FFF2-40B4-BE49-F238E27FC236}">
                <a16:creationId xmlns:a16="http://schemas.microsoft.com/office/drawing/2014/main" id="{FC2881E6-901C-48E2-A599-281C36F74547}"/>
              </a:ext>
            </a:extLst>
          </p:cNvPr>
          <p:cNvSpPr/>
          <p:nvPr/>
        </p:nvSpPr>
        <p:spPr bwMode="auto">
          <a:xfrm>
            <a:off x="9706107" y="5349363"/>
            <a:ext cx="1234872" cy="709186"/>
          </a:xfrm>
          <a:custGeom>
            <a:avLst/>
            <a:gdLst>
              <a:gd name="T0" fmla="*/ 332 w 392"/>
              <a:gd name="T1" fmla="*/ 106 h 226"/>
              <a:gd name="T2" fmla="*/ 313 w 392"/>
              <a:gd name="T3" fmla="*/ 108 h 226"/>
              <a:gd name="T4" fmla="*/ 329 w 392"/>
              <a:gd name="T5" fmla="*/ 72 h 226"/>
              <a:gd name="T6" fmla="*/ 279 w 392"/>
              <a:gd name="T7" fmla="*/ 22 h 226"/>
              <a:gd name="T8" fmla="*/ 237 w 392"/>
              <a:gd name="T9" fmla="*/ 44 h 226"/>
              <a:gd name="T10" fmla="*/ 186 w 392"/>
              <a:gd name="T11" fmla="*/ 0 h 226"/>
              <a:gd name="T12" fmla="*/ 135 w 392"/>
              <a:gd name="T13" fmla="*/ 51 h 226"/>
              <a:gd name="T14" fmla="*/ 136 w 392"/>
              <a:gd name="T15" fmla="*/ 61 h 226"/>
              <a:gd name="T16" fmla="*/ 135 w 392"/>
              <a:gd name="T17" fmla="*/ 61 h 226"/>
              <a:gd name="T18" fmla="*/ 104 w 392"/>
              <a:gd name="T19" fmla="*/ 92 h 226"/>
              <a:gd name="T20" fmla="*/ 107 w 392"/>
              <a:gd name="T21" fmla="*/ 104 h 226"/>
              <a:gd name="T22" fmla="*/ 67 w 392"/>
              <a:gd name="T23" fmla="*/ 91 h 226"/>
              <a:gd name="T24" fmla="*/ 0 w 392"/>
              <a:gd name="T25" fmla="*/ 159 h 226"/>
              <a:gd name="T26" fmla="*/ 67 w 392"/>
              <a:gd name="T27" fmla="*/ 226 h 226"/>
              <a:gd name="T28" fmla="*/ 332 w 392"/>
              <a:gd name="T29" fmla="*/ 226 h 226"/>
              <a:gd name="T30" fmla="*/ 392 w 392"/>
              <a:gd name="T31" fmla="*/ 166 h 226"/>
              <a:gd name="T32" fmla="*/ 332 w 392"/>
              <a:gd name="T33" fmla="*/ 106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92" h="226">
                <a:moveTo>
                  <a:pt x="332" y="106"/>
                </a:moveTo>
                <a:cubicBezTo>
                  <a:pt x="325" y="106"/>
                  <a:pt x="319" y="107"/>
                  <a:pt x="313" y="108"/>
                </a:cubicBezTo>
                <a:cubicBezTo>
                  <a:pt x="323" y="99"/>
                  <a:pt x="329" y="86"/>
                  <a:pt x="329" y="72"/>
                </a:cubicBezTo>
                <a:cubicBezTo>
                  <a:pt x="329" y="45"/>
                  <a:pt x="306" y="22"/>
                  <a:pt x="279" y="22"/>
                </a:cubicBezTo>
                <a:cubicBezTo>
                  <a:pt x="261" y="22"/>
                  <a:pt x="246" y="31"/>
                  <a:pt x="237" y="44"/>
                </a:cubicBezTo>
                <a:cubicBezTo>
                  <a:pt x="234" y="19"/>
                  <a:pt x="212" y="0"/>
                  <a:pt x="186" y="0"/>
                </a:cubicBezTo>
                <a:cubicBezTo>
                  <a:pt x="158" y="0"/>
                  <a:pt x="135" y="23"/>
                  <a:pt x="135" y="51"/>
                </a:cubicBezTo>
                <a:cubicBezTo>
                  <a:pt x="135" y="55"/>
                  <a:pt x="135" y="58"/>
                  <a:pt x="136" y="61"/>
                </a:cubicBezTo>
                <a:cubicBezTo>
                  <a:pt x="135" y="61"/>
                  <a:pt x="135" y="61"/>
                  <a:pt x="135" y="61"/>
                </a:cubicBezTo>
                <a:cubicBezTo>
                  <a:pt x="118" y="61"/>
                  <a:pt x="104" y="75"/>
                  <a:pt x="104" y="92"/>
                </a:cubicBezTo>
                <a:cubicBezTo>
                  <a:pt x="104" y="96"/>
                  <a:pt x="105" y="100"/>
                  <a:pt x="107" y="104"/>
                </a:cubicBezTo>
                <a:cubicBezTo>
                  <a:pt x="96" y="96"/>
                  <a:pt x="82" y="91"/>
                  <a:pt x="67" y="91"/>
                </a:cubicBezTo>
                <a:cubicBezTo>
                  <a:pt x="30" y="91"/>
                  <a:pt x="0" y="121"/>
                  <a:pt x="0" y="159"/>
                </a:cubicBezTo>
                <a:cubicBezTo>
                  <a:pt x="0" y="196"/>
                  <a:pt x="30" y="226"/>
                  <a:pt x="67" y="226"/>
                </a:cubicBezTo>
                <a:cubicBezTo>
                  <a:pt x="332" y="226"/>
                  <a:pt x="332" y="226"/>
                  <a:pt x="332" y="226"/>
                </a:cubicBezTo>
                <a:cubicBezTo>
                  <a:pt x="365" y="226"/>
                  <a:pt x="392" y="199"/>
                  <a:pt x="392" y="166"/>
                </a:cubicBezTo>
                <a:cubicBezTo>
                  <a:pt x="392" y="133"/>
                  <a:pt x="365" y="106"/>
                  <a:pt x="332" y="106"/>
                </a:cubicBezTo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8" name="ïṥľíḋe">
            <a:extLst>
              <a:ext uri="{FF2B5EF4-FFF2-40B4-BE49-F238E27FC236}">
                <a16:creationId xmlns:a16="http://schemas.microsoft.com/office/drawing/2014/main" id="{D652BC55-86AB-466F-B52B-844C0FFFCEB5}"/>
              </a:ext>
            </a:extLst>
          </p:cNvPr>
          <p:cNvSpPr/>
          <p:nvPr/>
        </p:nvSpPr>
        <p:spPr bwMode="auto">
          <a:xfrm>
            <a:off x="9465581" y="2460549"/>
            <a:ext cx="533128" cy="614958"/>
          </a:xfrm>
          <a:custGeom>
            <a:avLst/>
            <a:gdLst>
              <a:gd name="T0" fmla="*/ 158 w 169"/>
              <a:gd name="T1" fmla="*/ 89 h 196"/>
              <a:gd name="T2" fmla="*/ 165 w 169"/>
              <a:gd name="T3" fmla="*/ 60 h 196"/>
              <a:gd name="T4" fmla="*/ 141 w 169"/>
              <a:gd name="T5" fmla="*/ 72 h 196"/>
              <a:gd name="T6" fmla="*/ 137 w 169"/>
              <a:gd name="T7" fmla="*/ 59 h 196"/>
              <a:gd name="T8" fmla="*/ 130 w 169"/>
              <a:gd name="T9" fmla="*/ 18 h 196"/>
              <a:gd name="T10" fmla="*/ 93 w 169"/>
              <a:gd name="T11" fmla="*/ 1 h 196"/>
              <a:gd name="T12" fmla="*/ 44 w 169"/>
              <a:gd name="T13" fmla="*/ 24 h 196"/>
              <a:gd name="T14" fmla="*/ 4 w 169"/>
              <a:gd name="T15" fmla="*/ 55 h 196"/>
              <a:gd name="T16" fmla="*/ 0 w 169"/>
              <a:gd name="T17" fmla="*/ 68 h 196"/>
              <a:gd name="T18" fmla="*/ 32 w 169"/>
              <a:gd name="T19" fmla="*/ 165 h 196"/>
              <a:gd name="T20" fmla="*/ 72 w 169"/>
              <a:gd name="T21" fmla="*/ 196 h 196"/>
              <a:gd name="T22" fmla="*/ 140 w 169"/>
              <a:gd name="T23" fmla="*/ 143 h 196"/>
              <a:gd name="T24" fmla="*/ 158 w 169"/>
              <a:gd name="T25" fmla="*/ 122 h 196"/>
              <a:gd name="T26" fmla="*/ 164 w 169"/>
              <a:gd name="T27" fmla="*/ 109 h 196"/>
              <a:gd name="T28" fmla="*/ 158 w 169"/>
              <a:gd name="T29" fmla="*/ 89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9" h="196">
                <a:moveTo>
                  <a:pt x="158" y="89"/>
                </a:moveTo>
                <a:cubicBezTo>
                  <a:pt x="158" y="89"/>
                  <a:pt x="169" y="75"/>
                  <a:pt x="165" y="60"/>
                </a:cubicBezTo>
                <a:cubicBezTo>
                  <a:pt x="161" y="44"/>
                  <a:pt x="141" y="49"/>
                  <a:pt x="141" y="72"/>
                </a:cubicBezTo>
                <a:cubicBezTo>
                  <a:pt x="137" y="59"/>
                  <a:pt x="137" y="59"/>
                  <a:pt x="137" y="59"/>
                </a:cubicBezTo>
                <a:cubicBezTo>
                  <a:pt x="130" y="18"/>
                  <a:pt x="130" y="18"/>
                  <a:pt x="130" y="18"/>
                </a:cubicBezTo>
                <a:cubicBezTo>
                  <a:pt x="130" y="18"/>
                  <a:pt x="97" y="2"/>
                  <a:pt x="93" y="1"/>
                </a:cubicBezTo>
                <a:cubicBezTo>
                  <a:pt x="89" y="0"/>
                  <a:pt x="48" y="21"/>
                  <a:pt x="44" y="24"/>
                </a:cubicBezTo>
                <a:cubicBezTo>
                  <a:pt x="39" y="28"/>
                  <a:pt x="5" y="53"/>
                  <a:pt x="4" y="55"/>
                </a:cubicBezTo>
                <a:cubicBezTo>
                  <a:pt x="3" y="56"/>
                  <a:pt x="0" y="68"/>
                  <a:pt x="0" y="68"/>
                </a:cubicBezTo>
                <a:cubicBezTo>
                  <a:pt x="0" y="68"/>
                  <a:pt x="25" y="133"/>
                  <a:pt x="32" y="165"/>
                </a:cubicBezTo>
                <a:cubicBezTo>
                  <a:pt x="32" y="165"/>
                  <a:pt x="60" y="193"/>
                  <a:pt x="72" y="196"/>
                </a:cubicBezTo>
                <a:cubicBezTo>
                  <a:pt x="72" y="196"/>
                  <a:pt x="139" y="143"/>
                  <a:pt x="140" y="143"/>
                </a:cubicBezTo>
                <a:cubicBezTo>
                  <a:pt x="141" y="143"/>
                  <a:pt x="158" y="122"/>
                  <a:pt x="158" y="122"/>
                </a:cubicBezTo>
                <a:cubicBezTo>
                  <a:pt x="164" y="109"/>
                  <a:pt x="164" y="109"/>
                  <a:pt x="164" y="109"/>
                </a:cubicBezTo>
                <a:lnTo>
                  <a:pt x="158" y="89"/>
                </a:lnTo>
                <a:close/>
              </a:path>
            </a:pathLst>
          </a:custGeom>
          <a:solidFill>
            <a:srgbClr val="EAAB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9" name="ïsḻïḑé">
            <a:extLst>
              <a:ext uri="{FF2B5EF4-FFF2-40B4-BE49-F238E27FC236}">
                <a16:creationId xmlns:a16="http://schemas.microsoft.com/office/drawing/2014/main" id="{3BC82AD4-74B6-4D57-B458-DFDBFE26C152}"/>
              </a:ext>
            </a:extLst>
          </p:cNvPr>
          <p:cNvSpPr/>
          <p:nvPr/>
        </p:nvSpPr>
        <p:spPr bwMode="auto">
          <a:xfrm>
            <a:off x="9324241" y="2339046"/>
            <a:ext cx="671989" cy="416584"/>
          </a:xfrm>
          <a:custGeom>
            <a:avLst/>
            <a:gdLst>
              <a:gd name="T0" fmla="*/ 205 w 213"/>
              <a:gd name="T1" fmla="*/ 90 h 132"/>
              <a:gd name="T2" fmla="*/ 187 w 213"/>
              <a:gd name="T3" fmla="*/ 127 h 132"/>
              <a:gd name="T4" fmla="*/ 174 w 213"/>
              <a:gd name="T5" fmla="*/ 119 h 132"/>
              <a:gd name="T6" fmla="*/ 167 w 213"/>
              <a:gd name="T7" fmla="*/ 70 h 132"/>
              <a:gd name="T8" fmla="*/ 147 w 213"/>
              <a:gd name="T9" fmla="*/ 55 h 132"/>
              <a:gd name="T10" fmla="*/ 87 w 213"/>
              <a:gd name="T11" fmla="*/ 111 h 132"/>
              <a:gd name="T12" fmla="*/ 0 w 213"/>
              <a:gd name="T13" fmla="*/ 78 h 132"/>
              <a:gd name="T14" fmla="*/ 28 w 213"/>
              <a:gd name="T15" fmla="*/ 91 h 132"/>
              <a:gd name="T16" fmla="*/ 32 w 213"/>
              <a:gd name="T17" fmla="*/ 18 h 132"/>
              <a:gd name="T18" fmla="*/ 45 w 213"/>
              <a:gd name="T19" fmla="*/ 53 h 132"/>
              <a:gd name="T20" fmla="*/ 108 w 213"/>
              <a:gd name="T21" fmla="*/ 12 h 132"/>
              <a:gd name="T22" fmla="*/ 204 w 213"/>
              <a:gd name="T23" fmla="*/ 49 h 132"/>
              <a:gd name="T24" fmla="*/ 205 w 213"/>
              <a:gd name="T25" fmla="*/ 90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3" h="132">
                <a:moveTo>
                  <a:pt x="205" y="90"/>
                </a:moveTo>
                <a:cubicBezTo>
                  <a:pt x="205" y="90"/>
                  <a:pt x="181" y="81"/>
                  <a:pt x="187" y="127"/>
                </a:cubicBezTo>
                <a:cubicBezTo>
                  <a:pt x="174" y="119"/>
                  <a:pt x="174" y="119"/>
                  <a:pt x="174" y="119"/>
                </a:cubicBezTo>
                <a:cubicBezTo>
                  <a:pt x="167" y="70"/>
                  <a:pt x="167" y="70"/>
                  <a:pt x="167" y="70"/>
                </a:cubicBezTo>
                <a:cubicBezTo>
                  <a:pt x="147" y="55"/>
                  <a:pt x="147" y="55"/>
                  <a:pt x="147" y="55"/>
                </a:cubicBezTo>
                <a:cubicBezTo>
                  <a:pt x="147" y="55"/>
                  <a:pt x="137" y="90"/>
                  <a:pt x="87" y="111"/>
                </a:cubicBezTo>
                <a:cubicBezTo>
                  <a:pt x="37" y="132"/>
                  <a:pt x="4" y="98"/>
                  <a:pt x="0" y="78"/>
                </a:cubicBezTo>
                <a:cubicBezTo>
                  <a:pt x="0" y="78"/>
                  <a:pt x="8" y="89"/>
                  <a:pt x="28" y="91"/>
                </a:cubicBezTo>
                <a:cubicBezTo>
                  <a:pt x="28" y="91"/>
                  <a:pt x="1" y="57"/>
                  <a:pt x="32" y="18"/>
                </a:cubicBezTo>
                <a:cubicBezTo>
                  <a:pt x="32" y="18"/>
                  <a:pt x="29" y="48"/>
                  <a:pt x="45" y="53"/>
                </a:cubicBezTo>
                <a:cubicBezTo>
                  <a:pt x="45" y="53"/>
                  <a:pt x="66" y="24"/>
                  <a:pt x="108" y="12"/>
                </a:cubicBezTo>
                <a:cubicBezTo>
                  <a:pt x="150" y="0"/>
                  <a:pt x="187" y="23"/>
                  <a:pt x="204" y="49"/>
                </a:cubicBezTo>
                <a:cubicBezTo>
                  <a:pt x="213" y="64"/>
                  <a:pt x="205" y="90"/>
                  <a:pt x="205" y="90"/>
                </a:cubicBezTo>
              </a:path>
            </a:pathLst>
          </a:custGeom>
          <a:solidFill>
            <a:srgbClr val="6039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0" name="iṩľîḍe">
            <a:extLst>
              <a:ext uri="{FF2B5EF4-FFF2-40B4-BE49-F238E27FC236}">
                <a16:creationId xmlns:a16="http://schemas.microsoft.com/office/drawing/2014/main" id="{5A8F1811-D086-4FE7-BCA4-057467B43208}"/>
              </a:ext>
            </a:extLst>
          </p:cNvPr>
          <p:cNvSpPr/>
          <p:nvPr/>
        </p:nvSpPr>
        <p:spPr bwMode="auto">
          <a:xfrm>
            <a:off x="9614360" y="2770507"/>
            <a:ext cx="76869" cy="114064"/>
          </a:xfrm>
          <a:custGeom>
            <a:avLst/>
            <a:gdLst>
              <a:gd name="T0" fmla="*/ 18 w 31"/>
              <a:gd name="T1" fmla="*/ 0 h 46"/>
              <a:gd name="T2" fmla="*/ 14 w 31"/>
              <a:gd name="T3" fmla="*/ 32 h 46"/>
              <a:gd name="T4" fmla="*/ 31 w 31"/>
              <a:gd name="T5" fmla="*/ 46 h 46"/>
              <a:gd name="T6" fmla="*/ 0 w 31"/>
              <a:gd name="T7" fmla="*/ 35 h 46"/>
              <a:gd name="T8" fmla="*/ 18 w 31"/>
              <a:gd name="T9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46">
                <a:moveTo>
                  <a:pt x="18" y="0"/>
                </a:moveTo>
                <a:lnTo>
                  <a:pt x="14" y="32"/>
                </a:lnTo>
                <a:lnTo>
                  <a:pt x="31" y="46"/>
                </a:lnTo>
                <a:lnTo>
                  <a:pt x="0" y="35"/>
                </a:lnTo>
                <a:lnTo>
                  <a:pt x="18" y="0"/>
                </a:lnTo>
                <a:close/>
              </a:path>
            </a:pathLst>
          </a:custGeom>
          <a:solidFill>
            <a:srgbClr val="D186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ïṥ1íḋè">
            <a:extLst>
              <a:ext uri="{FF2B5EF4-FFF2-40B4-BE49-F238E27FC236}">
                <a16:creationId xmlns:a16="http://schemas.microsoft.com/office/drawing/2014/main" id="{EC5FBDE5-06FD-468C-85D2-73C31206AAFE}"/>
              </a:ext>
            </a:extLst>
          </p:cNvPr>
          <p:cNvSpPr/>
          <p:nvPr/>
        </p:nvSpPr>
        <p:spPr bwMode="auto">
          <a:xfrm>
            <a:off x="9716026" y="2634127"/>
            <a:ext cx="52073" cy="86789"/>
          </a:xfrm>
          <a:custGeom>
            <a:avLst/>
            <a:gdLst>
              <a:gd name="T0" fmla="*/ 16 w 17"/>
              <a:gd name="T1" fmla="*/ 12 h 27"/>
              <a:gd name="T2" fmla="*/ 10 w 17"/>
              <a:gd name="T3" fmla="*/ 27 h 27"/>
              <a:gd name="T4" fmla="*/ 1 w 17"/>
              <a:gd name="T5" fmla="*/ 15 h 27"/>
              <a:gd name="T6" fmla="*/ 7 w 17"/>
              <a:gd name="T7" fmla="*/ 0 h 27"/>
              <a:gd name="T8" fmla="*/ 16 w 17"/>
              <a:gd name="T9" fmla="*/ 12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7">
                <a:moveTo>
                  <a:pt x="16" y="12"/>
                </a:moveTo>
                <a:cubicBezTo>
                  <a:pt x="17" y="20"/>
                  <a:pt x="15" y="26"/>
                  <a:pt x="10" y="27"/>
                </a:cubicBezTo>
                <a:cubicBezTo>
                  <a:pt x="6" y="27"/>
                  <a:pt x="2" y="22"/>
                  <a:pt x="1" y="15"/>
                </a:cubicBezTo>
                <a:cubicBezTo>
                  <a:pt x="0" y="7"/>
                  <a:pt x="2" y="1"/>
                  <a:pt x="7" y="0"/>
                </a:cubicBezTo>
                <a:cubicBezTo>
                  <a:pt x="11" y="0"/>
                  <a:pt x="15" y="5"/>
                  <a:pt x="16" y="12"/>
                </a:cubicBezTo>
              </a:path>
            </a:pathLst>
          </a:custGeom>
          <a:solidFill>
            <a:srgbClr val="6039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2" name="iṥļïďé">
            <a:extLst>
              <a:ext uri="{FF2B5EF4-FFF2-40B4-BE49-F238E27FC236}">
                <a16:creationId xmlns:a16="http://schemas.microsoft.com/office/drawing/2014/main" id="{40613B7D-8FB9-42C5-B265-C0E440235F00}"/>
              </a:ext>
            </a:extLst>
          </p:cNvPr>
          <p:cNvSpPr/>
          <p:nvPr/>
        </p:nvSpPr>
        <p:spPr bwMode="auto">
          <a:xfrm>
            <a:off x="9567247" y="2733312"/>
            <a:ext cx="47113" cy="74390"/>
          </a:xfrm>
          <a:custGeom>
            <a:avLst/>
            <a:gdLst>
              <a:gd name="T0" fmla="*/ 14 w 15"/>
              <a:gd name="T1" fmla="*/ 11 h 24"/>
              <a:gd name="T2" fmla="*/ 10 w 15"/>
              <a:gd name="T3" fmla="*/ 23 h 24"/>
              <a:gd name="T4" fmla="*/ 1 w 15"/>
              <a:gd name="T5" fmla="*/ 13 h 24"/>
              <a:gd name="T6" fmla="*/ 5 w 15"/>
              <a:gd name="T7" fmla="*/ 1 h 24"/>
              <a:gd name="T8" fmla="*/ 14 w 15"/>
              <a:gd name="T9" fmla="*/ 1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24">
                <a:moveTo>
                  <a:pt x="14" y="11"/>
                </a:moveTo>
                <a:cubicBezTo>
                  <a:pt x="15" y="17"/>
                  <a:pt x="14" y="23"/>
                  <a:pt x="10" y="23"/>
                </a:cubicBezTo>
                <a:cubicBezTo>
                  <a:pt x="6" y="24"/>
                  <a:pt x="2" y="20"/>
                  <a:pt x="1" y="13"/>
                </a:cubicBezTo>
                <a:cubicBezTo>
                  <a:pt x="0" y="7"/>
                  <a:pt x="2" y="1"/>
                  <a:pt x="5" y="1"/>
                </a:cubicBezTo>
                <a:cubicBezTo>
                  <a:pt x="9" y="0"/>
                  <a:pt x="13" y="4"/>
                  <a:pt x="14" y="11"/>
                </a:cubicBezTo>
              </a:path>
            </a:pathLst>
          </a:custGeom>
          <a:solidFill>
            <a:srgbClr val="6039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îŝļiḍè">
            <a:extLst>
              <a:ext uri="{FF2B5EF4-FFF2-40B4-BE49-F238E27FC236}">
                <a16:creationId xmlns:a16="http://schemas.microsoft.com/office/drawing/2014/main" id="{4BEDC33E-6591-4489-B325-B57D51B5D421}"/>
              </a:ext>
            </a:extLst>
          </p:cNvPr>
          <p:cNvSpPr/>
          <p:nvPr/>
        </p:nvSpPr>
        <p:spPr bwMode="auto">
          <a:xfrm>
            <a:off x="9649077" y="2810183"/>
            <a:ext cx="176057" cy="181016"/>
          </a:xfrm>
          <a:custGeom>
            <a:avLst/>
            <a:gdLst>
              <a:gd name="T0" fmla="*/ 56 w 56"/>
              <a:gd name="T1" fmla="*/ 0 h 57"/>
              <a:gd name="T2" fmla="*/ 0 w 56"/>
              <a:gd name="T3" fmla="*/ 44 h 57"/>
              <a:gd name="T4" fmla="*/ 33 w 56"/>
              <a:gd name="T5" fmla="*/ 52 h 57"/>
              <a:gd name="T6" fmla="*/ 56 w 56"/>
              <a:gd name="T7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" h="57">
                <a:moveTo>
                  <a:pt x="56" y="0"/>
                </a:move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18" y="57"/>
                  <a:pt x="33" y="52"/>
                </a:cubicBezTo>
                <a:cubicBezTo>
                  <a:pt x="48" y="46"/>
                  <a:pt x="56" y="0"/>
                  <a:pt x="56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îşľîḍe">
            <a:extLst>
              <a:ext uri="{FF2B5EF4-FFF2-40B4-BE49-F238E27FC236}">
                <a16:creationId xmlns:a16="http://schemas.microsoft.com/office/drawing/2014/main" id="{D959E042-2928-41C6-A3D3-1DC56BFEED67}"/>
              </a:ext>
            </a:extLst>
          </p:cNvPr>
          <p:cNvSpPr/>
          <p:nvPr/>
        </p:nvSpPr>
        <p:spPr bwMode="auto">
          <a:xfrm>
            <a:off x="9505255" y="2931686"/>
            <a:ext cx="379389" cy="872844"/>
          </a:xfrm>
          <a:custGeom>
            <a:avLst/>
            <a:gdLst>
              <a:gd name="T0" fmla="*/ 110 w 121"/>
              <a:gd name="T1" fmla="*/ 0 h 278"/>
              <a:gd name="T2" fmla="*/ 28 w 121"/>
              <a:gd name="T3" fmla="*/ 70 h 278"/>
              <a:gd name="T4" fmla="*/ 0 w 121"/>
              <a:gd name="T5" fmla="*/ 278 h 278"/>
              <a:gd name="T6" fmla="*/ 74 w 121"/>
              <a:gd name="T7" fmla="*/ 250 h 278"/>
              <a:gd name="T8" fmla="*/ 101 w 121"/>
              <a:gd name="T9" fmla="*/ 190 h 278"/>
              <a:gd name="T10" fmla="*/ 110 w 121"/>
              <a:gd name="T11" fmla="*/ 125 h 278"/>
              <a:gd name="T12" fmla="*/ 121 w 121"/>
              <a:gd name="T13" fmla="*/ 17 h 278"/>
              <a:gd name="T14" fmla="*/ 110 w 121"/>
              <a:gd name="T15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1" h="278">
                <a:moveTo>
                  <a:pt x="110" y="0"/>
                </a:moveTo>
                <a:cubicBezTo>
                  <a:pt x="28" y="70"/>
                  <a:pt x="28" y="70"/>
                  <a:pt x="28" y="70"/>
                </a:cubicBezTo>
                <a:cubicBezTo>
                  <a:pt x="0" y="278"/>
                  <a:pt x="0" y="278"/>
                  <a:pt x="0" y="278"/>
                </a:cubicBezTo>
                <a:cubicBezTo>
                  <a:pt x="0" y="278"/>
                  <a:pt x="73" y="250"/>
                  <a:pt x="74" y="250"/>
                </a:cubicBezTo>
                <a:cubicBezTo>
                  <a:pt x="75" y="250"/>
                  <a:pt x="99" y="199"/>
                  <a:pt x="101" y="190"/>
                </a:cubicBezTo>
                <a:cubicBezTo>
                  <a:pt x="103" y="180"/>
                  <a:pt x="109" y="133"/>
                  <a:pt x="110" y="125"/>
                </a:cubicBezTo>
                <a:cubicBezTo>
                  <a:pt x="112" y="118"/>
                  <a:pt x="121" y="17"/>
                  <a:pt x="121" y="17"/>
                </a:cubicBezTo>
                <a:lnTo>
                  <a:pt x="110" y="0"/>
                </a:lnTo>
                <a:close/>
              </a:path>
            </a:pathLst>
          </a:custGeom>
          <a:solidFill>
            <a:srgbClr val="D1DB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îśļîdè">
            <a:extLst>
              <a:ext uri="{FF2B5EF4-FFF2-40B4-BE49-F238E27FC236}">
                <a16:creationId xmlns:a16="http://schemas.microsoft.com/office/drawing/2014/main" id="{BA562B17-5F0E-4A10-9FB2-29F8927872B0}"/>
              </a:ext>
            </a:extLst>
          </p:cNvPr>
          <p:cNvSpPr/>
          <p:nvPr/>
        </p:nvSpPr>
        <p:spPr bwMode="auto">
          <a:xfrm>
            <a:off x="9651555" y="2991197"/>
            <a:ext cx="128942" cy="153739"/>
          </a:xfrm>
          <a:custGeom>
            <a:avLst/>
            <a:gdLst>
              <a:gd name="T0" fmla="*/ 0 w 52"/>
              <a:gd name="T1" fmla="*/ 44 h 62"/>
              <a:gd name="T2" fmla="*/ 5 w 52"/>
              <a:gd name="T3" fmla="*/ 62 h 62"/>
              <a:gd name="T4" fmla="*/ 41 w 52"/>
              <a:gd name="T5" fmla="*/ 36 h 62"/>
              <a:gd name="T6" fmla="*/ 52 w 52"/>
              <a:gd name="T7" fmla="*/ 0 h 62"/>
              <a:gd name="T8" fmla="*/ 0 w 52"/>
              <a:gd name="T9" fmla="*/ 44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" h="62">
                <a:moveTo>
                  <a:pt x="0" y="44"/>
                </a:moveTo>
                <a:lnTo>
                  <a:pt x="5" y="62"/>
                </a:lnTo>
                <a:lnTo>
                  <a:pt x="41" y="36"/>
                </a:lnTo>
                <a:lnTo>
                  <a:pt x="52" y="0"/>
                </a:lnTo>
                <a:lnTo>
                  <a:pt x="0" y="44"/>
                </a:lnTo>
                <a:close/>
              </a:path>
            </a:pathLst>
          </a:custGeom>
          <a:solidFill>
            <a:srgbClr val="EF4A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isḷíḍe">
            <a:extLst>
              <a:ext uri="{FF2B5EF4-FFF2-40B4-BE49-F238E27FC236}">
                <a16:creationId xmlns:a16="http://schemas.microsoft.com/office/drawing/2014/main" id="{5BAAE4E0-686C-40A3-9723-073C14EB53DE}"/>
              </a:ext>
            </a:extLst>
          </p:cNvPr>
          <p:cNvSpPr/>
          <p:nvPr/>
        </p:nvSpPr>
        <p:spPr bwMode="auto">
          <a:xfrm>
            <a:off x="9587084" y="3080467"/>
            <a:ext cx="200854" cy="637274"/>
          </a:xfrm>
          <a:custGeom>
            <a:avLst/>
            <a:gdLst>
              <a:gd name="T0" fmla="*/ 31 w 81"/>
              <a:gd name="T1" fmla="*/ 26 h 257"/>
              <a:gd name="T2" fmla="*/ 0 w 81"/>
              <a:gd name="T3" fmla="*/ 203 h 257"/>
              <a:gd name="T4" fmla="*/ 29 w 81"/>
              <a:gd name="T5" fmla="*/ 257 h 257"/>
              <a:gd name="T6" fmla="*/ 81 w 81"/>
              <a:gd name="T7" fmla="*/ 165 h 257"/>
              <a:gd name="T8" fmla="*/ 67 w 81"/>
              <a:gd name="T9" fmla="*/ 0 h 257"/>
              <a:gd name="T10" fmla="*/ 31 w 81"/>
              <a:gd name="T11" fmla="*/ 26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1" h="257">
                <a:moveTo>
                  <a:pt x="31" y="26"/>
                </a:moveTo>
                <a:lnTo>
                  <a:pt x="0" y="203"/>
                </a:lnTo>
                <a:lnTo>
                  <a:pt x="29" y="257"/>
                </a:lnTo>
                <a:lnTo>
                  <a:pt x="81" y="165"/>
                </a:lnTo>
                <a:lnTo>
                  <a:pt x="67" y="0"/>
                </a:lnTo>
                <a:lnTo>
                  <a:pt x="31" y="26"/>
                </a:lnTo>
                <a:close/>
              </a:path>
            </a:pathLst>
          </a:custGeom>
          <a:solidFill>
            <a:srgbClr val="EF4A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íṣliḋê">
            <a:extLst>
              <a:ext uri="{FF2B5EF4-FFF2-40B4-BE49-F238E27FC236}">
                <a16:creationId xmlns:a16="http://schemas.microsoft.com/office/drawing/2014/main" id="{ECDDDA15-67BD-4F82-927A-8C2C90653113}"/>
              </a:ext>
            </a:extLst>
          </p:cNvPr>
          <p:cNvSpPr/>
          <p:nvPr/>
        </p:nvSpPr>
        <p:spPr bwMode="auto">
          <a:xfrm>
            <a:off x="9450704" y="4890624"/>
            <a:ext cx="225648" cy="548007"/>
          </a:xfrm>
          <a:custGeom>
            <a:avLst/>
            <a:gdLst>
              <a:gd name="T0" fmla="*/ 5 w 72"/>
              <a:gd name="T1" fmla="*/ 58 h 175"/>
              <a:gd name="T2" fmla="*/ 0 w 72"/>
              <a:gd name="T3" fmla="*/ 158 h 175"/>
              <a:gd name="T4" fmla="*/ 28 w 72"/>
              <a:gd name="T5" fmla="*/ 167 h 175"/>
              <a:gd name="T6" fmla="*/ 72 w 72"/>
              <a:gd name="T7" fmla="*/ 52 h 175"/>
              <a:gd name="T8" fmla="*/ 39 w 72"/>
              <a:gd name="T9" fmla="*/ 12 h 175"/>
              <a:gd name="T10" fmla="*/ 19 w 72"/>
              <a:gd name="T11" fmla="*/ 19 h 175"/>
              <a:gd name="T12" fmla="*/ 5 w 72"/>
              <a:gd name="T13" fmla="*/ 58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175">
                <a:moveTo>
                  <a:pt x="5" y="58"/>
                </a:moveTo>
                <a:cubicBezTo>
                  <a:pt x="5" y="58"/>
                  <a:pt x="16" y="123"/>
                  <a:pt x="0" y="158"/>
                </a:cubicBezTo>
                <a:cubicBezTo>
                  <a:pt x="0" y="158"/>
                  <a:pt x="10" y="175"/>
                  <a:pt x="28" y="167"/>
                </a:cubicBezTo>
                <a:cubicBezTo>
                  <a:pt x="72" y="52"/>
                  <a:pt x="72" y="52"/>
                  <a:pt x="72" y="52"/>
                </a:cubicBezTo>
                <a:cubicBezTo>
                  <a:pt x="72" y="52"/>
                  <a:pt x="53" y="24"/>
                  <a:pt x="39" y="12"/>
                </a:cubicBezTo>
                <a:cubicBezTo>
                  <a:pt x="26" y="0"/>
                  <a:pt x="20" y="18"/>
                  <a:pt x="19" y="19"/>
                </a:cubicBezTo>
                <a:cubicBezTo>
                  <a:pt x="19" y="20"/>
                  <a:pt x="5" y="58"/>
                  <a:pt x="5" y="58"/>
                </a:cubicBezTo>
              </a:path>
            </a:pathLst>
          </a:custGeom>
          <a:solidFill>
            <a:srgbClr val="1934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îš1íḋê">
            <a:extLst>
              <a:ext uri="{FF2B5EF4-FFF2-40B4-BE49-F238E27FC236}">
                <a16:creationId xmlns:a16="http://schemas.microsoft.com/office/drawing/2014/main" id="{ADCA720B-5FF8-472D-AEBD-1AFF704E5053}"/>
              </a:ext>
            </a:extLst>
          </p:cNvPr>
          <p:cNvSpPr/>
          <p:nvPr/>
        </p:nvSpPr>
        <p:spPr bwMode="auto">
          <a:xfrm>
            <a:off x="9951594" y="5552695"/>
            <a:ext cx="247966" cy="456258"/>
          </a:xfrm>
          <a:custGeom>
            <a:avLst/>
            <a:gdLst>
              <a:gd name="T0" fmla="*/ 11 w 79"/>
              <a:gd name="T1" fmla="*/ 23 h 145"/>
              <a:gd name="T2" fmla="*/ 5 w 79"/>
              <a:gd name="T3" fmla="*/ 114 h 145"/>
              <a:gd name="T4" fmla="*/ 42 w 79"/>
              <a:gd name="T5" fmla="*/ 133 h 145"/>
              <a:gd name="T6" fmla="*/ 79 w 79"/>
              <a:gd name="T7" fmla="*/ 24 h 145"/>
              <a:gd name="T8" fmla="*/ 59 w 79"/>
              <a:gd name="T9" fmla="*/ 0 h 145"/>
              <a:gd name="T10" fmla="*/ 38 w 79"/>
              <a:gd name="T11" fmla="*/ 0 h 145"/>
              <a:gd name="T12" fmla="*/ 11 w 79"/>
              <a:gd name="T13" fmla="*/ 23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145">
                <a:moveTo>
                  <a:pt x="11" y="23"/>
                </a:moveTo>
                <a:cubicBezTo>
                  <a:pt x="11" y="23"/>
                  <a:pt x="11" y="91"/>
                  <a:pt x="5" y="114"/>
                </a:cubicBezTo>
                <a:cubicBezTo>
                  <a:pt x="0" y="138"/>
                  <a:pt x="32" y="145"/>
                  <a:pt x="42" y="133"/>
                </a:cubicBezTo>
                <a:cubicBezTo>
                  <a:pt x="53" y="120"/>
                  <a:pt x="79" y="24"/>
                  <a:pt x="79" y="24"/>
                </a:cubicBezTo>
                <a:cubicBezTo>
                  <a:pt x="59" y="0"/>
                  <a:pt x="59" y="0"/>
                  <a:pt x="59" y="0"/>
                </a:cubicBezTo>
                <a:cubicBezTo>
                  <a:pt x="38" y="0"/>
                  <a:pt x="38" y="0"/>
                  <a:pt x="38" y="0"/>
                </a:cubicBezTo>
                <a:lnTo>
                  <a:pt x="11" y="23"/>
                </a:lnTo>
                <a:close/>
              </a:path>
            </a:pathLst>
          </a:custGeom>
          <a:solidFill>
            <a:srgbClr val="1934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ïš1ïḓè">
            <a:extLst>
              <a:ext uri="{FF2B5EF4-FFF2-40B4-BE49-F238E27FC236}">
                <a16:creationId xmlns:a16="http://schemas.microsoft.com/office/drawing/2014/main" id="{42B0F304-9EA7-4CA4-A833-14CAE7EBC7A3}"/>
              </a:ext>
            </a:extLst>
          </p:cNvPr>
          <p:cNvSpPr/>
          <p:nvPr/>
        </p:nvSpPr>
        <p:spPr bwMode="auto">
          <a:xfrm>
            <a:off x="9108510" y="3715261"/>
            <a:ext cx="1029061" cy="1931662"/>
          </a:xfrm>
          <a:custGeom>
            <a:avLst/>
            <a:gdLst>
              <a:gd name="T0" fmla="*/ 165 w 327"/>
              <a:gd name="T1" fmla="*/ 97 h 615"/>
              <a:gd name="T2" fmla="*/ 58 w 327"/>
              <a:gd name="T3" fmla="*/ 242 h 615"/>
              <a:gd name="T4" fmla="*/ 148 w 327"/>
              <a:gd name="T5" fmla="*/ 386 h 615"/>
              <a:gd name="T6" fmla="*/ 114 w 327"/>
              <a:gd name="T7" fmla="*/ 432 h 615"/>
              <a:gd name="T8" fmla="*/ 0 w 327"/>
              <a:gd name="T9" fmla="*/ 290 h 615"/>
              <a:gd name="T10" fmla="*/ 41 w 327"/>
              <a:gd name="T11" fmla="*/ 202 h 615"/>
              <a:gd name="T12" fmla="*/ 70 w 327"/>
              <a:gd name="T13" fmla="*/ 134 h 615"/>
              <a:gd name="T14" fmla="*/ 126 w 327"/>
              <a:gd name="T15" fmla="*/ 28 h 615"/>
              <a:gd name="T16" fmla="*/ 200 w 327"/>
              <a:gd name="T17" fmla="*/ 0 h 615"/>
              <a:gd name="T18" fmla="*/ 216 w 327"/>
              <a:gd name="T19" fmla="*/ 10 h 615"/>
              <a:gd name="T20" fmla="*/ 216 w 327"/>
              <a:gd name="T21" fmla="*/ 80 h 615"/>
              <a:gd name="T22" fmla="*/ 234 w 327"/>
              <a:gd name="T23" fmla="*/ 172 h 615"/>
              <a:gd name="T24" fmla="*/ 313 w 327"/>
              <a:gd name="T25" fmla="*/ 471 h 615"/>
              <a:gd name="T26" fmla="*/ 327 w 327"/>
              <a:gd name="T27" fmla="*/ 585 h 615"/>
              <a:gd name="T28" fmla="*/ 279 w 327"/>
              <a:gd name="T29" fmla="*/ 608 h 615"/>
              <a:gd name="T30" fmla="*/ 165 w 327"/>
              <a:gd name="T31" fmla="*/ 97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27" h="615">
                <a:moveTo>
                  <a:pt x="165" y="97"/>
                </a:moveTo>
                <a:cubicBezTo>
                  <a:pt x="58" y="242"/>
                  <a:pt x="58" y="242"/>
                  <a:pt x="58" y="242"/>
                </a:cubicBezTo>
                <a:cubicBezTo>
                  <a:pt x="148" y="386"/>
                  <a:pt x="148" y="386"/>
                  <a:pt x="148" y="386"/>
                </a:cubicBezTo>
                <a:cubicBezTo>
                  <a:pt x="148" y="386"/>
                  <a:pt x="145" y="424"/>
                  <a:pt x="114" y="432"/>
                </a:cubicBezTo>
                <a:cubicBezTo>
                  <a:pt x="0" y="290"/>
                  <a:pt x="0" y="290"/>
                  <a:pt x="0" y="290"/>
                </a:cubicBezTo>
                <a:cubicBezTo>
                  <a:pt x="0" y="290"/>
                  <a:pt x="39" y="205"/>
                  <a:pt x="41" y="202"/>
                </a:cubicBezTo>
                <a:cubicBezTo>
                  <a:pt x="44" y="198"/>
                  <a:pt x="68" y="137"/>
                  <a:pt x="70" y="134"/>
                </a:cubicBezTo>
                <a:cubicBezTo>
                  <a:pt x="73" y="131"/>
                  <a:pt x="126" y="28"/>
                  <a:pt x="126" y="28"/>
                </a:cubicBezTo>
                <a:cubicBezTo>
                  <a:pt x="200" y="0"/>
                  <a:pt x="200" y="0"/>
                  <a:pt x="200" y="0"/>
                </a:cubicBezTo>
                <a:cubicBezTo>
                  <a:pt x="216" y="10"/>
                  <a:pt x="216" y="10"/>
                  <a:pt x="216" y="10"/>
                </a:cubicBezTo>
                <a:cubicBezTo>
                  <a:pt x="216" y="10"/>
                  <a:pt x="211" y="70"/>
                  <a:pt x="216" y="80"/>
                </a:cubicBezTo>
                <a:cubicBezTo>
                  <a:pt x="221" y="90"/>
                  <a:pt x="229" y="156"/>
                  <a:pt x="234" y="172"/>
                </a:cubicBezTo>
                <a:cubicBezTo>
                  <a:pt x="238" y="189"/>
                  <a:pt x="313" y="471"/>
                  <a:pt x="313" y="471"/>
                </a:cubicBezTo>
                <a:cubicBezTo>
                  <a:pt x="327" y="585"/>
                  <a:pt x="327" y="585"/>
                  <a:pt x="327" y="585"/>
                </a:cubicBezTo>
                <a:cubicBezTo>
                  <a:pt x="327" y="585"/>
                  <a:pt x="314" y="615"/>
                  <a:pt x="279" y="608"/>
                </a:cubicBezTo>
                <a:lnTo>
                  <a:pt x="165" y="97"/>
                </a:lnTo>
                <a:close/>
              </a:path>
            </a:pathLst>
          </a:custGeom>
          <a:solidFill>
            <a:srgbClr val="3F61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î$1ïḑê">
            <a:extLst>
              <a:ext uri="{FF2B5EF4-FFF2-40B4-BE49-F238E27FC236}">
                <a16:creationId xmlns:a16="http://schemas.microsoft.com/office/drawing/2014/main" id="{08EFFC58-C250-4B17-AD24-3C86CDD73BC6}"/>
              </a:ext>
            </a:extLst>
          </p:cNvPr>
          <p:cNvSpPr/>
          <p:nvPr/>
        </p:nvSpPr>
        <p:spPr bwMode="auto">
          <a:xfrm>
            <a:off x="8805990" y="3149898"/>
            <a:ext cx="786054" cy="1740726"/>
          </a:xfrm>
          <a:custGeom>
            <a:avLst/>
            <a:gdLst>
              <a:gd name="T0" fmla="*/ 250 w 250"/>
              <a:gd name="T1" fmla="*/ 23 h 554"/>
              <a:gd name="T2" fmla="*/ 250 w 250"/>
              <a:gd name="T3" fmla="*/ 0 h 554"/>
              <a:gd name="T4" fmla="*/ 218 w 250"/>
              <a:gd name="T5" fmla="*/ 27 h 554"/>
              <a:gd name="T6" fmla="*/ 143 w 250"/>
              <a:gd name="T7" fmla="*/ 149 h 554"/>
              <a:gd name="T8" fmla="*/ 58 w 250"/>
              <a:gd name="T9" fmla="*/ 102 h 554"/>
              <a:gd name="T10" fmla="*/ 45 w 250"/>
              <a:gd name="T11" fmla="*/ 88 h 554"/>
              <a:gd name="T12" fmla="*/ 0 w 250"/>
              <a:gd name="T13" fmla="*/ 186 h 554"/>
              <a:gd name="T14" fmla="*/ 29 w 250"/>
              <a:gd name="T15" fmla="*/ 176 h 554"/>
              <a:gd name="T16" fmla="*/ 157 w 250"/>
              <a:gd name="T17" fmla="*/ 221 h 554"/>
              <a:gd name="T18" fmla="*/ 223 w 250"/>
              <a:gd name="T19" fmla="*/ 136 h 554"/>
              <a:gd name="T20" fmla="*/ 40 w 250"/>
              <a:gd name="T21" fmla="*/ 449 h 554"/>
              <a:gd name="T22" fmla="*/ 39 w 250"/>
              <a:gd name="T23" fmla="*/ 453 h 554"/>
              <a:gd name="T24" fmla="*/ 99 w 250"/>
              <a:gd name="T25" fmla="*/ 554 h 554"/>
              <a:gd name="T26" fmla="*/ 202 w 250"/>
              <a:gd name="T27" fmla="*/ 271 h 554"/>
              <a:gd name="T28" fmla="*/ 250 w 250"/>
              <a:gd name="T29" fmla="*/ 23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50" h="554">
                <a:moveTo>
                  <a:pt x="250" y="23"/>
                </a:moveTo>
                <a:cubicBezTo>
                  <a:pt x="250" y="0"/>
                  <a:pt x="250" y="0"/>
                  <a:pt x="250" y="0"/>
                </a:cubicBezTo>
                <a:cubicBezTo>
                  <a:pt x="218" y="27"/>
                  <a:pt x="218" y="27"/>
                  <a:pt x="218" y="27"/>
                </a:cubicBezTo>
                <a:cubicBezTo>
                  <a:pt x="143" y="149"/>
                  <a:pt x="143" y="149"/>
                  <a:pt x="143" y="149"/>
                </a:cubicBezTo>
                <a:cubicBezTo>
                  <a:pt x="58" y="102"/>
                  <a:pt x="58" y="102"/>
                  <a:pt x="58" y="102"/>
                </a:cubicBezTo>
                <a:cubicBezTo>
                  <a:pt x="45" y="88"/>
                  <a:pt x="45" y="88"/>
                  <a:pt x="45" y="88"/>
                </a:cubicBezTo>
                <a:cubicBezTo>
                  <a:pt x="45" y="88"/>
                  <a:pt x="1" y="109"/>
                  <a:pt x="0" y="186"/>
                </a:cubicBezTo>
                <a:cubicBezTo>
                  <a:pt x="29" y="176"/>
                  <a:pt x="29" y="176"/>
                  <a:pt x="29" y="176"/>
                </a:cubicBezTo>
                <a:cubicBezTo>
                  <a:pt x="157" y="221"/>
                  <a:pt x="157" y="221"/>
                  <a:pt x="157" y="221"/>
                </a:cubicBezTo>
                <a:cubicBezTo>
                  <a:pt x="223" y="136"/>
                  <a:pt x="223" y="136"/>
                  <a:pt x="223" y="136"/>
                </a:cubicBezTo>
                <a:cubicBezTo>
                  <a:pt x="190" y="341"/>
                  <a:pt x="47" y="379"/>
                  <a:pt x="40" y="449"/>
                </a:cubicBezTo>
                <a:cubicBezTo>
                  <a:pt x="39" y="450"/>
                  <a:pt x="39" y="452"/>
                  <a:pt x="39" y="453"/>
                </a:cubicBezTo>
                <a:cubicBezTo>
                  <a:pt x="35" y="520"/>
                  <a:pt x="99" y="554"/>
                  <a:pt x="99" y="554"/>
                </a:cubicBezTo>
                <a:cubicBezTo>
                  <a:pt x="96" y="464"/>
                  <a:pt x="149" y="383"/>
                  <a:pt x="202" y="271"/>
                </a:cubicBezTo>
                <a:cubicBezTo>
                  <a:pt x="244" y="180"/>
                  <a:pt x="250" y="63"/>
                  <a:pt x="250" y="23"/>
                </a:cubicBezTo>
              </a:path>
            </a:pathLst>
          </a:custGeom>
          <a:solidFill>
            <a:srgbClr val="0329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ïṣľíḓê">
            <a:extLst>
              <a:ext uri="{FF2B5EF4-FFF2-40B4-BE49-F238E27FC236}">
                <a16:creationId xmlns:a16="http://schemas.microsoft.com/office/drawing/2014/main" id="{113A7D84-B75F-4E52-96C1-5AE65BE1F26D}"/>
              </a:ext>
            </a:extLst>
          </p:cNvPr>
          <p:cNvSpPr/>
          <p:nvPr/>
        </p:nvSpPr>
        <p:spPr bwMode="auto">
          <a:xfrm>
            <a:off x="9693710" y="1902625"/>
            <a:ext cx="686867" cy="3389706"/>
          </a:xfrm>
          <a:custGeom>
            <a:avLst/>
            <a:gdLst>
              <a:gd name="T0" fmla="*/ 94 w 218"/>
              <a:gd name="T1" fmla="*/ 677 h 1079"/>
              <a:gd name="T2" fmla="*/ 109 w 218"/>
              <a:gd name="T3" fmla="*/ 387 h 1079"/>
              <a:gd name="T4" fmla="*/ 184 w 218"/>
              <a:gd name="T5" fmla="*/ 232 h 1079"/>
              <a:gd name="T6" fmla="*/ 201 w 218"/>
              <a:gd name="T7" fmla="*/ 83 h 1079"/>
              <a:gd name="T8" fmla="*/ 217 w 218"/>
              <a:gd name="T9" fmla="*/ 70 h 1079"/>
              <a:gd name="T10" fmla="*/ 117 w 218"/>
              <a:gd name="T11" fmla="*/ 24 h 1079"/>
              <a:gd name="T12" fmla="*/ 117 w 218"/>
              <a:gd name="T13" fmla="*/ 46 h 1079"/>
              <a:gd name="T14" fmla="*/ 117 w 218"/>
              <a:gd name="T15" fmla="*/ 197 h 1079"/>
              <a:gd name="T16" fmla="*/ 81 w 218"/>
              <a:gd name="T17" fmla="*/ 300 h 1079"/>
              <a:gd name="T18" fmla="*/ 50 w 218"/>
              <a:gd name="T19" fmla="*/ 327 h 1079"/>
              <a:gd name="T20" fmla="*/ 37 w 218"/>
              <a:gd name="T21" fmla="*/ 377 h 1079"/>
              <a:gd name="T22" fmla="*/ 8 w 218"/>
              <a:gd name="T23" fmla="*/ 766 h 1079"/>
              <a:gd name="T24" fmla="*/ 42 w 218"/>
              <a:gd name="T25" fmla="*/ 1079 h 1079"/>
              <a:gd name="T26" fmla="*/ 217 w 218"/>
              <a:gd name="T27" fmla="*/ 956 h 1079"/>
              <a:gd name="T28" fmla="*/ 94 w 218"/>
              <a:gd name="T29" fmla="*/ 677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18" h="1079">
                <a:moveTo>
                  <a:pt x="94" y="677"/>
                </a:moveTo>
                <a:cubicBezTo>
                  <a:pt x="72" y="580"/>
                  <a:pt x="109" y="387"/>
                  <a:pt x="109" y="387"/>
                </a:cubicBezTo>
                <a:cubicBezTo>
                  <a:pt x="117" y="356"/>
                  <a:pt x="177" y="259"/>
                  <a:pt x="184" y="232"/>
                </a:cubicBezTo>
                <a:cubicBezTo>
                  <a:pt x="192" y="205"/>
                  <a:pt x="201" y="83"/>
                  <a:pt x="201" y="83"/>
                </a:cubicBezTo>
                <a:cubicBezTo>
                  <a:pt x="201" y="83"/>
                  <a:pt x="216" y="79"/>
                  <a:pt x="217" y="70"/>
                </a:cubicBezTo>
                <a:cubicBezTo>
                  <a:pt x="218" y="61"/>
                  <a:pt x="172" y="0"/>
                  <a:pt x="117" y="24"/>
                </a:cubicBezTo>
                <a:cubicBezTo>
                  <a:pt x="117" y="46"/>
                  <a:pt x="117" y="46"/>
                  <a:pt x="117" y="46"/>
                </a:cubicBezTo>
                <a:cubicBezTo>
                  <a:pt x="117" y="197"/>
                  <a:pt x="117" y="197"/>
                  <a:pt x="117" y="197"/>
                </a:cubicBezTo>
                <a:cubicBezTo>
                  <a:pt x="81" y="300"/>
                  <a:pt x="81" y="300"/>
                  <a:pt x="81" y="300"/>
                </a:cubicBezTo>
                <a:cubicBezTo>
                  <a:pt x="50" y="327"/>
                  <a:pt x="50" y="327"/>
                  <a:pt x="50" y="327"/>
                </a:cubicBezTo>
                <a:cubicBezTo>
                  <a:pt x="45" y="342"/>
                  <a:pt x="39" y="370"/>
                  <a:pt x="37" y="377"/>
                </a:cubicBezTo>
                <a:cubicBezTo>
                  <a:pt x="1" y="545"/>
                  <a:pt x="0" y="704"/>
                  <a:pt x="8" y="766"/>
                </a:cubicBezTo>
                <a:cubicBezTo>
                  <a:pt x="15" y="832"/>
                  <a:pt x="42" y="1079"/>
                  <a:pt x="42" y="1079"/>
                </a:cubicBezTo>
                <a:cubicBezTo>
                  <a:pt x="195" y="1060"/>
                  <a:pt x="217" y="956"/>
                  <a:pt x="217" y="956"/>
                </a:cubicBezTo>
                <a:cubicBezTo>
                  <a:pt x="217" y="956"/>
                  <a:pt x="117" y="775"/>
                  <a:pt x="94" y="677"/>
                </a:cubicBezTo>
              </a:path>
            </a:pathLst>
          </a:custGeom>
          <a:solidFill>
            <a:srgbClr val="0329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2" name="ïślíďê">
            <a:extLst>
              <a:ext uri="{FF2B5EF4-FFF2-40B4-BE49-F238E27FC236}">
                <a16:creationId xmlns:a16="http://schemas.microsoft.com/office/drawing/2014/main" id="{5C42560F-7143-41A8-A058-628935716AD6}"/>
              </a:ext>
            </a:extLst>
          </p:cNvPr>
          <p:cNvSpPr/>
          <p:nvPr/>
        </p:nvSpPr>
        <p:spPr bwMode="auto">
          <a:xfrm>
            <a:off x="8620016" y="3340832"/>
            <a:ext cx="307477" cy="282682"/>
          </a:xfrm>
          <a:custGeom>
            <a:avLst/>
            <a:gdLst>
              <a:gd name="T0" fmla="*/ 98 w 98"/>
              <a:gd name="T1" fmla="*/ 53 h 90"/>
              <a:gd name="T2" fmla="*/ 76 w 98"/>
              <a:gd name="T3" fmla="*/ 90 h 90"/>
              <a:gd name="T4" fmla="*/ 49 w 98"/>
              <a:gd name="T5" fmla="*/ 77 h 90"/>
              <a:gd name="T6" fmla="*/ 10 w 98"/>
              <a:gd name="T7" fmla="*/ 61 h 90"/>
              <a:gd name="T8" fmla="*/ 41 w 98"/>
              <a:gd name="T9" fmla="*/ 0 h 90"/>
              <a:gd name="T10" fmla="*/ 59 w 98"/>
              <a:gd name="T11" fmla="*/ 8 h 90"/>
              <a:gd name="T12" fmla="*/ 81 w 98"/>
              <a:gd name="T13" fmla="*/ 19 h 90"/>
              <a:gd name="T14" fmla="*/ 79 w 98"/>
              <a:gd name="T15" fmla="*/ 41 h 90"/>
              <a:gd name="T16" fmla="*/ 98 w 98"/>
              <a:gd name="T17" fmla="*/ 53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90">
                <a:moveTo>
                  <a:pt x="98" y="53"/>
                </a:moveTo>
                <a:cubicBezTo>
                  <a:pt x="98" y="53"/>
                  <a:pt x="95" y="73"/>
                  <a:pt x="76" y="90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23" y="77"/>
                  <a:pt x="10" y="61"/>
                </a:cubicBezTo>
                <a:cubicBezTo>
                  <a:pt x="10" y="61"/>
                  <a:pt x="0" y="17"/>
                  <a:pt x="41" y="0"/>
                </a:cubicBezTo>
                <a:cubicBezTo>
                  <a:pt x="41" y="0"/>
                  <a:pt x="50" y="2"/>
                  <a:pt x="59" y="8"/>
                </a:cubicBezTo>
                <a:cubicBezTo>
                  <a:pt x="59" y="8"/>
                  <a:pt x="75" y="5"/>
                  <a:pt x="81" y="19"/>
                </a:cubicBezTo>
                <a:cubicBezTo>
                  <a:pt x="88" y="33"/>
                  <a:pt x="79" y="41"/>
                  <a:pt x="79" y="41"/>
                </a:cubicBezTo>
                <a:lnTo>
                  <a:pt x="98" y="53"/>
                </a:lnTo>
                <a:close/>
              </a:path>
            </a:pathLst>
          </a:custGeom>
          <a:solidFill>
            <a:srgbClr val="EAAB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3" name="iṥḷîdé">
            <a:extLst>
              <a:ext uri="{FF2B5EF4-FFF2-40B4-BE49-F238E27FC236}">
                <a16:creationId xmlns:a16="http://schemas.microsoft.com/office/drawing/2014/main" id="{FC214F3A-97D9-43D2-BDD6-E95F554E6124}"/>
              </a:ext>
            </a:extLst>
          </p:cNvPr>
          <p:cNvSpPr/>
          <p:nvPr/>
        </p:nvSpPr>
        <p:spPr bwMode="auto">
          <a:xfrm>
            <a:off x="8726642" y="3363150"/>
            <a:ext cx="91747" cy="131423"/>
          </a:xfrm>
          <a:custGeom>
            <a:avLst/>
            <a:gdLst>
              <a:gd name="T0" fmla="*/ 25 w 29"/>
              <a:gd name="T1" fmla="*/ 1 h 42"/>
              <a:gd name="T2" fmla="*/ 5 w 29"/>
              <a:gd name="T3" fmla="*/ 32 h 42"/>
              <a:gd name="T4" fmla="*/ 20 w 29"/>
              <a:gd name="T5" fmla="*/ 37 h 42"/>
              <a:gd name="T6" fmla="*/ 29 w 29"/>
              <a:gd name="T7" fmla="*/ 24 h 42"/>
              <a:gd name="T8" fmla="*/ 19 w 29"/>
              <a:gd name="T9" fmla="*/ 42 h 42"/>
              <a:gd name="T10" fmla="*/ 0 w 29"/>
              <a:gd name="T11" fmla="*/ 33 h 42"/>
              <a:gd name="T12" fmla="*/ 22 w 29"/>
              <a:gd name="T13" fmla="*/ 0 h 42"/>
              <a:gd name="T14" fmla="*/ 25 w 29"/>
              <a:gd name="T15" fmla="*/ 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" h="42">
                <a:moveTo>
                  <a:pt x="25" y="1"/>
                </a:moveTo>
                <a:cubicBezTo>
                  <a:pt x="25" y="1"/>
                  <a:pt x="9" y="10"/>
                  <a:pt x="5" y="32"/>
                </a:cubicBezTo>
                <a:cubicBezTo>
                  <a:pt x="5" y="32"/>
                  <a:pt x="16" y="38"/>
                  <a:pt x="20" y="37"/>
                </a:cubicBezTo>
                <a:cubicBezTo>
                  <a:pt x="24" y="37"/>
                  <a:pt x="29" y="24"/>
                  <a:pt x="29" y="24"/>
                </a:cubicBezTo>
                <a:cubicBezTo>
                  <a:pt x="29" y="24"/>
                  <a:pt x="28" y="37"/>
                  <a:pt x="19" y="42"/>
                </a:cubicBezTo>
                <a:cubicBezTo>
                  <a:pt x="19" y="42"/>
                  <a:pt x="7" y="40"/>
                  <a:pt x="0" y="33"/>
                </a:cubicBezTo>
                <a:cubicBezTo>
                  <a:pt x="0" y="33"/>
                  <a:pt x="4" y="11"/>
                  <a:pt x="22" y="0"/>
                </a:cubicBezTo>
                <a:lnTo>
                  <a:pt x="25" y="1"/>
                </a:lnTo>
                <a:close/>
              </a:path>
            </a:pathLst>
          </a:custGeom>
          <a:solidFill>
            <a:srgbClr val="D186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ïś1îḓe">
            <a:extLst>
              <a:ext uri="{FF2B5EF4-FFF2-40B4-BE49-F238E27FC236}">
                <a16:creationId xmlns:a16="http://schemas.microsoft.com/office/drawing/2014/main" id="{79B0E8DC-ACF0-4660-892F-26A5ED3670F7}"/>
              </a:ext>
            </a:extLst>
          </p:cNvPr>
          <p:cNvSpPr/>
          <p:nvPr/>
        </p:nvSpPr>
        <p:spPr bwMode="auto">
          <a:xfrm>
            <a:off x="9021721" y="1736486"/>
            <a:ext cx="490973" cy="466178"/>
          </a:xfrm>
          <a:custGeom>
            <a:avLst/>
            <a:gdLst>
              <a:gd name="T0" fmla="*/ 61 w 156"/>
              <a:gd name="T1" fmla="*/ 45 h 148"/>
              <a:gd name="T2" fmla="*/ 0 w 156"/>
              <a:gd name="T3" fmla="*/ 81 h 148"/>
              <a:gd name="T4" fmla="*/ 37 w 156"/>
              <a:gd name="T5" fmla="*/ 133 h 148"/>
              <a:gd name="T6" fmla="*/ 112 w 156"/>
              <a:gd name="T7" fmla="*/ 117 h 148"/>
              <a:gd name="T8" fmla="*/ 152 w 156"/>
              <a:gd name="T9" fmla="*/ 52 h 148"/>
              <a:gd name="T10" fmla="*/ 115 w 156"/>
              <a:gd name="T11" fmla="*/ 0 h 148"/>
              <a:gd name="T12" fmla="*/ 61 w 156"/>
              <a:gd name="T13" fmla="*/ 4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6" h="148">
                <a:moveTo>
                  <a:pt x="61" y="45"/>
                </a:moveTo>
                <a:cubicBezTo>
                  <a:pt x="0" y="81"/>
                  <a:pt x="0" y="81"/>
                  <a:pt x="0" y="81"/>
                </a:cubicBezTo>
                <a:cubicBezTo>
                  <a:pt x="37" y="133"/>
                  <a:pt x="37" y="133"/>
                  <a:pt x="37" y="133"/>
                </a:cubicBezTo>
                <a:cubicBezTo>
                  <a:pt x="37" y="133"/>
                  <a:pt x="67" y="148"/>
                  <a:pt x="112" y="117"/>
                </a:cubicBezTo>
                <a:cubicBezTo>
                  <a:pt x="156" y="85"/>
                  <a:pt x="152" y="52"/>
                  <a:pt x="152" y="52"/>
                </a:cubicBezTo>
                <a:cubicBezTo>
                  <a:pt x="115" y="0"/>
                  <a:pt x="115" y="0"/>
                  <a:pt x="115" y="0"/>
                </a:cubicBezTo>
                <a:lnTo>
                  <a:pt x="61" y="45"/>
                </a:lnTo>
                <a:close/>
              </a:path>
            </a:pathLst>
          </a:custGeom>
          <a:solidFill>
            <a:srgbClr val="1934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5" name="íślíḓe">
            <a:extLst>
              <a:ext uri="{FF2B5EF4-FFF2-40B4-BE49-F238E27FC236}">
                <a16:creationId xmlns:a16="http://schemas.microsoft.com/office/drawing/2014/main" id="{221E1B27-B61F-49CA-BD44-11A8E26CADB1}"/>
              </a:ext>
            </a:extLst>
          </p:cNvPr>
          <p:cNvSpPr/>
          <p:nvPr/>
        </p:nvSpPr>
        <p:spPr bwMode="auto">
          <a:xfrm>
            <a:off x="8796073" y="1552991"/>
            <a:ext cx="746378" cy="523210"/>
          </a:xfrm>
          <a:custGeom>
            <a:avLst/>
            <a:gdLst>
              <a:gd name="T0" fmla="*/ 301 w 301"/>
              <a:gd name="T1" fmla="*/ 0 h 211"/>
              <a:gd name="T2" fmla="*/ 109 w 301"/>
              <a:gd name="T3" fmla="*/ 38 h 211"/>
              <a:gd name="T4" fmla="*/ 0 w 301"/>
              <a:gd name="T5" fmla="*/ 211 h 211"/>
              <a:gd name="T6" fmla="*/ 197 w 301"/>
              <a:gd name="T7" fmla="*/ 172 h 211"/>
              <a:gd name="T8" fmla="*/ 301 w 301"/>
              <a:gd name="T9" fmla="*/ 0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1" h="211">
                <a:moveTo>
                  <a:pt x="301" y="0"/>
                </a:moveTo>
                <a:lnTo>
                  <a:pt x="109" y="38"/>
                </a:lnTo>
                <a:lnTo>
                  <a:pt x="0" y="211"/>
                </a:lnTo>
                <a:lnTo>
                  <a:pt x="197" y="172"/>
                </a:lnTo>
                <a:lnTo>
                  <a:pt x="301" y="0"/>
                </a:lnTo>
                <a:close/>
              </a:path>
            </a:pathLst>
          </a:custGeom>
          <a:solidFill>
            <a:srgbClr val="3F61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6" name="iṡ1íḋé">
            <a:extLst>
              <a:ext uri="{FF2B5EF4-FFF2-40B4-BE49-F238E27FC236}">
                <a16:creationId xmlns:a16="http://schemas.microsoft.com/office/drawing/2014/main" id="{2BF11760-9DEA-4609-B692-AB6ADB61C8CA}"/>
              </a:ext>
            </a:extLst>
          </p:cNvPr>
          <p:cNvSpPr/>
          <p:nvPr/>
        </p:nvSpPr>
        <p:spPr bwMode="auto">
          <a:xfrm>
            <a:off x="9123387" y="1756323"/>
            <a:ext cx="94228" cy="74390"/>
          </a:xfrm>
          <a:custGeom>
            <a:avLst/>
            <a:gdLst>
              <a:gd name="T0" fmla="*/ 27 w 30"/>
              <a:gd name="T1" fmla="*/ 4 h 24"/>
              <a:gd name="T2" fmla="*/ 20 w 30"/>
              <a:gd name="T3" fmla="*/ 19 h 24"/>
              <a:gd name="T4" fmla="*/ 3 w 30"/>
              <a:gd name="T5" fmla="*/ 21 h 24"/>
              <a:gd name="T6" fmla="*/ 10 w 30"/>
              <a:gd name="T7" fmla="*/ 5 h 24"/>
              <a:gd name="T8" fmla="*/ 27 w 30"/>
              <a:gd name="T9" fmla="*/ 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24">
                <a:moveTo>
                  <a:pt x="27" y="4"/>
                </a:moveTo>
                <a:cubicBezTo>
                  <a:pt x="30" y="7"/>
                  <a:pt x="26" y="14"/>
                  <a:pt x="20" y="19"/>
                </a:cubicBezTo>
                <a:cubicBezTo>
                  <a:pt x="13" y="23"/>
                  <a:pt x="6" y="24"/>
                  <a:pt x="3" y="21"/>
                </a:cubicBezTo>
                <a:cubicBezTo>
                  <a:pt x="0" y="17"/>
                  <a:pt x="4" y="10"/>
                  <a:pt x="10" y="5"/>
                </a:cubicBezTo>
                <a:cubicBezTo>
                  <a:pt x="17" y="1"/>
                  <a:pt x="25" y="0"/>
                  <a:pt x="27" y="4"/>
                </a:cubicBezTo>
              </a:path>
            </a:pathLst>
          </a:custGeom>
          <a:solidFill>
            <a:srgbClr val="FFD3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7" name="íṡlíḑê">
            <a:extLst>
              <a:ext uri="{FF2B5EF4-FFF2-40B4-BE49-F238E27FC236}">
                <a16:creationId xmlns:a16="http://schemas.microsoft.com/office/drawing/2014/main" id="{BCD2974C-4D7D-4BB8-93DD-A4A3142177F2}"/>
              </a:ext>
            </a:extLst>
          </p:cNvPr>
          <p:cNvSpPr/>
          <p:nvPr/>
        </p:nvSpPr>
        <p:spPr bwMode="auto">
          <a:xfrm>
            <a:off x="9185379" y="1478600"/>
            <a:ext cx="347154" cy="322356"/>
          </a:xfrm>
          <a:custGeom>
            <a:avLst/>
            <a:gdLst>
              <a:gd name="T0" fmla="*/ 3 w 110"/>
              <a:gd name="T1" fmla="*/ 94 h 102"/>
              <a:gd name="T2" fmla="*/ 55 w 110"/>
              <a:gd name="T3" fmla="*/ 62 h 102"/>
              <a:gd name="T4" fmla="*/ 105 w 110"/>
              <a:gd name="T5" fmla="*/ 0 h 102"/>
              <a:gd name="T6" fmla="*/ 108 w 110"/>
              <a:gd name="T7" fmla="*/ 8 h 102"/>
              <a:gd name="T8" fmla="*/ 78 w 110"/>
              <a:gd name="T9" fmla="*/ 42 h 102"/>
              <a:gd name="T10" fmla="*/ 0 w 110"/>
              <a:gd name="T11" fmla="*/ 102 h 102"/>
              <a:gd name="T12" fmla="*/ 3 w 110"/>
              <a:gd name="T13" fmla="*/ 94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0" h="102">
                <a:moveTo>
                  <a:pt x="3" y="94"/>
                </a:moveTo>
                <a:cubicBezTo>
                  <a:pt x="3" y="94"/>
                  <a:pt x="36" y="88"/>
                  <a:pt x="55" y="62"/>
                </a:cubicBezTo>
                <a:cubicBezTo>
                  <a:pt x="73" y="36"/>
                  <a:pt x="92" y="5"/>
                  <a:pt x="105" y="0"/>
                </a:cubicBezTo>
                <a:cubicBezTo>
                  <a:pt x="105" y="0"/>
                  <a:pt x="110" y="3"/>
                  <a:pt x="108" y="8"/>
                </a:cubicBezTo>
                <a:cubicBezTo>
                  <a:pt x="108" y="8"/>
                  <a:pt x="90" y="18"/>
                  <a:pt x="78" y="42"/>
                </a:cubicBezTo>
                <a:cubicBezTo>
                  <a:pt x="67" y="63"/>
                  <a:pt x="42" y="96"/>
                  <a:pt x="0" y="102"/>
                </a:cubicBezTo>
                <a:lnTo>
                  <a:pt x="3" y="94"/>
                </a:lnTo>
                <a:close/>
              </a:path>
            </a:pathLst>
          </a:custGeom>
          <a:solidFill>
            <a:srgbClr val="FFD3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îṩḻíḓe">
            <a:extLst>
              <a:ext uri="{FF2B5EF4-FFF2-40B4-BE49-F238E27FC236}">
                <a16:creationId xmlns:a16="http://schemas.microsoft.com/office/drawing/2014/main" id="{D19B7D6C-BCD3-4D61-8AC4-65A097F51D3D}"/>
              </a:ext>
            </a:extLst>
          </p:cNvPr>
          <p:cNvSpPr/>
          <p:nvPr/>
        </p:nvSpPr>
        <p:spPr bwMode="auto">
          <a:xfrm>
            <a:off x="9510215" y="1471162"/>
            <a:ext cx="32235" cy="37195"/>
          </a:xfrm>
          <a:custGeom>
            <a:avLst/>
            <a:gdLst>
              <a:gd name="T0" fmla="*/ 0 w 10"/>
              <a:gd name="T1" fmla="*/ 4 h 12"/>
              <a:gd name="T2" fmla="*/ 3 w 10"/>
              <a:gd name="T3" fmla="*/ 12 h 12"/>
              <a:gd name="T4" fmla="*/ 10 w 10"/>
              <a:gd name="T5" fmla="*/ 8 h 12"/>
              <a:gd name="T6" fmla="*/ 5 w 10"/>
              <a:gd name="T7" fmla="*/ 0 h 12"/>
              <a:gd name="T8" fmla="*/ 0 w 10"/>
              <a:gd name="T9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12">
                <a:moveTo>
                  <a:pt x="0" y="4"/>
                </a:moveTo>
                <a:cubicBezTo>
                  <a:pt x="0" y="4"/>
                  <a:pt x="6" y="7"/>
                  <a:pt x="3" y="12"/>
                </a:cubicBezTo>
                <a:cubicBezTo>
                  <a:pt x="3" y="12"/>
                  <a:pt x="9" y="12"/>
                  <a:pt x="10" y="8"/>
                </a:cubicBezTo>
                <a:cubicBezTo>
                  <a:pt x="10" y="8"/>
                  <a:pt x="10" y="2"/>
                  <a:pt x="5" y="0"/>
                </a:cubicBezTo>
                <a:cubicBezTo>
                  <a:pt x="5" y="0"/>
                  <a:pt x="1" y="0"/>
                  <a:pt x="0" y="4"/>
                </a:cubicBezTo>
              </a:path>
            </a:pathLst>
          </a:custGeom>
          <a:solidFill>
            <a:srgbClr val="FFD3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9" name="îS1îďè">
            <a:extLst>
              <a:ext uri="{FF2B5EF4-FFF2-40B4-BE49-F238E27FC236}">
                <a16:creationId xmlns:a16="http://schemas.microsoft.com/office/drawing/2014/main" id="{20188D20-2EDD-4685-BAA4-7737FCCA578F}"/>
              </a:ext>
            </a:extLst>
          </p:cNvPr>
          <p:cNvSpPr/>
          <p:nvPr/>
        </p:nvSpPr>
        <p:spPr bwMode="auto">
          <a:xfrm>
            <a:off x="9522614" y="1438926"/>
            <a:ext cx="69431" cy="59511"/>
          </a:xfrm>
          <a:custGeom>
            <a:avLst/>
            <a:gdLst>
              <a:gd name="T0" fmla="*/ 6 w 22"/>
              <a:gd name="T1" fmla="*/ 19 h 19"/>
              <a:gd name="T2" fmla="*/ 19 w 22"/>
              <a:gd name="T3" fmla="*/ 19 h 19"/>
              <a:gd name="T4" fmla="*/ 19 w 22"/>
              <a:gd name="T5" fmla="*/ 11 h 19"/>
              <a:gd name="T6" fmla="*/ 11 w 22"/>
              <a:gd name="T7" fmla="*/ 13 h 19"/>
              <a:gd name="T8" fmla="*/ 18 w 22"/>
              <a:gd name="T9" fmla="*/ 8 h 19"/>
              <a:gd name="T10" fmla="*/ 7 w 22"/>
              <a:gd name="T11" fmla="*/ 0 h 19"/>
              <a:gd name="T12" fmla="*/ 1 w 22"/>
              <a:gd name="T13" fmla="*/ 11 h 19"/>
              <a:gd name="T14" fmla="*/ 3 w 22"/>
              <a:gd name="T15" fmla="*/ 17 h 19"/>
              <a:gd name="T16" fmla="*/ 6 w 22"/>
              <a:gd name="T17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" h="19">
                <a:moveTo>
                  <a:pt x="6" y="19"/>
                </a:moveTo>
                <a:cubicBezTo>
                  <a:pt x="6" y="19"/>
                  <a:pt x="11" y="14"/>
                  <a:pt x="19" y="19"/>
                </a:cubicBezTo>
                <a:cubicBezTo>
                  <a:pt x="19" y="19"/>
                  <a:pt x="22" y="15"/>
                  <a:pt x="19" y="11"/>
                </a:cubicBezTo>
                <a:cubicBezTo>
                  <a:pt x="19" y="11"/>
                  <a:pt x="16" y="10"/>
                  <a:pt x="11" y="13"/>
                </a:cubicBezTo>
                <a:cubicBezTo>
                  <a:pt x="11" y="13"/>
                  <a:pt x="16" y="9"/>
                  <a:pt x="18" y="8"/>
                </a:cubicBezTo>
                <a:cubicBezTo>
                  <a:pt x="18" y="8"/>
                  <a:pt x="14" y="0"/>
                  <a:pt x="7" y="0"/>
                </a:cubicBezTo>
                <a:cubicBezTo>
                  <a:pt x="7" y="0"/>
                  <a:pt x="2" y="6"/>
                  <a:pt x="1" y="11"/>
                </a:cubicBezTo>
                <a:cubicBezTo>
                  <a:pt x="0" y="16"/>
                  <a:pt x="3" y="17"/>
                  <a:pt x="3" y="17"/>
                </a:cubicBezTo>
                <a:cubicBezTo>
                  <a:pt x="3" y="17"/>
                  <a:pt x="6" y="19"/>
                  <a:pt x="6" y="19"/>
                </a:cubicBezTo>
              </a:path>
            </a:pathLst>
          </a:custGeom>
          <a:solidFill>
            <a:srgbClr val="FFD3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0" name="ï$ḻiďè">
            <a:extLst>
              <a:ext uri="{FF2B5EF4-FFF2-40B4-BE49-F238E27FC236}">
                <a16:creationId xmlns:a16="http://schemas.microsoft.com/office/drawing/2014/main" id="{DCE0D6A0-4474-4851-9226-D8DB3C8BDCC5}"/>
              </a:ext>
            </a:extLst>
          </p:cNvPr>
          <p:cNvSpPr/>
          <p:nvPr/>
        </p:nvSpPr>
        <p:spPr bwMode="auto">
          <a:xfrm>
            <a:off x="10090456" y="1605063"/>
            <a:ext cx="262844" cy="486015"/>
          </a:xfrm>
          <a:custGeom>
            <a:avLst/>
            <a:gdLst>
              <a:gd name="T0" fmla="*/ 16 w 84"/>
              <a:gd name="T1" fmla="*/ 138 h 155"/>
              <a:gd name="T2" fmla="*/ 17 w 84"/>
              <a:gd name="T3" fmla="*/ 139 h 155"/>
              <a:gd name="T4" fmla="*/ 59 w 84"/>
              <a:gd name="T5" fmla="*/ 155 h 155"/>
              <a:gd name="T6" fmla="*/ 59 w 84"/>
              <a:gd name="T7" fmla="*/ 88 h 155"/>
              <a:gd name="T8" fmla="*/ 84 w 84"/>
              <a:gd name="T9" fmla="*/ 39 h 155"/>
              <a:gd name="T10" fmla="*/ 16 w 84"/>
              <a:gd name="T11" fmla="*/ 2 h 155"/>
              <a:gd name="T12" fmla="*/ 11 w 84"/>
              <a:gd name="T13" fmla="*/ 27 h 155"/>
              <a:gd name="T14" fmla="*/ 4 w 84"/>
              <a:gd name="T15" fmla="*/ 36 h 155"/>
              <a:gd name="T16" fmla="*/ 0 w 84"/>
              <a:gd name="T17" fmla="*/ 61 h 155"/>
              <a:gd name="T18" fmla="*/ 16 w 84"/>
              <a:gd name="T19" fmla="*/ 83 h 155"/>
              <a:gd name="T20" fmla="*/ 16 w 84"/>
              <a:gd name="T21" fmla="*/ 133 h 155"/>
              <a:gd name="T22" fmla="*/ 16 w 84"/>
              <a:gd name="T23" fmla="*/ 138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" h="155">
                <a:moveTo>
                  <a:pt x="16" y="138"/>
                </a:moveTo>
                <a:cubicBezTo>
                  <a:pt x="16" y="138"/>
                  <a:pt x="17" y="138"/>
                  <a:pt x="17" y="139"/>
                </a:cubicBezTo>
                <a:cubicBezTo>
                  <a:pt x="25" y="144"/>
                  <a:pt x="40" y="153"/>
                  <a:pt x="59" y="155"/>
                </a:cubicBezTo>
                <a:cubicBezTo>
                  <a:pt x="59" y="88"/>
                  <a:pt x="59" y="88"/>
                  <a:pt x="59" y="88"/>
                </a:cubicBezTo>
                <a:cubicBezTo>
                  <a:pt x="59" y="88"/>
                  <a:pt x="79" y="78"/>
                  <a:pt x="84" y="39"/>
                </a:cubicBezTo>
                <a:cubicBezTo>
                  <a:pt x="84" y="39"/>
                  <a:pt x="61" y="0"/>
                  <a:pt x="16" y="2"/>
                </a:cubicBezTo>
                <a:cubicBezTo>
                  <a:pt x="16" y="2"/>
                  <a:pt x="9" y="11"/>
                  <a:pt x="11" y="27"/>
                </a:cubicBezTo>
                <a:cubicBezTo>
                  <a:pt x="11" y="27"/>
                  <a:pt x="5" y="28"/>
                  <a:pt x="4" y="36"/>
                </a:cubicBezTo>
                <a:cubicBezTo>
                  <a:pt x="2" y="43"/>
                  <a:pt x="0" y="61"/>
                  <a:pt x="0" y="61"/>
                </a:cubicBezTo>
                <a:cubicBezTo>
                  <a:pt x="0" y="61"/>
                  <a:pt x="10" y="78"/>
                  <a:pt x="16" y="83"/>
                </a:cubicBezTo>
                <a:cubicBezTo>
                  <a:pt x="16" y="133"/>
                  <a:pt x="16" y="133"/>
                  <a:pt x="16" y="133"/>
                </a:cubicBezTo>
                <a:lnTo>
                  <a:pt x="16" y="138"/>
                </a:lnTo>
                <a:close/>
              </a:path>
            </a:pathLst>
          </a:custGeom>
          <a:solidFill>
            <a:srgbClr val="EAAB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1" name="îṥļïḋé">
            <a:extLst>
              <a:ext uri="{FF2B5EF4-FFF2-40B4-BE49-F238E27FC236}">
                <a16:creationId xmlns:a16="http://schemas.microsoft.com/office/drawing/2014/main" id="{5DCF1415-5654-4E7E-B5C0-FF5816802C68}"/>
              </a:ext>
            </a:extLst>
          </p:cNvPr>
          <p:cNvSpPr/>
          <p:nvPr/>
        </p:nvSpPr>
        <p:spPr bwMode="auto">
          <a:xfrm>
            <a:off x="10120212" y="1679454"/>
            <a:ext cx="148779" cy="138861"/>
          </a:xfrm>
          <a:custGeom>
            <a:avLst/>
            <a:gdLst>
              <a:gd name="T0" fmla="*/ 1 w 47"/>
              <a:gd name="T1" fmla="*/ 3 h 44"/>
              <a:gd name="T2" fmla="*/ 39 w 47"/>
              <a:gd name="T3" fmla="*/ 20 h 44"/>
              <a:gd name="T4" fmla="*/ 31 w 47"/>
              <a:gd name="T5" fmla="*/ 39 h 44"/>
              <a:gd name="T6" fmla="*/ 13 w 47"/>
              <a:gd name="T7" fmla="*/ 27 h 44"/>
              <a:gd name="T8" fmla="*/ 32 w 47"/>
              <a:gd name="T9" fmla="*/ 42 h 44"/>
              <a:gd name="T10" fmla="*/ 43 w 47"/>
              <a:gd name="T11" fmla="*/ 17 h 44"/>
              <a:gd name="T12" fmla="*/ 0 w 47"/>
              <a:gd name="T13" fmla="*/ 0 h 44"/>
              <a:gd name="T14" fmla="*/ 1 w 47"/>
              <a:gd name="T15" fmla="*/ 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44">
                <a:moveTo>
                  <a:pt x="1" y="3"/>
                </a:moveTo>
                <a:cubicBezTo>
                  <a:pt x="1" y="3"/>
                  <a:pt x="25" y="3"/>
                  <a:pt x="39" y="20"/>
                </a:cubicBezTo>
                <a:cubicBezTo>
                  <a:pt x="39" y="20"/>
                  <a:pt x="41" y="36"/>
                  <a:pt x="31" y="39"/>
                </a:cubicBezTo>
                <a:cubicBezTo>
                  <a:pt x="31" y="39"/>
                  <a:pt x="19" y="35"/>
                  <a:pt x="13" y="27"/>
                </a:cubicBezTo>
                <a:cubicBezTo>
                  <a:pt x="13" y="27"/>
                  <a:pt x="18" y="40"/>
                  <a:pt x="32" y="42"/>
                </a:cubicBezTo>
                <a:cubicBezTo>
                  <a:pt x="43" y="44"/>
                  <a:pt x="47" y="29"/>
                  <a:pt x="43" y="17"/>
                </a:cubicBezTo>
                <a:cubicBezTo>
                  <a:pt x="43" y="17"/>
                  <a:pt x="34" y="1"/>
                  <a:pt x="0" y="0"/>
                </a:cubicBezTo>
                <a:cubicBezTo>
                  <a:pt x="0" y="0"/>
                  <a:pt x="0" y="3"/>
                  <a:pt x="1" y="3"/>
                </a:cubicBezTo>
              </a:path>
            </a:pathLst>
          </a:custGeom>
          <a:solidFill>
            <a:srgbClr val="D186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2" name="ïṧliḋê">
            <a:extLst>
              <a:ext uri="{FF2B5EF4-FFF2-40B4-BE49-F238E27FC236}">
                <a16:creationId xmlns:a16="http://schemas.microsoft.com/office/drawing/2014/main" id="{B1EE5E11-9D48-40C7-A2DE-BCFBEE366700}"/>
              </a:ext>
            </a:extLst>
          </p:cNvPr>
          <p:cNvSpPr/>
          <p:nvPr/>
        </p:nvSpPr>
        <p:spPr bwMode="auto">
          <a:xfrm>
            <a:off x="10685576" y="1238073"/>
            <a:ext cx="406665" cy="401707"/>
          </a:xfrm>
          <a:custGeom>
            <a:avLst/>
            <a:gdLst>
              <a:gd name="T0" fmla="*/ 57 w 129"/>
              <a:gd name="T1" fmla="*/ 0 h 128"/>
              <a:gd name="T2" fmla="*/ 0 w 129"/>
              <a:gd name="T3" fmla="*/ 64 h 128"/>
              <a:gd name="T4" fmla="*/ 90 w 129"/>
              <a:gd name="T5" fmla="*/ 128 h 128"/>
              <a:gd name="T6" fmla="*/ 129 w 129"/>
              <a:gd name="T7" fmla="*/ 84 h 128"/>
              <a:gd name="T8" fmla="*/ 57 w 129"/>
              <a:gd name="T9" fmla="*/ 0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8">
                <a:moveTo>
                  <a:pt x="57" y="0"/>
                </a:moveTo>
                <a:cubicBezTo>
                  <a:pt x="57" y="0"/>
                  <a:pt x="13" y="2"/>
                  <a:pt x="0" y="64"/>
                </a:cubicBezTo>
                <a:cubicBezTo>
                  <a:pt x="0" y="64"/>
                  <a:pt x="41" y="88"/>
                  <a:pt x="90" y="128"/>
                </a:cubicBezTo>
                <a:cubicBezTo>
                  <a:pt x="129" y="84"/>
                  <a:pt x="129" y="84"/>
                  <a:pt x="129" y="84"/>
                </a:cubicBezTo>
                <a:cubicBezTo>
                  <a:pt x="103" y="60"/>
                  <a:pt x="78" y="32"/>
                  <a:pt x="57" y="0"/>
                </a:cubicBezTo>
              </a:path>
            </a:pathLst>
          </a:custGeom>
          <a:solidFill>
            <a:srgbClr val="EFEA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3" name="íŝḷiďe">
            <a:extLst>
              <a:ext uri="{FF2B5EF4-FFF2-40B4-BE49-F238E27FC236}">
                <a16:creationId xmlns:a16="http://schemas.microsoft.com/office/drawing/2014/main" id="{B72B08F7-4FFC-4804-9EFD-34DDD0F14D1A}"/>
              </a:ext>
            </a:extLst>
          </p:cNvPr>
          <p:cNvSpPr/>
          <p:nvPr/>
        </p:nvSpPr>
        <p:spPr bwMode="auto">
          <a:xfrm>
            <a:off x="11109597" y="1627381"/>
            <a:ext cx="421542" cy="411624"/>
          </a:xfrm>
          <a:custGeom>
            <a:avLst/>
            <a:gdLst>
              <a:gd name="T0" fmla="*/ 134 w 134"/>
              <a:gd name="T1" fmla="*/ 66 h 131"/>
              <a:gd name="T2" fmla="*/ 39 w 134"/>
              <a:gd name="T3" fmla="*/ 0 h 131"/>
              <a:gd name="T4" fmla="*/ 0 w 134"/>
              <a:gd name="T5" fmla="*/ 44 h 131"/>
              <a:gd name="T6" fmla="*/ 68 w 134"/>
              <a:gd name="T7" fmla="*/ 125 h 131"/>
              <a:gd name="T8" fmla="*/ 134 w 134"/>
              <a:gd name="T9" fmla="*/ 66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4" h="131">
                <a:moveTo>
                  <a:pt x="134" y="66"/>
                </a:moveTo>
                <a:cubicBezTo>
                  <a:pt x="134" y="66"/>
                  <a:pt x="90" y="42"/>
                  <a:pt x="39" y="0"/>
                </a:cubicBezTo>
                <a:cubicBezTo>
                  <a:pt x="0" y="44"/>
                  <a:pt x="0" y="44"/>
                  <a:pt x="0" y="44"/>
                </a:cubicBezTo>
                <a:cubicBezTo>
                  <a:pt x="24" y="68"/>
                  <a:pt x="48" y="95"/>
                  <a:pt x="68" y="125"/>
                </a:cubicBezTo>
                <a:cubicBezTo>
                  <a:pt x="68" y="125"/>
                  <a:pt x="108" y="131"/>
                  <a:pt x="134" y="66"/>
                </a:cubicBezTo>
              </a:path>
            </a:pathLst>
          </a:custGeom>
          <a:solidFill>
            <a:srgbClr val="EFEA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4" name="íSľiḑé">
            <a:extLst>
              <a:ext uri="{FF2B5EF4-FFF2-40B4-BE49-F238E27FC236}">
                <a16:creationId xmlns:a16="http://schemas.microsoft.com/office/drawing/2014/main" id="{7E24B2A1-EBD7-4902-A757-DD08B816A820}"/>
              </a:ext>
            </a:extLst>
          </p:cNvPr>
          <p:cNvSpPr/>
          <p:nvPr/>
        </p:nvSpPr>
        <p:spPr bwMode="auto">
          <a:xfrm>
            <a:off x="10968256" y="1505878"/>
            <a:ext cx="265325" cy="260364"/>
          </a:xfrm>
          <a:custGeom>
            <a:avLst/>
            <a:gdLst>
              <a:gd name="T0" fmla="*/ 39 w 84"/>
              <a:gd name="T1" fmla="*/ 0 h 83"/>
              <a:gd name="T2" fmla="*/ 0 w 84"/>
              <a:gd name="T3" fmla="*/ 43 h 83"/>
              <a:gd name="T4" fmla="*/ 45 w 84"/>
              <a:gd name="T5" fmla="*/ 83 h 83"/>
              <a:gd name="T6" fmla="*/ 84 w 84"/>
              <a:gd name="T7" fmla="*/ 39 h 83"/>
              <a:gd name="T8" fmla="*/ 39 w 84"/>
              <a:gd name="T9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" h="83">
                <a:moveTo>
                  <a:pt x="39" y="0"/>
                </a:moveTo>
                <a:cubicBezTo>
                  <a:pt x="0" y="43"/>
                  <a:pt x="0" y="43"/>
                  <a:pt x="0" y="43"/>
                </a:cubicBezTo>
                <a:cubicBezTo>
                  <a:pt x="14" y="55"/>
                  <a:pt x="30" y="68"/>
                  <a:pt x="45" y="83"/>
                </a:cubicBezTo>
                <a:cubicBezTo>
                  <a:pt x="84" y="39"/>
                  <a:pt x="84" y="39"/>
                  <a:pt x="84" y="39"/>
                </a:cubicBezTo>
                <a:cubicBezTo>
                  <a:pt x="69" y="27"/>
                  <a:pt x="54" y="14"/>
                  <a:pt x="39" y="0"/>
                </a:cubicBezTo>
              </a:path>
            </a:pathLst>
          </a:custGeom>
          <a:solidFill>
            <a:srgbClr val="9900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5" name="iṣļîḑe">
            <a:extLst>
              <a:ext uri="{FF2B5EF4-FFF2-40B4-BE49-F238E27FC236}">
                <a16:creationId xmlns:a16="http://schemas.microsoft.com/office/drawing/2014/main" id="{73ADFD35-2925-4753-8815-17437DB1B03E}"/>
              </a:ext>
            </a:extLst>
          </p:cNvPr>
          <p:cNvSpPr/>
          <p:nvPr/>
        </p:nvSpPr>
        <p:spPr bwMode="auto">
          <a:xfrm>
            <a:off x="10988093" y="1659617"/>
            <a:ext cx="146300" cy="247966"/>
          </a:xfrm>
          <a:custGeom>
            <a:avLst/>
            <a:gdLst>
              <a:gd name="T0" fmla="*/ 29 w 47"/>
              <a:gd name="T1" fmla="*/ 0 h 79"/>
              <a:gd name="T2" fmla="*/ 4 w 47"/>
              <a:gd name="T3" fmla="*/ 77 h 79"/>
              <a:gd name="T4" fmla="*/ 27 w 47"/>
              <a:gd name="T5" fmla="*/ 51 h 79"/>
              <a:gd name="T6" fmla="*/ 47 w 47"/>
              <a:gd name="T7" fmla="*/ 79 h 79"/>
              <a:gd name="T8" fmla="*/ 45 w 47"/>
              <a:gd name="T9" fmla="*/ 5 h 79"/>
              <a:gd name="T10" fmla="*/ 29 w 47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" h="79">
                <a:moveTo>
                  <a:pt x="29" y="0"/>
                </a:moveTo>
                <a:cubicBezTo>
                  <a:pt x="29" y="0"/>
                  <a:pt x="0" y="49"/>
                  <a:pt x="4" y="77"/>
                </a:cubicBezTo>
                <a:cubicBezTo>
                  <a:pt x="4" y="77"/>
                  <a:pt x="16" y="60"/>
                  <a:pt x="27" y="51"/>
                </a:cubicBezTo>
                <a:cubicBezTo>
                  <a:pt x="27" y="51"/>
                  <a:pt x="36" y="69"/>
                  <a:pt x="47" y="79"/>
                </a:cubicBezTo>
                <a:cubicBezTo>
                  <a:pt x="47" y="79"/>
                  <a:pt x="36" y="38"/>
                  <a:pt x="45" y="5"/>
                </a:cubicBezTo>
                <a:lnTo>
                  <a:pt x="29" y="0"/>
                </a:lnTo>
                <a:close/>
              </a:path>
            </a:pathLst>
          </a:custGeom>
          <a:solidFill>
            <a:srgbClr val="D1004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6" name="îsľïḓe">
            <a:extLst>
              <a:ext uri="{FF2B5EF4-FFF2-40B4-BE49-F238E27FC236}">
                <a16:creationId xmlns:a16="http://schemas.microsoft.com/office/drawing/2014/main" id="{691DBA54-C0A4-49C9-B774-D54705C3D180}"/>
              </a:ext>
            </a:extLst>
          </p:cNvPr>
          <p:cNvSpPr/>
          <p:nvPr/>
        </p:nvSpPr>
        <p:spPr bwMode="auto">
          <a:xfrm>
            <a:off x="10836833" y="1617462"/>
            <a:ext cx="297560" cy="257886"/>
          </a:xfrm>
          <a:custGeom>
            <a:avLst/>
            <a:gdLst>
              <a:gd name="T0" fmla="*/ 66 w 95"/>
              <a:gd name="T1" fmla="*/ 0 h 82"/>
              <a:gd name="T2" fmla="*/ 0 w 95"/>
              <a:gd name="T3" fmla="*/ 41 h 82"/>
              <a:gd name="T4" fmla="*/ 34 w 95"/>
              <a:gd name="T5" fmla="*/ 40 h 82"/>
              <a:gd name="T6" fmla="*/ 19 w 95"/>
              <a:gd name="T7" fmla="*/ 82 h 82"/>
              <a:gd name="T8" fmla="*/ 80 w 95"/>
              <a:gd name="T9" fmla="*/ 17 h 82"/>
              <a:gd name="T10" fmla="*/ 82 w 95"/>
              <a:gd name="T11" fmla="*/ 4 h 82"/>
              <a:gd name="T12" fmla="*/ 66 w 95"/>
              <a:gd name="T13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" h="82">
                <a:moveTo>
                  <a:pt x="66" y="0"/>
                </a:moveTo>
                <a:cubicBezTo>
                  <a:pt x="66" y="0"/>
                  <a:pt x="33" y="31"/>
                  <a:pt x="0" y="41"/>
                </a:cubicBezTo>
                <a:cubicBezTo>
                  <a:pt x="0" y="41"/>
                  <a:pt x="22" y="46"/>
                  <a:pt x="34" y="40"/>
                </a:cubicBezTo>
                <a:cubicBezTo>
                  <a:pt x="34" y="40"/>
                  <a:pt x="19" y="69"/>
                  <a:pt x="19" y="82"/>
                </a:cubicBezTo>
                <a:cubicBezTo>
                  <a:pt x="19" y="82"/>
                  <a:pt x="65" y="28"/>
                  <a:pt x="80" y="17"/>
                </a:cubicBezTo>
                <a:cubicBezTo>
                  <a:pt x="95" y="6"/>
                  <a:pt x="82" y="4"/>
                  <a:pt x="82" y="4"/>
                </a:cubicBezTo>
                <a:lnTo>
                  <a:pt x="66" y="0"/>
                </a:lnTo>
                <a:close/>
              </a:path>
            </a:pathLst>
          </a:custGeom>
          <a:solidFill>
            <a:srgbClr val="D1004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7" name="íŝlíḑe">
            <a:extLst>
              <a:ext uri="{FF2B5EF4-FFF2-40B4-BE49-F238E27FC236}">
                <a16:creationId xmlns:a16="http://schemas.microsoft.com/office/drawing/2014/main" id="{13CDC673-347F-461E-BC39-478CC3B945A0}"/>
              </a:ext>
            </a:extLst>
          </p:cNvPr>
          <p:cNvSpPr/>
          <p:nvPr/>
        </p:nvSpPr>
        <p:spPr bwMode="auto">
          <a:xfrm>
            <a:off x="11000492" y="1533154"/>
            <a:ext cx="198373" cy="200853"/>
          </a:xfrm>
          <a:custGeom>
            <a:avLst/>
            <a:gdLst>
              <a:gd name="T0" fmla="*/ 53 w 63"/>
              <a:gd name="T1" fmla="*/ 51 h 64"/>
              <a:gd name="T2" fmla="*/ 13 w 63"/>
              <a:gd name="T3" fmla="*/ 53 h 64"/>
              <a:gd name="T4" fmla="*/ 11 w 63"/>
              <a:gd name="T5" fmla="*/ 13 h 64"/>
              <a:gd name="T6" fmla="*/ 51 w 63"/>
              <a:gd name="T7" fmla="*/ 11 h 64"/>
              <a:gd name="T8" fmla="*/ 53 w 63"/>
              <a:gd name="T9" fmla="*/ 51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" h="64">
                <a:moveTo>
                  <a:pt x="53" y="51"/>
                </a:moveTo>
                <a:cubicBezTo>
                  <a:pt x="42" y="63"/>
                  <a:pt x="24" y="64"/>
                  <a:pt x="13" y="53"/>
                </a:cubicBezTo>
                <a:cubicBezTo>
                  <a:pt x="1" y="43"/>
                  <a:pt x="0" y="25"/>
                  <a:pt x="11" y="13"/>
                </a:cubicBezTo>
                <a:cubicBezTo>
                  <a:pt x="21" y="1"/>
                  <a:pt x="39" y="0"/>
                  <a:pt x="51" y="11"/>
                </a:cubicBezTo>
                <a:cubicBezTo>
                  <a:pt x="62" y="21"/>
                  <a:pt x="63" y="39"/>
                  <a:pt x="53" y="51"/>
                </a:cubicBezTo>
              </a:path>
            </a:pathLst>
          </a:custGeom>
          <a:solidFill>
            <a:srgbClr val="FFD3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8" name="ïṥḷíḋe">
            <a:extLst>
              <a:ext uri="{FF2B5EF4-FFF2-40B4-BE49-F238E27FC236}">
                <a16:creationId xmlns:a16="http://schemas.microsoft.com/office/drawing/2014/main" id="{76590E7C-8D23-403D-A0AF-544B84349066}"/>
              </a:ext>
            </a:extLst>
          </p:cNvPr>
          <p:cNvSpPr/>
          <p:nvPr/>
        </p:nvSpPr>
        <p:spPr bwMode="auto">
          <a:xfrm>
            <a:off x="11025289" y="1557951"/>
            <a:ext cx="148779" cy="151260"/>
          </a:xfrm>
          <a:custGeom>
            <a:avLst/>
            <a:gdLst>
              <a:gd name="T0" fmla="*/ 40 w 47"/>
              <a:gd name="T1" fmla="*/ 38 h 48"/>
              <a:gd name="T2" fmla="*/ 10 w 47"/>
              <a:gd name="T3" fmla="*/ 40 h 48"/>
              <a:gd name="T4" fmla="*/ 8 w 47"/>
              <a:gd name="T5" fmla="*/ 10 h 48"/>
              <a:gd name="T6" fmla="*/ 38 w 47"/>
              <a:gd name="T7" fmla="*/ 8 h 48"/>
              <a:gd name="T8" fmla="*/ 40 w 47"/>
              <a:gd name="T9" fmla="*/ 3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" h="48">
                <a:moveTo>
                  <a:pt x="40" y="38"/>
                </a:moveTo>
                <a:cubicBezTo>
                  <a:pt x="32" y="47"/>
                  <a:pt x="18" y="48"/>
                  <a:pt x="10" y="40"/>
                </a:cubicBezTo>
                <a:cubicBezTo>
                  <a:pt x="1" y="32"/>
                  <a:pt x="0" y="19"/>
                  <a:pt x="8" y="10"/>
                </a:cubicBezTo>
                <a:cubicBezTo>
                  <a:pt x="16" y="1"/>
                  <a:pt x="29" y="0"/>
                  <a:pt x="38" y="8"/>
                </a:cubicBezTo>
                <a:cubicBezTo>
                  <a:pt x="47" y="16"/>
                  <a:pt x="47" y="29"/>
                  <a:pt x="40" y="38"/>
                </a:cubicBezTo>
              </a:path>
            </a:pathLst>
          </a:custGeom>
          <a:solidFill>
            <a:srgbClr val="F7AA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9" name="îṧlîďê">
            <a:extLst>
              <a:ext uri="{FF2B5EF4-FFF2-40B4-BE49-F238E27FC236}">
                <a16:creationId xmlns:a16="http://schemas.microsoft.com/office/drawing/2014/main" id="{5D4FF3B9-68EC-46E9-95D6-9CC1D3096AA0}"/>
              </a:ext>
            </a:extLst>
          </p:cNvPr>
          <p:cNvSpPr/>
          <p:nvPr/>
        </p:nvSpPr>
        <p:spPr bwMode="auto">
          <a:xfrm>
            <a:off x="9056438" y="2001810"/>
            <a:ext cx="233089" cy="176057"/>
          </a:xfrm>
          <a:custGeom>
            <a:avLst/>
            <a:gdLst>
              <a:gd name="T0" fmla="*/ 27 w 74"/>
              <a:gd name="T1" fmla="*/ 47 h 56"/>
              <a:gd name="T2" fmla="*/ 0 w 74"/>
              <a:gd name="T3" fmla="*/ 10 h 56"/>
              <a:gd name="T4" fmla="*/ 45 w 74"/>
              <a:gd name="T5" fmla="*/ 0 h 56"/>
              <a:gd name="T6" fmla="*/ 74 w 74"/>
              <a:gd name="T7" fmla="*/ 44 h 56"/>
              <a:gd name="T8" fmla="*/ 27 w 74"/>
              <a:gd name="T9" fmla="*/ 47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56">
                <a:moveTo>
                  <a:pt x="27" y="47"/>
                </a:moveTo>
                <a:cubicBezTo>
                  <a:pt x="0" y="10"/>
                  <a:pt x="0" y="10"/>
                  <a:pt x="0" y="10"/>
                </a:cubicBezTo>
                <a:cubicBezTo>
                  <a:pt x="45" y="0"/>
                  <a:pt x="45" y="0"/>
                  <a:pt x="45" y="0"/>
                </a:cubicBezTo>
                <a:cubicBezTo>
                  <a:pt x="74" y="44"/>
                  <a:pt x="74" y="44"/>
                  <a:pt x="74" y="44"/>
                </a:cubicBezTo>
                <a:cubicBezTo>
                  <a:pt x="74" y="44"/>
                  <a:pt x="50" y="56"/>
                  <a:pt x="27" y="47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0" name="ïṩḻïďé">
            <a:extLst>
              <a:ext uri="{FF2B5EF4-FFF2-40B4-BE49-F238E27FC236}">
                <a16:creationId xmlns:a16="http://schemas.microsoft.com/office/drawing/2014/main" id="{A15184EE-F22B-42A4-8C49-54039499FDE1}"/>
              </a:ext>
            </a:extLst>
          </p:cNvPr>
          <p:cNvSpPr/>
          <p:nvPr/>
        </p:nvSpPr>
        <p:spPr bwMode="auto">
          <a:xfrm>
            <a:off x="9073794" y="2031567"/>
            <a:ext cx="104145" cy="119024"/>
          </a:xfrm>
          <a:custGeom>
            <a:avLst/>
            <a:gdLst>
              <a:gd name="T0" fmla="*/ 0 w 33"/>
              <a:gd name="T1" fmla="*/ 1 h 38"/>
              <a:gd name="T2" fmla="*/ 23 w 33"/>
              <a:gd name="T3" fmla="*/ 36 h 38"/>
              <a:gd name="T4" fmla="*/ 33 w 33"/>
              <a:gd name="T5" fmla="*/ 38 h 38"/>
              <a:gd name="T6" fmla="*/ 10 w 33"/>
              <a:gd name="T7" fmla="*/ 0 h 38"/>
              <a:gd name="T8" fmla="*/ 0 w 33"/>
              <a:gd name="T9" fmla="*/ 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38">
                <a:moveTo>
                  <a:pt x="0" y="1"/>
                </a:moveTo>
                <a:cubicBezTo>
                  <a:pt x="23" y="36"/>
                  <a:pt x="23" y="36"/>
                  <a:pt x="23" y="36"/>
                </a:cubicBezTo>
                <a:cubicBezTo>
                  <a:pt x="23" y="36"/>
                  <a:pt x="29" y="38"/>
                  <a:pt x="33" y="38"/>
                </a:cubicBezTo>
                <a:cubicBezTo>
                  <a:pt x="10" y="0"/>
                  <a:pt x="10" y="0"/>
                  <a:pt x="10" y="0"/>
                </a:cubicBezTo>
                <a:lnTo>
                  <a:pt x="0" y="1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1" name="ïsliḍe">
            <a:extLst>
              <a:ext uri="{FF2B5EF4-FFF2-40B4-BE49-F238E27FC236}">
                <a16:creationId xmlns:a16="http://schemas.microsoft.com/office/drawing/2014/main" id="{949D68B9-35B2-4020-B1AA-059FFE81D531}"/>
              </a:ext>
            </a:extLst>
          </p:cNvPr>
          <p:cNvSpPr/>
          <p:nvPr/>
        </p:nvSpPr>
        <p:spPr bwMode="auto">
          <a:xfrm>
            <a:off x="9358955" y="1828235"/>
            <a:ext cx="126463" cy="173578"/>
          </a:xfrm>
          <a:custGeom>
            <a:avLst/>
            <a:gdLst>
              <a:gd name="T0" fmla="*/ 6 w 40"/>
              <a:gd name="T1" fmla="*/ 0 h 55"/>
              <a:gd name="T2" fmla="*/ 40 w 40"/>
              <a:gd name="T3" fmla="*/ 44 h 55"/>
              <a:gd name="T4" fmla="*/ 34 w 40"/>
              <a:gd name="T5" fmla="*/ 55 h 55"/>
              <a:gd name="T6" fmla="*/ 0 w 40"/>
              <a:gd name="T7" fmla="*/ 11 h 55"/>
              <a:gd name="T8" fmla="*/ 6 w 40"/>
              <a:gd name="T9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55">
                <a:moveTo>
                  <a:pt x="6" y="0"/>
                </a:moveTo>
                <a:cubicBezTo>
                  <a:pt x="40" y="44"/>
                  <a:pt x="40" y="44"/>
                  <a:pt x="40" y="44"/>
                </a:cubicBezTo>
                <a:cubicBezTo>
                  <a:pt x="40" y="44"/>
                  <a:pt x="37" y="50"/>
                  <a:pt x="34" y="55"/>
                </a:cubicBezTo>
                <a:cubicBezTo>
                  <a:pt x="0" y="11"/>
                  <a:pt x="0" y="11"/>
                  <a:pt x="0" y="11"/>
                </a:cubicBezTo>
                <a:lnTo>
                  <a:pt x="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2" name="íṩḻîḓe">
            <a:extLst>
              <a:ext uri="{FF2B5EF4-FFF2-40B4-BE49-F238E27FC236}">
                <a16:creationId xmlns:a16="http://schemas.microsoft.com/office/drawing/2014/main" id="{86544878-26E2-4488-8A39-F38340AD82BE}"/>
              </a:ext>
            </a:extLst>
          </p:cNvPr>
          <p:cNvSpPr/>
          <p:nvPr/>
        </p:nvSpPr>
        <p:spPr bwMode="auto">
          <a:xfrm>
            <a:off x="9056438" y="1781120"/>
            <a:ext cx="366991" cy="272763"/>
          </a:xfrm>
          <a:custGeom>
            <a:avLst/>
            <a:gdLst>
              <a:gd name="T0" fmla="*/ 0 w 148"/>
              <a:gd name="T1" fmla="*/ 101 h 110"/>
              <a:gd name="T2" fmla="*/ 94 w 148"/>
              <a:gd name="T3" fmla="*/ 84 h 110"/>
              <a:gd name="T4" fmla="*/ 143 w 148"/>
              <a:gd name="T5" fmla="*/ 0 h 110"/>
              <a:gd name="T6" fmla="*/ 148 w 148"/>
              <a:gd name="T7" fmla="*/ 8 h 110"/>
              <a:gd name="T8" fmla="*/ 99 w 148"/>
              <a:gd name="T9" fmla="*/ 94 h 110"/>
              <a:gd name="T10" fmla="*/ 7 w 148"/>
              <a:gd name="T11" fmla="*/ 110 h 110"/>
              <a:gd name="T12" fmla="*/ 0 w 148"/>
              <a:gd name="T13" fmla="*/ 101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8" h="110">
                <a:moveTo>
                  <a:pt x="0" y="101"/>
                </a:moveTo>
                <a:lnTo>
                  <a:pt x="94" y="84"/>
                </a:lnTo>
                <a:lnTo>
                  <a:pt x="143" y="0"/>
                </a:lnTo>
                <a:lnTo>
                  <a:pt x="148" y="8"/>
                </a:lnTo>
                <a:lnTo>
                  <a:pt x="99" y="94"/>
                </a:lnTo>
                <a:lnTo>
                  <a:pt x="7" y="110"/>
                </a:lnTo>
                <a:lnTo>
                  <a:pt x="0" y="101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3" name="ïšļíde">
            <a:extLst>
              <a:ext uri="{FF2B5EF4-FFF2-40B4-BE49-F238E27FC236}">
                <a16:creationId xmlns:a16="http://schemas.microsoft.com/office/drawing/2014/main" id="{03259BCE-5678-4D35-962E-B028BD5D7642}"/>
              </a:ext>
            </a:extLst>
          </p:cNvPr>
          <p:cNvSpPr/>
          <p:nvPr/>
        </p:nvSpPr>
        <p:spPr bwMode="auto">
          <a:xfrm>
            <a:off x="8820870" y="1853031"/>
            <a:ext cx="515770" cy="208292"/>
          </a:xfrm>
          <a:custGeom>
            <a:avLst/>
            <a:gdLst>
              <a:gd name="T0" fmla="*/ 26 w 164"/>
              <a:gd name="T1" fmla="*/ 25 h 66"/>
              <a:gd name="T2" fmla="*/ 0 w 164"/>
              <a:gd name="T3" fmla="*/ 66 h 66"/>
              <a:gd name="T4" fmla="*/ 144 w 164"/>
              <a:gd name="T5" fmla="*/ 36 h 66"/>
              <a:gd name="T6" fmla="*/ 164 w 164"/>
              <a:gd name="T7" fmla="*/ 0 h 66"/>
              <a:gd name="T8" fmla="*/ 26 w 164"/>
              <a:gd name="T9" fmla="*/ 25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4" h="66">
                <a:moveTo>
                  <a:pt x="26" y="25"/>
                </a:moveTo>
                <a:cubicBezTo>
                  <a:pt x="0" y="66"/>
                  <a:pt x="0" y="66"/>
                  <a:pt x="0" y="66"/>
                </a:cubicBezTo>
                <a:cubicBezTo>
                  <a:pt x="144" y="36"/>
                  <a:pt x="144" y="36"/>
                  <a:pt x="144" y="36"/>
                </a:cubicBezTo>
                <a:cubicBezTo>
                  <a:pt x="164" y="0"/>
                  <a:pt x="164" y="0"/>
                  <a:pt x="164" y="0"/>
                </a:cubicBezTo>
                <a:cubicBezTo>
                  <a:pt x="164" y="0"/>
                  <a:pt x="94" y="51"/>
                  <a:pt x="26" y="25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4" name="ïṧlídê">
            <a:extLst>
              <a:ext uri="{FF2B5EF4-FFF2-40B4-BE49-F238E27FC236}">
                <a16:creationId xmlns:a16="http://schemas.microsoft.com/office/drawing/2014/main" id="{C6FF6D4D-C146-4E5A-9873-CDE3C9478BE1}"/>
              </a:ext>
            </a:extLst>
          </p:cNvPr>
          <p:cNvSpPr/>
          <p:nvPr/>
        </p:nvSpPr>
        <p:spPr bwMode="auto">
          <a:xfrm>
            <a:off x="11015369" y="1627381"/>
            <a:ext cx="171097" cy="94227"/>
          </a:xfrm>
          <a:custGeom>
            <a:avLst/>
            <a:gdLst>
              <a:gd name="T0" fmla="*/ 0 w 54"/>
              <a:gd name="T1" fmla="*/ 0 h 30"/>
              <a:gd name="T2" fmla="*/ 26 w 54"/>
              <a:gd name="T3" fmla="*/ 29 h 30"/>
              <a:gd name="T4" fmla="*/ 54 w 54"/>
              <a:gd name="T5" fmla="*/ 3 h 30"/>
              <a:gd name="T6" fmla="*/ 47 w 54"/>
              <a:gd name="T7" fmla="*/ 10 h 30"/>
              <a:gd name="T8" fmla="*/ 7 w 54"/>
              <a:gd name="T9" fmla="*/ 7 h 30"/>
              <a:gd name="T10" fmla="*/ 0 w 54"/>
              <a:gd name="T11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0">
                <a:moveTo>
                  <a:pt x="0" y="0"/>
                </a:moveTo>
                <a:cubicBezTo>
                  <a:pt x="0" y="0"/>
                  <a:pt x="0" y="27"/>
                  <a:pt x="26" y="29"/>
                </a:cubicBezTo>
                <a:cubicBezTo>
                  <a:pt x="51" y="30"/>
                  <a:pt x="54" y="3"/>
                  <a:pt x="54" y="3"/>
                </a:cubicBezTo>
                <a:cubicBezTo>
                  <a:pt x="54" y="3"/>
                  <a:pt x="50" y="8"/>
                  <a:pt x="47" y="10"/>
                </a:cubicBezTo>
                <a:cubicBezTo>
                  <a:pt x="43" y="11"/>
                  <a:pt x="10" y="7"/>
                  <a:pt x="7" y="7"/>
                </a:cubicBezTo>
                <a:cubicBezTo>
                  <a:pt x="4" y="6"/>
                  <a:pt x="0" y="3"/>
                  <a:pt x="0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5" name="ïSlîďè">
            <a:extLst>
              <a:ext uri="{FF2B5EF4-FFF2-40B4-BE49-F238E27FC236}">
                <a16:creationId xmlns:a16="http://schemas.microsoft.com/office/drawing/2014/main" id="{F965F16F-1EC4-42D7-AC22-60C3B303B8FB}"/>
              </a:ext>
            </a:extLst>
          </p:cNvPr>
          <p:cNvSpPr/>
          <p:nvPr/>
        </p:nvSpPr>
        <p:spPr bwMode="auto">
          <a:xfrm>
            <a:off x="11022810" y="1642258"/>
            <a:ext cx="156220" cy="54553"/>
          </a:xfrm>
          <a:custGeom>
            <a:avLst/>
            <a:gdLst>
              <a:gd name="T0" fmla="*/ 0 w 50"/>
              <a:gd name="T1" fmla="*/ 0 h 17"/>
              <a:gd name="T2" fmla="*/ 8 w 50"/>
              <a:gd name="T3" fmla="*/ 3 h 17"/>
              <a:gd name="T4" fmla="*/ 43 w 50"/>
              <a:gd name="T5" fmla="*/ 7 h 17"/>
              <a:gd name="T6" fmla="*/ 50 w 50"/>
              <a:gd name="T7" fmla="*/ 3 h 17"/>
              <a:gd name="T8" fmla="*/ 42 w 50"/>
              <a:gd name="T9" fmla="*/ 17 h 17"/>
              <a:gd name="T10" fmla="*/ 40 w 50"/>
              <a:gd name="T11" fmla="*/ 11 h 17"/>
              <a:gd name="T12" fmla="*/ 2 w 50"/>
              <a:gd name="T13" fmla="*/ 8 h 17"/>
              <a:gd name="T14" fmla="*/ 0 w 50"/>
              <a:gd name="T1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0" h="17">
                <a:moveTo>
                  <a:pt x="0" y="0"/>
                </a:moveTo>
                <a:cubicBezTo>
                  <a:pt x="0" y="0"/>
                  <a:pt x="2" y="3"/>
                  <a:pt x="8" y="3"/>
                </a:cubicBezTo>
                <a:cubicBezTo>
                  <a:pt x="15" y="4"/>
                  <a:pt x="42" y="7"/>
                  <a:pt x="43" y="7"/>
                </a:cubicBezTo>
                <a:cubicBezTo>
                  <a:pt x="45" y="6"/>
                  <a:pt x="49" y="5"/>
                  <a:pt x="50" y="3"/>
                </a:cubicBezTo>
                <a:cubicBezTo>
                  <a:pt x="50" y="3"/>
                  <a:pt x="48" y="12"/>
                  <a:pt x="42" y="17"/>
                </a:cubicBezTo>
                <a:cubicBezTo>
                  <a:pt x="42" y="17"/>
                  <a:pt x="43" y="12"/>
                  <a:pt x="40" y="11"/>
                </a:cubicBezTo>
                <a:cubicBezTo>
                  <a:pt x="36" y="9"/>
                  <a:pt x="5" y="4"/>
                  <a:pt x="2" y="8"/>
                </a:cubicBezTo>
                <a:cubicBezTo>
                  <a:pt x="2" y="8"/>
                  <a:pt x="0" y="4"/>
                  <a:pt x="0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6" name="iṩḻîḍè">
            <a:extLst>
              <a:ext uri="{FF2B5EF4-FFF2-40B4-BE49-F238E27FC236}">
                <a16:creationId xmlns:a16="http://schemas.microsoft.com/office/drawing/2014/main" id="{49B6E3A5-7D76-4AD0-B68C-E88A49AAA748}"/>
              </a:ext>
            </a:extLst>
          </p:cNvPr>
          <p:cNvSpPr/>
          <p:nvPr/>
        </p:nvSpPr>
        <p:spPr bwMode="auto">
          <a:xfrm>
            <a:off x="11025289" y="1548031"/>
            <a:ext cx="153739" cy="79350"/>
          </a:xfrm>
          <a:custGeom>
            <a:avLst/>
            <a:gdLst>
              <a:gd name="T0" fmla="*/ 49 w 49"/>
              <a:gd name="T1" fmla="*/ 18 h 25"/>
              <a:gd name="T2" fmla="*/ 0 w 49"/>
              <a:gd name="T3" fmla="*/ 15 h 25"/>
              <a:gd name="T4" fmla="*/ 24 w 49"/>
              <a:gd name="T5" fmla="*/ 0 h 25"/>
              <a:gd name="T6" fmla="*/ 49 w 49"/>
              <a:gd name="T7" fmla="*/ 18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" h="25">
                <a:moveTo>
                  <a:pt x="49" y="18"/>
                </a:moveTo>
                <a:cubicBezTo>
                  <a:pt x="49" y="18"/>
                  <a:pt x="18" y="25"/>
                  <a:pt x="0" y="15"/>
                </a:cubicBezTo>
                <a:cubicBezTo>
                  <a:pt x="0" y="15"/>
                  <a:pt x="6" y="0"/>
                  <a:pt x="24" y="0"/>
                </a:cubicBezTo>
                <a:cubicBezTo>
                  <a:pt x="42" y="0"/>
                  <a:pt x="49" y="18"/>
                  <a:pt x="49" y="1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7" name="ïṧlîďê">
            <a:extLst>
              <a:ext uri="{FF2B5EF4-FFF2-40B4-BE49-F238E27FC236}">
                <a16:creationId xmlns:a16="http://schemas.microsoft.com/office/drawing/2014/main" id="{1195013F-569C-44A5-A9A8-7760CC40195E}"/>
              </a:ext>
            </a:extLst>
          </p:cNvPr>
          <p:cNvSpPr/>
          <p:nvPr/>
        </p:nvSpPr>
        <p:spPr bwMode="auto">
          <a:xfrm>
            <a:off x="11027767" y="1711689"/>
            <a:ext cx="89268" cy="81829"/>
          </a:xfrm>
          <a:custGeom>
            <a:avLst/>
            <a:gdLst>
              <a:gd name="T0" fmla="*/ 0 w 28"/>
              <a:gd name="T1" fmla="*/ 21 h 26"/>
              <a:gd name="T2" fmla="*/ 8 w 28"/>
              <a:gd name="T3" fmla="*/ 0 h 26"/>
              <a:gd name="T4" fmla="*/ 28 w 28"/>
              <a:gd name="T5" fmla="*/ 4 h 26"/>
              <a:gd name="T6" fmla="*/ 26 w 28"/>
              <a:gd name="T7" fmla="*/ 26 h 26"/>
              <a:gd name="T8" fmla="*/ 0 w 28"/>
              <a:gd name="T9" fmla="*/ 21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26">
                <a:moveTo>
                  <a:pt x="0" y="21"/>
                </a:moveTo>
                <a:cubicBezTo>
                  <a:pt x="0" y="21"/>
                  <a:pt x="5" y="6"/>
                  <a:pt x="8" y="0"/>
                </a:cubicBezTo>
                <a:cubicBezTo>
                  <a:pt x="8" y="0"/>
                  <a:pt x="14" y="6"/>
                  <a:pt x="28" y="4"/>
                </a:cubicBezTo>
                <a:cubicBezTo>
                  <a:pt x="28" y="4"/>
                  <a:pt x="25" y="19"/>
                  <a:pt x="26" y="26"/>
                </a:cubicBezTo>
                <a:cubicBezTo>
                  <a:pt x="26" y="26"/>
                  <a:pt x="14" y="15"/>
                  <a:pt x="0" y="21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8" name="íş1iḓe">
            <a:extLst>
              <a:ext uri="{FF2B5EF4-FFF2-40B4-BE49-F238E27FC236}">
                <a16:creationId xmlns:a16="http://schemas.microsoft.com/office/drawing/2014/main" id="{565F4896-C316-479C-8C2F-ABE653807654}"/>
              </a:ext>
            </a:extLst>
          </p:cNvPr>
          <p:cNvSpPr/>
          <p:nvPr/>
        </p:nvSpPr>
        <p:spPr bwMode="auto">
          <a:xfrm>
            <a:off x="10953379" y="1652178"/>
            <a:ext cx="91747" cy="106626"/>
          </a:xfrm>
          <a:custGeom>
            <a:avLst/>
            <a:gdLst>
              <a:gd name="T0" fmla="*/ 12 w 29"/>
              <a:gd name="T1" fmla="*/ 34 h 34"/>
              <a:gd name="T2" fmla="*/ 29 w 29"/>
              <a:gd name="T3" fmla="*/ 17 h 34"/>
              <a:gd name="T4" fmla="*/ 18 w 29"/>
              <a:gd name="T5" fmla="*/ 0 h 34"/>
              <a:gd name="T6" fmla="*/ 0 w 29"/>
              <a:gd name="T7" fmla="*/ 14 h 34"/>
              <a:gd name="T8" fmla="*/ 12 w 29"/>
              <a:gd name="T9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34">
                <a:moveTo>
                  <a:pt x="12" y="34"/>
                </a:moveTo>
                <a:cubicBezTo>
                  <a:pt x="29" y="17"/>
                  <a:pt x="29" y="17"/>
                  <a:pt x="29" y="17"/>
                </a:cubicBezTo>
                <a:cubicBezTo>
                  <a:pt x="29" y="17"/>
                  <a:pt x="18" y="10"/>
                  <a:pt x="18" y="0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4"/>
                  <a:pt x="12" y="15"/>
                  <a:pt x="12" y="34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9" name="íṥlïde">
            <a:extLst>
              <a:ext uri="{FF2B5EF4-FFF2-40B4-BE49-F238E27FC236}">
                <a16:creationId xmlns:a16="http://schemas.microsoft.com/office/drawing/2014/main" id="{4F2E0613-C3E3-4297-848C-C8DFE45085F9}"/>
              </a:ext>
            </a:extLst>
          </p:cNvPr>
          <p:cNvSpPr/>
          <p:nvPr/>
        </p:nvSpPr>
        <p:spPr bwMode="auto">
          <a:xfrm>
            <a:off x="11121995" y="1709210"/>
            <a:ext cx="334755" cy="304998"/>
          </a:xfrm>
          <a:custGeom>
            <a:avLst/>
            <a:gdLst>
              <a:gd name="T0" fmla="*/ 11 w 106"/>
              <a:gd name="T1" fmla="*/ 0 h 97"/>
              <a:gd name="T2" fmla="*/ 1 w 106"/>
              <a:gd name="T3" fmla="*/ 6 h 97"/>
              <a:gd name="T4" fmla="*/ 0 w 106"/>
              <a:gd name="T5" fmla="*/ 18 h 97"/>
              <a:gd name="T6" fmla="*/ 64 w 106"/>
              <a:gd name="T7" fmla="*/ 97 h 97"/>
              <a:gd name="T8" fmla="*/ 106 w 106"/>
              <a:gd name="T9" fmla="*/ 76 h 97"/>
              <a:gd name="T10" fmla="*/ 11 w 106"/>
              <a:gd name="T11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" h="97">
                <a:moveTo>
                  <a:pt x="11" y="0"/>
                </a:moveTo>
                <a:cubicBezTo>
                  <a:pt x="1" y="6"/>
                  <a:pt x="1" y="6"/>
                  <a:pt x="1" y="6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8"/>
                  <a:pt x="44" y="58"/>
                  <a:pt x="64" y="97"/>
                </a:cubicBezTo>
                <a:cubicBezTo>
                  <a:pt x="64" y="97"/>
                  <a:pt x="91" y="97"/>
                  <a:pt x="106" y="76"/>
                </a:cubicBezTo>
                <a:cubicBezTo>
                  <a:pt x="106" y="76"/>
                  <a:pt x="43" y="39"/>
                  <a:pt x="11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0" name="íṣ1îḍè">
            <a:extLst>
              <a:ext uri="{FF2B5EF4-FFF2-40B4-BE49-F238E27FC236}">
                <a16:creationId xmlns:a16="http://schemas.microsoft.com/office/drawing/2014/main" id="{7AB78213-2BEB-4FDC-8F6E-1800598A493B}"/>
              </a:ext>
            </a:extLst>
          </p:cNvPr>
          <p:cNvSpPr/>
          <p:nvPr/>
        </p:nvSpPr>
        <p:spPr bwMode="auto">
          <a:xfrm>
            <a:off x="10697974" y="1329822"/>
            <a:ext cx="312437" cy="322356"/>
          </a:xfrm>
          <a:custGeom>
            <a:avLst/>
            <a:gdLst>
              <a:gd name="T0" fmla="*/ 13 w 99"/>
              <a:gd name="T1" fmla="*/ 0 h 103"/>
              <a:gd name="T2" fmla="*/ 0 w 99"/>
              <a:gd name="T3" fmla="*/ 35 h 103"/>
              <a:gd name="T4" fmla="*/ 94 w 99"/>
              <a:gd name="T5" fmla="*/ 103 h 103"/>
              <a:gd name="T6" fmla="*/ 98 w 99"/>
              <a:gd name="T7" fmla="*/ 100 h 103"/>
              <a:gd name="T8" fmla="*/ 99 w 99"/>
              <a:gd name="T9" fmla="*/ 85 h 103"/>
              <a:gd name="T10" fmla="*/ 39 w 99"/>
              <a:gd name="T11" fmla="*/ 35 h 103"/>
              <a:gd name="T12" fmla="*/ 13 w 99"/>
              <a:gd name="T13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9" h="103">
                <a:moveTo>
                  <a:pt x="13" y="0"/>
                </a:moveTo>
                <a:cubicBezTo>
                  <a:pt x="3" y="14"/>
                  <a:pt x="0" y="35"/>
                  <a:pt x="0" y="35"/>
                </a:cubicBezTo>
                <a:cubicBezTo>
                  <a:pt x="43" y="56"/>
                  <a:pt x="94" y="103"/>
                  <a:pt x="94" y="103"/>
                </a:cubicBezTo>
                <a:cubicBezTo>
                  <a:pt x="98" y="100"/>
                  <a:pt x="98" y="100"/>
                  <a:pt x="98" y="100"/>
                </a:cubicBezTo>
                <a:cubicBezTo>
                  <a:pt x="97" y="95"/>
                  <a:pt x="99" y="85"/>
                  <a:pt x="99" y="85"/>
                </a:cubicBezTo>
                <a:cubicBezTo>
                  <a:pt x="99" y="85"/>
                  <a:pt x="61" y="58"/>
                  <a:pt x="39" y="35"/>
                </a:cubicBezTo>
                <a:cubicBezTo>
                  <a:pt x="18" y="13"/>
                  <a:pt x="13" y="0"/>
                  <a:pt x="13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1" name="ïšļíḑè">
            <a:extLst>
              <a:ext uri="{FF2B5EF4-FFF2-40B4-BE49-F238E27FC236}">
                <a16:creationId xmlns:a16="http://schemas.microsoft.com/office/drawing/2014/main" id="{4499CEC2-1C31-45B7-9486-AD65D0C618BA}"/>
              </a:ext>
            </a:extLst>
          </p:cNvPr>
          <p:cNvSpPr/>
          <p:nvPr/>
        </p:nvSpPr>
        <p:spPr bwMode="auto">
          <a:xfrm>
            <a:off x="11129434" y="1746406"/>
            <a:ext cx="235568" cy="257886"/>
          </a:xfrm>
          <a:custGeom>
            <a:avLst/>
            <a:gdLst>
              <a:gd name="T0" fmla="*/ 0 w 75"/>
              <a:gd name="T1" fmla="*/ 4 h 82"/>
              <a:gd name="T2" fmla="*/ 63 w 75"/>
              <a:gd name="T3" fmla="*/ 82 h 82"/>
              <a:gd name="T4" fmla="*/ 75 w 75"/>
              <a:gd name="T5" fmla="*/ 81 h 82"/>
              <a:gd name="T6" fmla="*/ 0 w 75"/>
              <a:gd name="T7" fmla="*/ 0 h 82"/>
              <a:gd name="T8" fmla="*/ 0 w 75"/>
              <a:gd name="T9" fmla="*/ 4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" h="82">
                <a:moveTo>
                  <a:pt x="0" y="4"/>
                </a:moveTo>
                <a:cubicBezTo>
                  <a:pt x="0" y="4"/>
                  <a:pt x="52" y="56"/>
                  <a:pt x="63" y="82"/>
                </a:cubicBezTo>
                <a:cubicBezTo>
                  <a:pt x="63" y="82"/>
                  <a:pt x="72" y="82"/>
                  <a:pt x="75" y="81"/>
                </a:cubicBezTo>
                <a:cubicBezTo>
                  <a:pt x="75" y="81"/>
                  <a:pt x="31" y="23"/>
                  <a:pt x="0" y="0"/>
                </a:cubicBezTo>
                <a:lnTo>
                  <a:pt x="0" y="4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2" name="íṡľiḓè">
            <a:extLst>
              <a:ext uri="{FF2B5EF4-FFF2-40B4-BE49-F238E27FC236}">
                <a16:creationId xmlns:a16="http://schemas.microsoft.com/office/drawing/2014/main" id="{B5315844-5ACE-4A5F-8DD8-3146E336571D}"/>
              </a:ext>
            </a:extLst>
          </p:cNvPr>
          <p:cNvSpPr/>
          <p:nvPr/>
        </p:nvSpPr>
        <p:spPr bwMode="auto">
          <a:xfrm>
            <a:off x="10707892" y="1406691"/>
            <a:ext cx="287640" cy="233089"/>
          </a:xfrm>
          <a:custGeom>
            <a:avLst/>
            <a:gdLst>
              <a:gd name="T0" fmla="*/ 91 w 92"/>
              <a:gd name="T1" fmla="*/ 74 h 74"/>
              <a:gd name="T2" fmla="*/ 0 w 92"/>
              <a:gd name="T3" fmla="*/ 9 h 74"/>
              <a:gd name="T4" fmla="*/ 2 w 92"/>
              <a:gd name="T5" fmla="*/ 0 h 74"/>
              <a:gd name="T6" fmla="*/ 92 w 92"/>
              <a:gd name="T7" fmla="*/ 70 h 74"/>
              <a:gd name="T8" fmla="*/ 91 w 92"/>
              <a:gd name="T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" h="74">
                <a:moveTo>
                  <a:pt x="91" y="74"/>
                </a:moveTo>
                <a:cubicBezTo>
                  <a:pt x="91" y="74"/>
                  <a:pt x="40" y="28"/>
                  <a:pt x="0" y="9"/>
                </a:cubicBezTo>
                <a:cubicBezTo>
                  <a:pt x="0" y="9"/>
                  <a:pt x="1" y="2"/>
                  <a:pt x="2" y="0"/>
                </a:cubicBezTo>
                <a:cubicBezTo>
                  <a:pt x="2" y="0"/>
                  <a:pt x="69" y="46"/>
                  <a:pt x="92" y="70"/>
                </a:cubicBezTo>
                <a:lnTo>
                  <a:pt x="91" y="74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3" name="ïṡḷíďe">
            <a:extLst>
              <a:ext uri="{FF2B5EF4-FFF2-40B4-BE49-F238E27FC236}">
                <a16:creationId xmlns:a16="http://schemas.microsoft.com/office/drawing/2014/main" id="{CDD6ECDA-E564-4EE8-AF4A-20B72BEBE53C}"/>
              </a:ext>
            </a:extLst>
          </p:cNvPr>
          <p:cNvSpPr/>
          <p:nvPr/>
        </p:nvSpPr>
        <p:spPr bwMode="auto">
          <a:xfrm>
            <a:off x="9376313" y="2507664"/>
            <a:ext cx="76869" cy="114064"/>
          </a:xfrm>
          <a:custGeom>
            <a:avLst/>
            <a:gdLst>
              <a:gd name="T0" fmla="*/ 5 w 25"/>
              <a:gd name="T1" fmla="*/ 0 h 37"/>
              <a:gd name="T2" fmla="*/ 25 w 25"/>
              <a:gd name="T3" fmla="*/ 37 h 37"/>
              <a:gd name="T4" fmla="*/ 15 w 25"/>
              <a:gd name="T5" fmla="*/ 37 h 37"/>
              <a:gd name="T6" fmla="*/ 5 w 25"/>
              <a:gd name="T7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" h="37">
                <a:moveTo>
                  <a:pt x="5" y="0"/>
                </a:moveTo>
                <a:cubicBezTo>
                  <a:pt x="5" y="0"/>
                  <a:pt x="11" y="29"/>
                  <a:pt x="25" y="37"/>
                </a:cubicBezTo>
                <a:cubicBezTo>
                  <a:pt x="25" y="37"/>
                  <a:pt x="19" y="37"/>
                  <a:pt x="15" y="37"/>
                </a:cubicBezTo>
                <a:cubicBezTo>
                  <a:pt x="15" y="37"/>
                  <a:pt x="0" y="21"/>
                  <a:pt x="5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4" name="îṣlidè">
            <a:extLst>
              <a:ext uri="{FF2B5EF4-FFF2-40B4-BE49-F238E27FC236}">
                <a16:creationId xmlns:a16="http://schemas.microsoft.com/office/drawing/2014/main" id="{5637F926-64C5-4729-8BE3-ECDB18513429}"/>
              </a:ext>
            </a:extLst>
          </p:cNvPr>
          <p:cNvSpPr/>
          <p:nvPr/>
        </p:nvSpPr>
        <p:spPr bwMode="auto">
          <a:xfrm>
            <a:off x="9358955" y="2520062"/>
            <a:ext cx="416582" cy="215731"/>
          </a:xfrm>
          <a:custGeom>
            <a:avLst/>
            <a:gdLst>
              <a:gd name="T0" fmla="*/ 0 w 132"/>
              <a:gd name="T1" fmla="*/ 35 h 69"/>
              <a:gd name="T2" fmla="*/ 61 w 132"/>
              <a:gd name="T3" fmla="*/ 56 h 69"/>
              <a:gd name="T4" fmla="*/ 132 w 132"/>
              <a:gd name="T5" fmla="*/ 0 h 69"/>
              <a:gd name="T6" fmla="*/ 0 w 132"/>
              <a:gd name="T7" fmla="*/ 3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2" h="69">
                <a:moveTo>
                  <a:pt x="0" y="35"/>
                </a:moveTo>
                <a:cubicBezTo>
                  <a:pt x="0" y="35"/>
                  <a:pt x="17" y="63"/>
                  <a:pt x="61" y="56"/>
                </a:cubicBezTo>
                <a:cubicBezTo>
                  <a:pt x="106" y="49"/>
                  <a:pt x="132" y="0"/>
                  <a:pt x="132" y="0"/>
                </a:cubicBezTo>
                <a:cubicBezTo>
                  <a:pt x="132" y="0"/>
                  <a:pt x="85" y="69"/>
                  <a:pt x="0" y="35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5" name="i$ľïḋê">
            <a:extLst>
              <a:ext uri="{FF2B5EF4-FFF2-40B4-BE49-F238E27FC236}">
                <a16:creationId xmlns:a16="http://schemas.microsoft.com/office/drawing/2014/main" id="{3E289A0A-EEFE-4F6F-997A-C99B6C9CEFD6}"/>
              </a:ext>
            </a:extLst>
          </p:cNvPr>
          <p:cNvSpPr/>
          <p:nvPr/>
        </p:nvSpPr>
        <p:spPr bwMode="auto">
          <a:xfrm>
            <a:off x="9720986" y="2649004"/>
            <a:ext cx="12398" cy="1487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6" name="íślïḑe">
            <a:extLst>
              <a:ext uri="{FF2B5EF4-FFF2-40B4-BE49-F238E27FC236}">
                <a16:creationId xmlns:a16="http://schemas.microsoft.com/office/drawing/2014/main" id="{E576D0DA-0AA0-47CF-9FEF-9C56AD106FF6}"/>
              </a:ext>
            </a:extLst>
          </p:cNvPr>
          <p:cNvSpPr/>
          <p:nvPr/>
        </p:nvSpPr>
        <p:spPr bwMode="auto">
          <a:xfrm>
            <a:off x="9574686" y="2745710"/>
            <a:ext cx="14877" cy="1487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7" name="íšľîḓè">
            <a:extLst>
              <a:ext uri="{FF2B5EF4-FFF2-40B4-BE49-F238E27FC236}">
                <a16:creationId xmlns:a16="http://schemas.microsoft.com/office/drawing/2014/main" id="{18FF75AA-9A27-4B6B-844F-1C3AE548DDCC}"/>
              </a:ext>
            </a:extLst>
          </p:cNvPr>
          <p:cNvSpPr/>
          <p:nvPr/>
        </p:nvSpPr>
        <p:spPr bwMode="auto">
          <a:xfrm>
            <a:off x="9492857" y="2532461"/>
            <a:ext cx="295079" cy="218212"/>
          </a:xfrm>
          <a:custGeom>
            <a:avLst/>
            <a:gdLst>
              <a:gd name="T0" fmla="*/ 94 w 94"/>
              <a:gd name="T1" fmla="*/ 0 h 70"/>
              <a:gd name="T2" fmla="*/ 0 w 94"/>
              <a:gd name="T3" fmla="*/ 58 h 70"/>
              <a:gd name="T4" fmla="*/ 5 w 94"/>
              <a:gd name="T5" fmla="*/ 70 h 70"/>
              <a:gd name="T6" fmla="*/ 94 w 94"/>
              <a:gd name="T7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4" h="70">
                <a:moveTo>
                  <a:pt x="94" y="0"/>
                </a:moveTo>
                <a:cubicBezTo>
                  <a:pt x="94" y="0"/>
                  <a:pt x="61" y="65"/>
                  <a:pt x="0" y="58"/>
                </a:cubicBezTo>
                <a:cubicBezTo>
                  <a:pt x="5" y="70"/>
                  <a:pt x="5" y="70"/>
                  <a:pt x="5" y="70"/>
                </a:cubicBezTo>
                <a:cubicBezTo>
                  <a:pt x="5" y="70"/>
                  <a:pt x="77" y="68"/>
                  <a:pt x="94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8" name="îśḻïdé">
            <a:extLst>
              <a:ext uri="{FF2B5EF4-FFF2-40B4-BE49-F238E27FC236}">
                <a16:creationId xmlns:a16="http://schemas.microsoft.com/office/drawing/2014/main" id="{9BEA284E-BC05-47BA-8D5D-BAB523783BAD}"/>
              </a:ext>
            </a:extLst>
          </p:cNvPr>
          <p:cNvSpPr/>
          <p:nvPr/>
        </p:nvSpPr>
        <p:spPr bwMode="auto">
          <a:xfrm>
            <a:off x="10073097" y="1969575"/>
            <a:ext cx="61992" cy="66952"/>
          </a:xfrm>
          <a:custGeom>
            <a:avLst/>
            <a:gdLst>
              <a:gd name="T0" fmla="*/ 19 w 19"/>
              <a:gd name="T1" fmla="*/ 1 h 21"/>
              <a:gd name="T2" fmla="*/ 19 w 19"/>
              <a:gd name="T3" fmla="*/ 21 h 21"/>
              <a:gd name="T4" fmla="*/ 0 w 19"/>
              <a:gd name="T5" fmla="*/ 5 h 21"/>
              <a:gd name="T6" fmla="*/ 19 w 19"/>
              <a:gd name="T7" fmla="*/ 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19" y="1"/>
                </a:moveTo>
                <a:cubicBezTo>
                  <a:pt x="19" y="21"/>
                  <a:pt x="19" y="21"/>
                  <a:pt x="19" y="21"/>
                </a:cubicBezTo>
                <a:cubicBezTo>
                  <a:pt x="19" y="21"/>
                  <a:pt x="3" y="10"/>
                  <a:pt x="0" y="5"/>
                </a:cubicBezTo>
                <a:cubicBezTo>
                  <a:pt x="0" y="5"/>
                  <a:pt x="8" y="0"/>
                  <a:pt x="19" y="1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9" name="íšļiḓê">
            <a:extLst>
              <a:ext uri="{FF2B5EF4-FFF2-40B4-BE49-F238E27FC236}">
                <a16:creationId xmlns:a16="http://schemas.microsoft.com/office/drawing/2014/main" id="{BA9F611F-F027-4522-907F-561124BCD057}"/>
              </a:ext>
            </a:extLst>
          </p:cNvPr>
          <p:cNvSpPr/>
          <p:nvPr/>
        </p:nvSpPr>
        <p:spPr bwMode="auto">
          <a:xfrm>
            <a:off x="10286350" y="2021647"/>
            <a:ext cx="61992" cy="94227"/>
          </a:xfrm>
          <a:custGeom>
            <a:avLst/>
            <a:gdLst>
              <a:gd name="T0" fmla="*/ 0 w 20"/>
              <a:gd name="T1" fmla="*/ 0 h 30"/>
              <a:gd name="T2" fmla="*/ 0 w 20"/>
              <a:gd name="T3" fmla="*/ 23 h 30"/>
              <a:gd name="T4" fmla="*/ 18 w 20"/>
              <a:gd name="T5" fmla="*/ 26 h 30"/>
              <a:gd name="T6" fmla="*/ 0 w 20"/>
              <a:gd name="T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30">
                <a:moveTo>
                  <a:pt x="0" y="0"/>
                </a:moveTo>
                <a:cubicBezTo>
                  <a:pt x="0" y="23"/>
                  <a:pt x="0" y="23"/>
                  <a:pt x="0" y="23"/>
                </a:cubicBezTo>
                <a:cubicBezTo>
                  <a:pt x="0" y="23"/>
                  <a:pt x="15" y="30"/>
                  <a:pt x="18" y="26"/>
                </a:cubicBezTo>
                <a:cubicBezTo>
                  <a:pt x="20" y="23"/>
                  <a:pt x="2" y="0"/>
                  <a:pt x="0" y="0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0" name="iŝḷiḍè">
            <a:extLst>
              <a:ext uri="{FF2B5EF4-FFF2-40B4-BE49-F238E27FC236}">
                <a16:creationId xmlns:a16="http://schemas.microsoft.com/office/drawing/2014/main" id="{A7EB6A4B-AC52-458B-83FA-3F61AF1FD9B5}"/>
              </a:ext>
            </a:extLst>
          </p:cNvPr>
          <p:cNvSpPr/>
          <p:nvPr/>
        </p:nvSpPr>
        <p:spPr bwMode="auto">
          <a:xfrm>
            <a:off x="9859848" y="2167949"/>
            <a:ext cx="493454" cy="2985520"/>
          </a:xfrm>
          <a:custGeom>
            <a:avLst/>
            <a:gdLst>
              <a:gd name="T0" fmla="*/ 144 w 157"/>
              <a:gd name="T1" fmla="*/ 0 h 951"/>
              <a:gd name="T2" fmla="*/ 125 w 157"/>
              <a:gd name="T3" fmla="*/ 2 h 951"/>
              <a:gd name="T4" fmla="*/ 110 w 157"/>
              <a:gd name="T5" fmla="*/ 130 h 951"/>
              <a:gd name="T6" fmla="*/ 52 w 157"/>
              <a:gd name="T7" fmla="*/ 276 h 951"/>
              <a:gd name="T8" fmla="*/ 8 w 157"/>
              <a:gd name="T9" fmla="*/ 528 h 951"/>
              <a:gd name="T10" fmla="*/ 88 w 157"/>
              <a:gd name="T11" fmla="*/ 951 h 951"/>
              <a:gd name="T12" fmla="*/ 157 w 157"/>
              <a:gd name="T13" fmla="*/ 875 h 951"/>
              <a:gd name="T14" fmla="*/ 28 w 157"/>
              <a:gd name="T15" fmla="*/ 530 h 951"/>
              <a:gd name="T16" fmla="*/ 57 w 157"/>
              <a:gd name="T17" fmla="*/ 286 h 951"/>
              <a:gd name="T18" fmla="*/ 128 w 157"/>
              <a:gd name="T19" fmla="*/ 145 h 951"/>
              <a:gd name="T20" fmla="*/ 144 w 157"/>
              <a:gd name="T21" fmla="*/ 0 h 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7" h="951">
                <a:moveTo>
                  <a:pt x="144" y="0"/>
                </a:moveTo>
                <a:cubicBezTo>
                  <a:pt x="144" y="0"/>
                  <a:pt x="132" y="4"/>
                  <a:pt x="125" y="2"/>
                </a:cubicBezTo>
                <a:cubicBezTo>
                  <a:pt x="125" y="2"/>
                  <a:pt x="119" y="102"/>
                  <a:pt x="110" y="130"/>
                </a:cubicBezTo>
                <a:cubicBezTo>
                  <a:pt x="101" y="158"/>
                  <a:pt x="66" y="254"/>
                  <a:pt x="52" y="276"/>
                </a:cubicBezTo>
                <a:cubicBezTo>
                  <a:pt x="52" y="276"/>
                  <a:pt x="15" y="369"/>
                  <a:pt x="8" y="528"/>
                </a:cubicBezTo>
                <a:cubicBezTo>
                  <a:pt x="0" y="687"/>
                  <a:pt x="19" y="880"/>
                  <a:pt x="88" y="951"/>
                </a:cubicBezTo>
                <a:cubicBezTo>
                  <a:pt x="88" y="951"/>
                  <a:pt x="127" y="941"/>
                  <a:pt x="157" y="875"/>
                </a:cubicBezTo>
                <a:cubicBezTo>
                  <a:pt x="157" y="875"/>
                  <a:pt x="27" y="701"/>
                  <a:pt x="28" y="530"/>
                </a:cubicBezTo>
                <a:cubicBezTo>
                  <a:pt x="28" y="530"/>
                  <a:pt x="34" y="362"/>
                  <a:pt x="57" y="286"/>
                </a:cubicBezTo>
                <a:cubicBezTo>
                  <a:pt x="128" y="145"/>
                  <a:pt x="128" y="145"/>
                  <a:pt x="128" y="145"/>
                </a:cubicBezTo>
                <a:lnTo>
                  <a:pt x="144" y="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1" name="ïṩ1îḓè">
            <a:extLst>
              <a:ext uri="{FF2B5EF4-FFF2-40B4-BE49-F238E27FC236}">
                <a16:creationId xmlns:a16="http://schemas.microsoft.com/office/drawing/2014/main" id="{5F646006-4BA4-4980-980E-FB88B4525F28}"/>
              </a:ext>
            </a:extLst>
          </p:cNvPr>
          <p:cNvSpPr/>
          <p:nvPr/>
        </p:nvSpPr>
        <p:spPr bwMode="auto">
          <a:xfrm>
            <a:off x="9720986" y="3006077"/>
            <a:ext cx="47113" cy="86789"/>
          </a:xfrm>
          <a:custGeom>
            <a:avLst/>
            <a:gdLst>
              <a:gd name="T0" fmla="*/ 4 w 15"/>
              <a:gd name="T1" fmla="*/ 10 h 28"/>
              <a:gd name="T2" fmla="*/ 0 w 15"/>
              <a:gd name="T3" fmla="*/ 28 h 28"/>
              <a:gd name="T4" fmla="*/ 9 w 15"/>
              <a:gd name="T5" fmla="*/ 22 h 28"/>
              <a:gd name="T6" fmla="*/ 15 w 15"/>
              <a:gd name="T7" fmla="*/ 0 h 28"/>
              <a:gd name="T8" fmla="*/ 4 w 15"/>
              <a:gd name="T9" fmla="*/ 1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28">
                <a:moveTo>
                  <a:pt x="4" y="10"/>
                </a:moveTo>
                <a:cubicBezTo>
                  <a:pt x="4" y="10"/>
                  <a:pt x="6" y="21"/>
                  <a:pt x="0" y="28"/>
                </a:cubicBezTo>
                <a:cubicBezTo>
                  <a:pt x="9" y="22"/>
                  <a:pt x="9" y="22"/>
                  <a:pt x="9" y="22"/>
                </a:cubicBezTo>
                <a:cubicBezTo>
                  <a:pt x="15" y="0"/>
                  <a:pt x="15" y="0"/>
                  <a:pt x="15" y="0"/>
                </a:cubicBezTo>
                <a:lnTo>
                  <a:pt x="4" y="10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2" name="iSḷîḋe">
            <a:extLst>
              <a:ext uri="{FF2B5EF4-FFF2-40B4-BE49-F238E27FC236}">
                <a16:creationId xmlns:a16="http://schemas.microsoft.com/office/drawing/2014/main" id="{73C53012-EE20-4B81-8D60-1019EB79DF7B}"/>
              </a:ext>
            </a:extLst>
          </p:cNvPr>
          <p:cNvSpPr/>
          <p:nvPr/>
        </p:nvSpPr>
        <p:spPr bwMode="auto">
          <a:xfrm>
            <a:off x="9629240" y="3092866"/>
            <a:ext cx="146300" cy="600079"/>
          </a:xfrm>
          <a:custGeom>
            <a:avLst/>
            <a:gdLst>
              <a:gd name="T0" fmla="*/ 20 w 46"/>
              <a:gd name="T1" fmla="*/ 13 h 191"/>
              <a:gd name="T2" fmla="*/ 36 w 46"/>
              <a:gd name="T3" fmla="*/ 0 h 191"/>
              <a:gd name="T4" fmla="*/ 41 w 46"/>
              <a:gd name="T5" fmla="*/ 60 h 191"/>
              <a:gd name="T6" fmla="*/ 29 w 46"/>
              <a:gd name="T7" fmla="*/ 155 h 191"/>
              <a:gd name="T8" fmla="*/ 9 w 46"/>
              <a:gd name="T9" fmla="*/ 191 h 191"/>
              <a:gd name="T10" fmla="*/ 0 w 46"/>
              <a:gd name="T11" fmla="*/ 174 h 191"/>
              <a:gd name="T12" fmla="*/ 20 w 46"/>
              <a:gd name="T13" fmla="*/ 13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191">
                <a:moveTo>
                  <a:pt x="20" y="13"/>
                </a:moveTo>
                <a:cubicBezTo>
                  <a:pt x="36" y="0"/>
                  <a:pt x="36" y="0"/>
                  <a:pt x="36" y="0"/>
                </a:cubicBezTo>
                <a:cubicBezTo>
                  <a:pt x="41" y="60"/>
                  <a:pt x="41" y="60"/>
                  <a:pt x="41" y="60"/>
                </a:cubicBezTo>
                <a:cubicBezTo>
                  <a:pt x="41" y="60"/>
                  <a:pt x="29" y="134"/>
                  <a:pt x="29" y="155"/>
                </a:cubicBezTo>
                <a:cubicBezTo>
                  <a:pt x="9" y="191"/>
                  <a:pt x="9" y="191"/>
                  <a:pt x="9" y="191"/>
                </a:cubicBezTo>
                <a:cubicBezTo>
                  <a:pt x="0" y="174"/>
                  <a:pt x="0" y="174"/>
                  <a:pt x="0" y="174"/>
                </a:cubicBezTo>
                <a:cubicBezTo>
                  <a:pt x="0" y="174"/>
                  <a:pt x="46" y="83"/>
                  <a:pt x="20" y="13"/>
                </a:cubicBezTo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3" name="îSḷïḑê">
            <a:extLst>
              <a:ext uri="{FF2B5EF4-FFF2-40B4-BE49-F238E27FC236}">
                <a16:creationId xmlns:a16="http://schemas.microsoft.com/office/drawing/2014/main" id="{D4525B20-9CFC-4C65-9B9C-872B64460AD9}"/>
              </a:ext>
            </a:extLst>
          </p:cNvPr>
          <p:cNvSpPr/>
          <p:nvPr/>
        </p:nvSpPr>
        <p:spPr bwMode="auto">
          <a:xfrm>
            <a:off x="8917576" y="4218633"/>
            <a:ext cx="309958" cy="523210"/>
          </a:xfrm>
          <a:custGeom>
            <a:avLst/>
            <a:gdLst>
              <a:gd name="T0" fmla="*/ 98 w 98"/>
              <a:gd name="T1" fmla="*/ 0 h 167"/>
              <a:gd name="T2" fmla="*/ 30 w 98"/>
              <a:gd name="T3" fmla="*/ 70 h 167"/>
              <a:gd name="T4" fmla="*/ 24 w 98"/>
              <a:gd name="T5" fmla="*/ 167 h 167"/>
              <a:gd name="T6" fmla="*/ 34 w 98"/>
              <a:gd name="T7" fmla="*/ 103 h 167"/>
              <a:gd name="T8" fmla="*/ 98 w 98"/>
              <a:gd name="T9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8" h="167">
                <a:moveTo>
                  <a:pt x="98" y="0"/>
                </a:moveTo>
                <a:cubicBezTo>
                  <a:pt x="98" y="0"/>
                  <a:pt x="46" y="50"/>
                  <a:pt x="30" y="70"/>
                </a:cubicBezTo>
                <a:cubicBezTo>
                  <a:pt x="15" y="91"/>
                  <a:pt x="0" y="131"/>
                  <a:pt x="24" y="167"/>
                </a:cubicBezTo>
                <a:cubicBezTo>
                  <a:pt x="24" y="167"/>
                  <a:pt x="18" y="141"/>
                  <a:pt x="34" y="103"/>
                </a:cubicBezTo>
                <a:cubicBezTo>
                  <a:pt x="51" y="65"/>
                  <a:pt x="94" y="9"/>
                  <a:pt x="98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4" name="îSlîḑè">
            <a:extLst>
              <a:ext uri="{FF2B5EF4-FFF2-40B4-BE49-F238E27FC236}">
                <a16:creationId xmlns:a16="http://schemas.microsoft.com/office/drawing/2014/main" id="{2B0D34C7-1C62-41AA-BB39-F30D39DF0F89}"/>
              </a:ext>
            </a:extLst>
          </p:cNvPr>
          <p:cNvSpPr/>
          <p:nvPr/>
        </p:nvSpPr>
        <p:spPr bwMode="auto">
          <a:xfrm>
            <a:off x="8815910" y="3556562"/>
            <a:ext cx="689345" cy="275244"/>
          </a:xfrm>
          <a:custGeom>
            <a:avLst/>
            <a:gdLst>
              <a:gd name="T0" fmla="*/ 0 w 219"/>
              <a:gd name="T1" fmla="*/ 51 h 88"/>
              <a:gd name="T2" fmla="*/ 40 w 219"/>
              <a:gd name="T3" fmla="*/ 22 h 88"/>
              <a:gd name="T4" fmla="*/ 46 w 219"/>
              <a:gd name="T5" fmla="*/ 37 h 88"/>
              <a:gd name="T6" fmla="*/ 149 w 219"/>
              <a:gd name="T7" fmla="*/ 67 h 88"/>
              <a:gd name="T8" fmla="*/ 219 w 219"/>
              <a:gd name="T9" fmla="*/ 0 h 88"/>
              <a:gd name="T10" fmla="*/ 154 w 219"/>
              <a:gd name="T11" fmla="*/ 88 h 88"/>
              <a:gd name="T12" fmla="*/ 27 w 219"/>
              <a:gd name="T13" fmla="*/ 44 h 88"/>
              <a:gd name="T14" fmla="*/ 0 w 219"/>
              <a:gd name="T15" fmla="*/ 5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9" h="88">
                <a:moveTo>
                  <a:pt x="0" y="51"/>
                </a:moveTo>
                <a:cubicBezTo>
                  <a:pt x="40" y="22"/>
                  <a:pt x="40" y="22"/>
                  <a:pt x="40" y="22"/>
                </a:cubicBezTo>
                <a:cubicBezTo>
                  <a:pt x="40" y="22"/>
                  <a:pt x="43" y="35"/>
                  <a:pt x="46" y="37"/>
                </a:cubicBezTo>
                <a:cubicBezTo>
                  <a:pt x="49" y="38"/>
                  <a:pt x="149" y="67"/>
                  <a:pt x="149" y="67"/>
                </a:cubicBezTo>
                <a:cubicBezTo>
                  <a:pt x="219" y="0"/>
                  <a:pt x="219" y="0"/>
                  <a:pt x="219" y="0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27" y="44"/>
                  <a:pt x="27" y="44"/>
                  <a:pt x="27" y="44"/>
                </a:cubicBezTo>
                <a:lnTo>
                  <a:pt x="0" y="51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5" name="iśļíḓê">
            <a:extLst>
              <a:ext uri="{FF2B5EF4-FFF2-40B4-BE49-F238E27FC236}">
                <a16:creationId xmlns:a16="http://schemas.microsoft.com/office/drawing/2014/main" id="{CB93A3B1-66B3-4AC9-B70D-030ABCCC5EF7}"/>
              </a:ext>
            </a:extLst>
          </p:cNvPr>
          <p:cNvSpPr/>
          <p:nvPr/>
        </p:nvSpPr>
        <p:spPr bwMode="auto">
          <a:xfrm>
            <a:off x="9919359" y="5230339"/>
            <a:ext cx="265325" cy="724063"/>
          </a:xfrm>
          <a:custGeom>
            <a:avLst/>
            <a:gdLst>
              <a:gd name="T0" fmla="*/ 0 w 84"/>
              <a:gd name="T1" fmla="*/ 18 h 231"/>
              <a:gd name="T2" fmla="*/ 53 w 84"/>
              <a:gd name="T3" fmla="*/ 0 h 231"/>
              <a:gd name="T4" fmla="*/ 65 w 84"/>
              <a:gd name="T5" fmla="*/ 104 h 231"/>
              <a:gd name="T6" fmla="*/ 84 w 84"/>
              <a:gd name="T7" fmla="*/ 128 h 231"/>
              <a:gd name="T8" fmla="*/ 52 w 84"/>
              <a:gd name="T9" fmla="*/ 231 h 231"/>
              <a:gd name="T10" fmla="*/ 69 w 84"/>
              <a:gd name="T11" fmla="*/ 134 h 231"/>
              <a:gd name="T12" fmla="*/ 53 w 84"/>
              <a:gd name="T13" fmla="*/ 112 h 231"/>
              <a:gd name="T14" fmla="*/ 44 w 84"/>
              <a:gd name="T15" fmla="*/ 25 h 231"/>
              <a:gd name="T16" fmla="*/ 3 w 84"/>
              <a:gd name="T17" fmla="*/ 34 h 231"/>
              <a:gd name="T18" fmla="*/ 0 w 84"/>
              <a:gd name="T19" fmla="*/ 1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4" h="231">
                <a:moveTo>
                  <a:pt x="0" y="18"/>
                </a:moveTo>
                <a:cubicBezTo>
                  <a:pt x="0" y="18"/>
                  <a:pt x="39" y="11"/>
                  <a:pt x="53" y="0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4" y="128"/>
                  <a:pt x="84" y="128"/>
                  <a:pt x="84" y="128"/>
                </a:cubicBezTo>
                <a:cubicBezTo>
                  <a:pt x="52" y="231"/>
                  <a:pt x="52" y="231"/>
                  <a:pt x="52" y="231"/>
                </a:cubicBezTo>
                <a:cubicBezTo>
                  <a:pt x="69" y="134"/>
                  <a:pt x="69" y="134"/>
                  <a:pt x="69" y="134"/>
                </a:cubicBezTo>
                <a:cubicBezTo>
                  <a:pt x="53" y="112"/>
                  <a:pt x="53" y="112"/>
                  <a:pt x="53" y="112"/>
                </a:cubicBezTo>
                <a:cubicBezTo>
                  <a:pt x="44" y="25"/>
                  <a:pt x="44" y="25"/>
                  <a:pt x="44" y="25"/>
                </a:cubicBezTo>
                <a:cubicBezTo>
                  <a:pt x="44" y="25"/>
                  <a:pt x="22" y="34"/>
                  <a:pt x="3" y="34"/>
                </a:cubicBezTo>
                <a:lnTo>
                  <a:pt x="0" y="18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6" name="íSľiḓè">
            <a:extLst>
              <a:ext uri="{FF2B5EF4-FFF2-40B4-BE49-F238E27FC236}">
                <a16:creationId xmlns:a16="http://schemas.microsoft.com/office/drawing/2014/main" id="{53504AE1-D403-4F11-9590-B7219EC3234E}"/>
              </a:ext>
            </a:extLst>
          </p:cNvPr>
          <p:cNvSpPr/>
          <p:nvPr/>
        </p:nvSpPr>
        <p:spPr bwMode="auto">
          <a:xfrm>
            <a:off x="9294484" y="3945871"/>
            <a:ext cx="329795" cy="490974"/>
          </a:xfrm>
          <a:custGeom>
            <a:avLst/>
            <a:gdLst>
              <a:gd name="T0" fmla="*/ 0 w 133"/>
              <a:gd name="T1" fmla="*/ 198 h 198"/>
              <a:gd name="T2" fmla="*/ 129 w 133"/>
              <a:gd name="T3" fmla="*/ 0 h 198"/>
              <a:gd name="T4" fmla="*/ 133 w 133"/>
              <a:gd name="T5" fmla="*/ 26 h 198"/>
              <a:gd name="T6" fmla="*/ 0 w 133"/>
              <a:gd name="T7" fmla="*/ 198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3" h="198">
                <a:moveTo>
                  <a:pt x="0" y="198"/>
                </a:moveTo>
                <a:lnTo>
                  <a:pt x="129" y="0"/>
                </a:lnTo>
                <a:lnTo>
                  <a:pt x="133" y="26"/>
                </a:lnTo>
                <a:lnTo>
                  <a:pt x="0" y="198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" name="ísļíďe">
            <a:extLst>
              <a:ext uri="{FF2B5EF4-FFF2-40B4-BE49-F238E27FC236}">
                <a16:creationId xmlns:a16="http://schemas.microsoft.com/office/drawing/2014/main" id="{372A1C86-CD61-4B51-8766-9F8BF513BC53}"/>
              </a:ext>
            </a:extLst>
          </p:cNvPr>
          <p:cNvSpPr/>
          <p:nvPr/>
        </p:nvSpPr>
        <p:spPr bwMode="auto">
          <a:xfrm>
            <a:off x="1354225" y="2462301"/>
            <a:ext cx="6856775" cy="100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You can use the icon library in </a:t>
            </a:r>
            <a:r>
              <a:rPr lang="en-US" altLang="zh-CN" sz="1200" dirty="0" err="1"/>
              <a:t>iSlide</a:t>
            </a:r>
            <a:r>
              <a:rPr lang="en-US" altLang="zh-CN" sz="1200" dirty="0"/>
              <a:t>  (www.islide.cc) to filter and replace existing icon elements with one click.</a:t>
            </a:r>
          </a:p>
        </p:txBody>
      </p:sp>
      <p:sp>
        <p:nvSpPr>
          <p:cNvPr id="22" name="ïṣḷîḍé">
            <a:extLst>
              <a:ext uri="{FF2B5EF4-FFF2-40B4-BE49-F238E27FC236}">
                <a16:creationId xmlns:a16="http://schemas.microsoft.com/office/drawing/2014/main" id="{116D6F26-C733-44B8-AC0F-44918E97AE9F}"/>
              </a:ext>
            </a:extLst>
          </p:cNvPr>
          <p:cNvSpPr/>
          <p:nvPr/>
        </p:nvSpPr>
        <p:spPr>
          <a:xfrm>
            <a:off x="687400" y="2694532"/>
            <a:ext cx="535582" cy="535586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23" name="i$lïḓè">
            <a:extLst>
              <a:ext uri="{FF2B5EF4-FFF2-40B4-BE49-F238E27FC236}">
                <a16:creationId xmlns:a16="http://schemas.microsoft.com/office/drawing/2014/main" id="{AD4CD69B-609C-4167-905C-136CF9ACFD57}"/>
              </a:ext>
            </a:extLst>
          </p:cNvPr>
          <p:cNvSpPr/>
          <p:nvPr/>
        </p:nvSpPr>
        <p:spPr bwMode="auto">
          <a:xfrm>
            <a:off x="818643" y="2828439"/>
            <a:ext cx="273095" cy="267770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11" name="i$ḻïḍè">
            <a:extLst>
              <a:ext uri="{FF2B5EF4-FFF2-40B4-BE49-F238E27FC236}">
                <a16:creationId xmlns:a16="http://schemas.microsoft.com/office/drawing/2014/main" id="{27227D47-C6EC-47F1-99D0-D535367B11A2}"/>
              </a:ext>
            </a:extLst>
          </p:cNvPr>
          <p:cNvSpPr/>
          <p:nvPr/>
        </p:nvSpPr>
        <p:spPr bwMode="auto">
          <a:xfrm>
            <a:off x="1354225" y="3800650"/>
            <a:ext cx="6856775" cy="100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You can use the icon library in </a:t>
            </a:r>
            <a:r>
              <a:rPr lang="en-US" altLang="zh-CN" sz="1200" dirty="0" err="1"/>
              <a:t>iSlide</a:t>
            </a:r>
            <a:r>
              <a:rPr lang="en-US" altLang="zh-CN" sz="1200" dirty="0"/>
              <a:t>  (www.islide.cc) to filter and replace existing icon elements with one click.</a:t>
            </a:r>
          </a:p>
        </p:txBody>
      </p:sp>
      <p:sp>
        <p:nvSpPr>
          <p:cNvPr id="20" name="ïṥlïḋe">
            <a:extLst>
              <a:ext uri="{FF2B5EF4-FFF2-40B4-BE49-F238E27FC236}">
                <a16:creationId xmlns:a16="http://schemas.microsoft.com/office/drawing/2014/main" id="{EBE8A578-DDC5-4689-BE9C-9EACF985A6B4}"/>
              </a:ext>
            </a:extLst>
          </p:cNvPr>
          <p:cNvSpPr/>
          <p:nvPr/>
        </p:nvSpPr>
        <p:spPr>
          <a:xfrm>
            <a:off x="687400" y="4032881"/>
            <a:ext cx="535582" cy="535586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21" name="ïṩlíḑè">
            <a:extLst>
              <a:ext uri="{FF2B5EF4-FFF2-40B4-BE49-F238E27FC236}">
                <a16:creationId xmlns:a16="http://schemas.microsoft.com/office/drawing/2014/main" id="{125233C2-3F4F-4356-95AF-6A04DF210DB0}"/>
              </a:ext>
            </a:extLst>
          </p:cNvPr>
          <p:cNvSpPr/>
          <p:nvPr/>
        </p:nvSpPr>
        <p:spPr bwMode="auto">
          <a:xfrm>
            <a:off x="818643" y="4166788"/>
            <a:ext cx="273095" cy="267770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13" name="íS1iḓê">
            <a:extLst>
              <a:ext uri="{FF2B5EF4-FFF2-40B4-BE49-F238E27FC236}">
                <a16:creationId xmlns:a16="http://schemas.microsoft.com/office/drawing/2014/main" id="{5944D148-0AE3-4621-8800-0FA9C1D0E79B}"/>
              </a:ext>
            </a:extLst>
          </p:cNvPr>
          <p:cNvSpPr/>
          <p:nvPr/>
        </p:nvSpPr>
        <p:spPr bwMode="auto">
          <a:xfrm>
            <a:off x="1354225" y="5139000"/>
            <a:ext cx="6856775" cy="100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/>
              <a:t>You can use the icon library in </a:t>
            </a:r>
            <a:r>
              <a:rPr lang="en-US" altLang="zh-CN" sz="1200" dirty="0" err="1"/>
              <a:t>iSlide</a:t>
            </a:r>
            <a:r>
              <a:rPr lang="en-US" altLang="zh-CN" sz="1200" dirty="0"/>
              <a:t>  (www.islide.cc) to filter and replace existing icon elements with one click.</a:t>
            </a:r>
          </a:p>
        </p:txBody>
      </p:sp>
      <p:sp>
        <p:nvSpPr>
          <p:cNvPr id="18" name="îṣḻïḍè">
            <a:extLst>
              <a:ext uri="{FF2B5EF4-FFF2-40B4-BE49-F238E27FC236}">
                <a16:creationId xmlns:a16="http://schemas.microsoft.com/office/drawing/2014/main" id="{020BE5E3-39E3-40F0-88FD-DFF75DE32050}"/>
              </a:ext>
            </a:extLst>
          </p:cNvPr>
          <p:cNvSpPr/>
          <p:nvPr/>
        </p:nvSpPr>
        <p:spPr>
          <a:xfrm>
            <a:off x="687400" y="5371231"/>
            <a:ext cx="535582" cy="535586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19" name="îṥľidé">
            <a:extLst>
              <a:ext uri="{FF2B5EF4-FFF2-40B4-BE49-F238E27FC236}">
                <a16:creationId xmlns:a16="http://schemas.microsoft.com/office/drawing/2014/main" id="{6AE729DA-4D05-417D-B554-B65E69812397}"/>
              </a:ext>
            </a:extLst>
          </p:cNvPr>
          <p:cNvSpPr/>
          <p:nvPr/>
        </p:nvSpPr>
        <p:spPr bwMode="auto">
          <a:xfrm>
            <a:off x="818643" y="5505138"/>
            <a:ext cx="273095" cy="267770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A42A7630-86CD-42F5-99D0-7CE44CA098B4}"/>
              </a:ext>
            </a:extLst>
          </p:cNvPr>
          <p:cNvCxnSpPr/>
          <p:nvPr/>
        </p:nvCxnSpPr>
        <p:spPr>
          <a:xfrm>
            <a:off x="1596000" y="2300946"/>
            <a:ext cx="639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AF2082C8-C624-4F84-A964-A95F31041A36}"/>
              </a:ext>
            </a:extLst>
          </p:cNvPr>
          <p:cNvCxnSpPr/>
          <p:nvPr/>
        </p:nvCxnSpPr>
        <p:spPr>
          <a:xfrm>
            <a:off x="1596000" y="3624921"/>
            <a:ext cx="639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83CEE96C-FC92-4192-A9AC-9E803C00E0A0}"/>
              </a:ext>
            </a:extLst>
          </p:cNvPr>
          <p:cNvCxnSpPr/>
          <p:nvPr/>
        </p:nvCxnSpPr>
        <p:spPr>
          <a:xfrm>
            <a:off x="1596000" y="4948896"/>
            <a:ext cx="639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9933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809DD2B-1CEB-47B3-9B2B-D2DA5B368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80E6C8A-24D2-4674-B029-F0DD99954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F30871-504B-43F2-9BF4-69C79E140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6" name="í$líḓe">
            <a:extLst>
              <a:ext uri="{FF2B5EF4-FFF2-40B4-BE49-F238E27FC236}">
                <a16:creationId xmlns:a16="http://schemas.microsoft.com/office/drawing/2014/main" id="{3B046891-305C-4C5B-AB4E-53820A7A72C8}"/>
              </a:ext>
            </a:extLst>
          </p:cNvPr>
          <p:cNvSpPr/>
          <p:nvPr/>
        </p:nvSpPr>
        <p:spPr>
          <a:xfrm flipV="1">
            <a:off x="5911282" y="4783171"/>
            <a:ext cx="2" cy="419998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7" name="iṣľîde">
            <a:extLst>
              <a:ext uri="{FF2B5EF4-FFF2-40B4-BE49-F238E27FC236}">
                <a16:creationId xmlns:a16="http://schemas.microsoft.com/office/drawing/2014/main" id="{FAF0DD86-F6C0-4B11-AAC1-01083519E3B5}"/>
              </a:ext>
            </a:extLst>
          </p:cNvPr>
          <p:cNvSpPr/>
          <p:nvPr/>
        </p:nvSpPr>
        <p:spPr>
          <a:xfrm flipV="1">
            <a:off x="6280717" y="4783171"/>
            <a:ext cx="1" cy="419998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işḷíḋè">
            <a:extLst>
              <a:ext uri="{FF2B5EF4-FFF2-40B4-BE49-F238E27FC236}">
                <a16:creationId xmlns:a16="http://schemas.microsoft.com/office/drawing/2014/main" id="{413A61BA-93BA-4EB9-A5A5-781B2F162C77}"/>
              </a:ext>
            </a:extLst>
          </p:cNvPr>
          <p:cNvSpPr/>
          <p:nvPr/>
        </p:nvSpPr>
        <p:spPr>
          <a:xfrm>
            <a:off x="4643494" y="1711470"/>
            <a:ext cx="1273147" cy="30284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01" h="21600" extrusionOk="0">
                <a:moveTo>
                  <a:pt x="17601" y="20965"/>
                </a:moveTo>
                <a:cubicBezTo>
                  <a:pt x="11354" y="17842"/>
                  <a:pt x="4645" y="15099"/>
                  <a:pt x="1525" y="11296"/>
                </a:cubicBezTo>
                <a:cubicBezTo>
                  <a:pt x="-1899" y="7130"/>
                  <a:pt x="1046" y="4320"/>
                  <a:pt x="4438" y="2458"/>
                </a:cubicBezTo>
                <a:cubicBezTo>
                  <a:pt x="8134" y="426"/>
                  <a:pt x="15614" y="0"/>
                  <a:pt x="15614" y="0"/>
                </a:cubicBezTo>
                <a:cubicBezTo>
                  <a:pt x="15614" y="0"/>
                  <a:pt x="11403" y="2582"/>
                  <a:pt x="12972" y="6637"/>
                </a:cubicBezTo>
                <a:cubicBezTo>
                  <a:pt x="14538" y="10697"/>
                  <a:pt x="19330" y="18599"/>
                  <a:pt x="19701" y="21600"/>
                </a:cubicBezTo>
                <a:cubicBezTo>
                  <a:pt x="19701" y="21600"/>
                  <a:pt x="17601" y="20965"/>
                  <a:pt x="17601" y="20965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9" name="ïšļïḋè">
            <a:extLst>
              <a:ext uri="{FF2B5EF4-FFF2-40B4-BE49-F238E27FC236}">
                <a16:creationId xmlns:a16="http://schemas.microsoft.com/office/drawing/2014/main" id="{4322786E-4EF9-4C5E-98B5-634F74EF57D2}"/>
              </a:ext>
            </a:extLst>
          </p:cNvPr>
          <p:cNvSpPr/>
          <p:nvPr/>
        </p:nvSpPr>
        <p:spPr>
          <a:xfrm>
            <a:off x="6279097" y="1711470"/>
            <a:ext cx="1269409" cy="30285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96" h="21600" extrusionOk="0">
                <a:moveTo>
                  <a:pt x="2121" y="20966"/>
                </a:moveTo>
                <a:cubicBezTo>
                  <a:pt x="8320" y="17198"/>
                  <a:pt x="15070" y="15084"/>
                  <a:pt x="18181" y="11277"/>
                </a:cubicBezTo>
                <a:cubicBezTo>
                  <a:pt x="21600" y="7109"/>
                  <a:pt x="18630" y="4304"/>
                  <a:pt x="15211" y="2446"/>
                </a:cubicBezTo>
                <a:cubicBezTo>
                  <a:pt x="11496" y="415"/>
                  <a:pt x="3996" y="0"/>
                  <a:pt x="3996" y="0"/>
                </a:cubicBezTo>
                <a:cubicBezTo>
                  <a:pt x="3996" y="0"/>
                  <a:pt x="8235" y="2574"/>
                  <a:pt x="6674" y="6633"/>
                </a:cubicBezTo>
                <a:cubicBezTo>
                  <a:pt x="5124" y="10692"/>
                  <a:pt x="367" y="18600"/>
                  <a:pt x="0" y="21600"/>
                </a:cubicBezTo>
                <a:cubicBezTo>
                  <a:pt x="0" y="21600"/>
                  <a:pt x="2121" y="20966"/>
                  <a:pt x="2121" y="20966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0" name="ïSḻïḓé">
            <a:extLst>
              <a:ext uri="{FF2B5EF4-FFF2-40B4-BE49-F238E27FC236}">
                <a16:creationId xmlns:a16="http://schemas.microsoft.com/office/drawing/2014/main" id="{2B0D2DA5-21AD-4BB0-A550-D04BAE35EDB7}"/>
              </a:ext>
            </a:extLst>
          </p:cNvPr>
          <p:cNvSpPr/>
          <p:nvPr/>
        </p:nvSpPr>
        <p:spPr>
          <a:xfrm>
            <a:off x="4821276" y="1652193"/>
            <a:ext cx="1311065" cy="30720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664" h="21169" extrusionOk="0">
                <a:moveTo>
                  <a:pt x="13741" y="20957"/>
                </a:moveTo>
                <a:cubicBezTo>
                  <a:pt x="12251" y="18832"/>
                  <a:pt x="9452" y="17641"/>
                  <a:pt x="3815" y="12857"/>
                </a:cubicBezTo>
                <a:cubicBezTo>
                  <a:pt x="-3010" y="7068"/>
                  <a:pt x="549" y="2425"/>
                  <a:pt x="4980" y="1105"/>
                </a:cubicBezTo>
                <a:cubicBezTo>
                  <a:pt x="9422" y="-212"/>
                  <a:pt x="15471" y="14"/>
                  <a:pt x="15471" y="14"/>
                </a:cubicBezTo>
                <a:cubicBezTo>
                  <a:pt x="15471" y="14"/>
                  <a:pt x="18590" y="398"/>
                  <a:pt x="17389" y="3151"/>
                </a:cubicBezTo>
                <a:cubicBezTo>
                  <a:pt x="16188" y="5904"/>
                  <a:pt x="15909" y="16214"/>
                  <a:pt x="16118" y="18802"/>
                </a:cubicBezTo>
                <a:cubicBezTo>
                  <a:pt x="16326" y="21388"/>
                  <a:pt x="16896" y="21384"/>
                  <a:pt x="13741" y="20957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1" name="îṥļíḓê">
            <a:extLst>
              <a:ext uri="{FF2B5EF4-FFF2-40B4-BE49-F238E27FC236}">
                <a16:creationId xmlns:a16="http://schemas.microsoft.com/office/drawing/2014/main" id="{23A394BE-8C6D-42F0-87BE-0CB3671B2BCF}"/>
              </a:ext>
            </a:extLst>
          </p:cNvPr>
          <p:cNvSpPr/>
          <p:nvPr/>
        </p:nvSpPr>
        <p:spPr>
          <a:xfrm>
            <a:off x="5141286" y="1652193"/>
            <a:ext cx="982766" cy="30716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669" h="21163" extrusionOk="0">
                <a:moveTo>
                  <a:pt x="13755" y="20949"/>
                </a:moveTo>
                <a:cubicBezTo>
                  <a:pt x="12257" y="18826"/>
                  <a:pt x="9457" y="17635"/>
                  <a:pt x="3815" y="12851"/>
                </a:cubicBezTo>
                <a:cubicBezTo>
                  <a:pt x="-3008" y="7063"/>
                  <a:pt x="546" y="2418"/>
                  <a:pt x="4976" y="1101"/>
                </a:cubicBezTo>
                <a:cubicBezTo>
                  <a:pt x="9410" y="-216"/>
                  <a:pt x="15458" y="16"/>
                  <a:pt x="15458" y="16"/>
                </a:cubicBezTo>
                <a:cubicBezTo>
                  <a:pt x="15458" y="16"/>
                  <a:pt x="18592" y="396"/>
                  <a:pt x="17397" y="3149"/>
                </a:cubicBezTo>
                <a:cubicBezTo>
                  <a:pt x="16181" y="5902"/>
                  <a:pt x="15921" y="16212"/>
                  <a:pt x="16131" y="18795"/>
                </a:cubicBezTo>
                <a:cubicBezTo>
                  <a:pt x="16345" y="21384"/>
                  <a:pt x="16918" y="21379"/>
                  <a:pt x="13755" y="20949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52" name="îsḷiḓè">
            <a:extLst>
              <a:ext uri="{FF2B5EF4-FFF2-40B4-BE49-F238E27FC236}">
                <a16:creationId xmlns:a16="http://schemas.microsoft.com/office/drawing/2014/main" id="{3B24933E-05B0-45B3-80D0-1050A0C0B2EA}"/>
              </a:ext>
            </a:extLst>
          </p:cNvPr>
          <p:cNvSpPr/>
          <p:nvPr/>
        </p:nvSpPr>
        <p:spPr>
          <a:xfrm>
            <a:off x="6042054" y="1652193"/>
            <a:ext cx="1312589" cy="30721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655" h="21160" extrusionOk="0">
                <a:moveTo>
                  <a:pt x="4012" y="20946"/>
                </a:moveTo>
                <a:cubicBezTo>
                  <a:pt x="5488" y="18819"/>
                  <a:pt x="8279" y="17624"/>
                  <a:pt x="13884" y="12835"/>
                </a:cubicBezTo>
                <a:cubicBezTo>
                  <a:pt x="20660" y="7041"/>
                  <a:pt x="17087" y="2402"/>
                  <a:pt x="12655" y="1091"/>
                </a:cubicBezTo>
                <a:cubicBezTo>
                  <a:pt x="8228" y="-220"/>
                  <a:pt x="2184" y="17"/>
                  <a:pt x="2184" y="17"/>
                </a:cubicBezTo>
                <a:cubicBezTo>
                  <a:pt x="2184" y="17"/>
                  <a:pt x="-940" y="402"/>
                  <a:pt x="284" y="3152"/>
                </a:cubicBezTo>
                <a:cubicBezTo>
                  <a:pt x="1496" y="5902"/>
                  <a:pt x="1818" y="16207"/>
                  <a:pt x="1625" y="18791"/>
                </a:cubicBezTo>
                <a:cubicBezTo>
                  <a:pt x="1435" y="21380"/>
                  <a:pt x="863" y="21376"/>
                  <a:pt x="4012" y="20946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53" name="îSļïḓe">
            <a:extLst>
              <a:ext uri="{FF2B5EF4-FFF2-40B4-BE49-F238E27FC236}">
                <a16:creationId xmlns:a16="http://schemas.microsoft.com/office/drawing/2014/main" id="{DE4C2C84-A39E-4017-8B52-3F94583A2D37}"/>
              </a:ext>
            </a:extLst>
          </p:cNvPr>
          <p:cNvSpPr/>
          <p:nvPr/>
        </p:nvSpPr>
        <p:spPr>
          <a:xfrm>
            <a:off x="6053905" y="1652193"/>
            <a:ext cx="984266" cy="30720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665" h="21162" extrusionOk="0">
                <a:moveTo>
                  <a:pt x="4026" y="20949"/>
                </a:moveTo>
                <a:cubicBezTo>
                  <a:pt x="5511" y="18822"/>
                  <a:pt x="8296" y="17629"/>
                  <a:pt x="13898" y="12839"/>
                </a:cubicBezTo>
                <a:cubicBezTo>
                  <a:pt x="20672" y="7047"/>
                  <a:pt x="17093" y="2402"/>
                  <a:pt x="12661" y="1094"/>
                </a:cubicBezTo>
                <a:cubicBezTo>
                  <a:pt x="8225" y="-219"/>
                  <a:pt x="2179" y="16"/>
                  <a:pt x="2179" y="16"/>
                </a:cubicBezTo>
                <a:cubicBezTo>
                  <a:pt x="2179" y="16"/>
                  <a:pt x="-928" y="400"/>
                  <a:pt x="279" y="3152"/>
                </a:cubicBezTo>
                <a:cubicBezTo>
                  <a:pt x="1502" y="5902"/>
                  <a:pt x="1837" y="16209"/>
                  <a:pt x="1644" y="18795"/>
                </a:cubicBezTo>
                <a:cubicBezTo>
                  <a:pt x="1455" y="21381"/>
                  <a:pt x="888" y="21378"/>
                  <a:pt x="4026" y="20949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4" name="ïSľíḑê">
            <a:extLst>
              <a:ext uri="{FF2B5EF4-FFF2-40B4-BE49-F238E27FC236}">
                <a16:creationId xmlns:a16="http://schemas.microsoft.com/office/drawing/2014/main" id="{1ADEF865-8988-4677-9471-EEA307BD477A}"/>
              </a:ext>
            </a:extLst>
          </p:cNvPr>
          <p:cNvSpPr/>
          <p:nvPr/>
        </p:nvSpPr>
        <p:spPr>
          <a:xfrm>
            <a:off x="5603522" y="1616625"/>
            <a:ext cx="947846" cy="30571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4471" h="21515" extrusionOk="0">
                <a:moveTo>
                  <a:pt x="9728" y="21469"/>
                </a:moveTo>
                <a:cubicBezTo>
                  <a:pt x="10310" y="19892"/>
                  <a:pt x="11233" y="17468"/>
                  <a:pt x="12086" y="15424"/>
                </a:cubicBezTo>
                <a:cubicBezTo>
                  <a:pt x="13481" y="12077"/>
                  <a:pt x="17710" y="904"/>
                  <a:pt x="9814" y="67"/>
                </a:cubicBezTo>
                <a:cubicBezTo>
                  <a:pt x="7203" y="-85"/>
                  <a:pt x="5435" y="68"/>
                  <a:pt x="5435" y="68"/>
                </a:cubicBezTo>
                <a:cubicBezTo>
                  <a:pt x="-3890" y="509"/>
                  <a:pt x="1258" y="12084"/>
                  <a:pt x="2896" y="15429"/>
                </a:cubicBezTo>
                <a:cubicBezTo>
                  <a:pt x="3905" y="17492"/>
                  <a:pt x="4994" y="19940"/>
                  <a:pt x="5692" y="21515"/>
                </a:cubicBezTo>
                <a:cubicBezTo>
                  <a:pt x="5692" y="21515"/>
                  <a:pt x="9728" y="21469"/>
                  <a:pt x="9728" y="21469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5" name="ïŝḻïḍé">
            <a:extLst>
              <a:ext uri="{FF2B5EF4-FFF2-40B4-BE49-F238E27FC236}">
                <a16:creationId xmlns:a16="http://schemas.microsoft.com/office/drawing/2014/main" id="{098DA3A5-C473-4FDF-BF75-B07259485970}"/>
              </a:ext>
            </a:extLst>
          </p:cNvPr>
          <p:cNvSpPr/>
          <p:nvPr/>
        </p:nvSpPr>
        <p:spPr>
          <a:xfrm>
            <a:off x="5733896" y="4592306"/>
            <a:ext cx="722014" cy="2250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329" extrusionOk="0">
                <a:moveTo>
                  <a:pt x="4214" y="19485"/>
                </a:moveTo>
                <a:cubicBezTo>
                  <a:pt x="4214" y="19485"/>
                  <a:pt x="2040" y="10715"/>
                  <a:pt x="0" y="0"/>
                </a:cubicBezTo>
                <a:cubicBezTo>
                  <a:pt x="0" y="0"/>
                  <a:pt x="10050" y="4110"/>
                  <a:pt x="21600" y="478"/>
                </a:cubicBezTo>
                <a:cubicBezTo>
                  <a:pt x="21600" y="478"/>
                  <a:pt x="20240" y="11330"/>
                  <a:pt x="17964" y="19075"/>
                </a:cubicBezTo>
                <a:cubicBezTo>
                  <a:pt x="17964" y="19075"/>
                  <a:pt x="12258" y="21600"/>
                  <a:pt x="4214" y="19485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7" name="iSḻïdè">
            <a:extLst>
              <a:ext uri="{FF2B5EF4-FFF2-40B4-BE49-F238E27FC236}">
                <a16:creationId xmlns:a16="http://schemas.microsoft.com/office/drawing/2014/main" id="{923F9FAF-6CA0-4A36-9645-E3C232302745}"/>
              </a:ext>
            </a:extLst>
          </p:cNvPr>
          <p:cNvSpPr/>
          <p:nvPr/>
        </p:nvSpPr>
        <p:spPr>
          <a:xfrm>
            <a:off x="5622077" y="5203169"/>
            <a:ext cx="947846" cy="8599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 anchorCtr="1">
            <a:normAutofit/>
          </a:bodyPr>
          <a:lstStyle/>
          <a:p>
            <a:pPr algn="ctr"/>
            <a:r>
              <a:rPr lang="en-US" altLang="zh-CN" sz="1200" b="1" dirty="0"/>
              <a:t>Key words</a:t>
            </a:r>
            <a:endParaRPr lang="zh-CN" altLang="en-US" sz="1200" b="1" dirty="0"/>
          </a:p>
        </p:txBody>
      </p:sp>
      <p:sp>
        <p:nvSpPr>
          <p:cNvPr id="42" name="îŝliḓe">
            <a:extLst>
              <a:ext uri="{FF2B5EF4-FFF2-40B4-BE49-F238E27FC236}">
                <a16:creationId xmlns:a16="http://schemas.microsoft.com/office/drawing/2014/main" id="{D0D85B79-8B26-4F95-BA3D-23AC36A57BCA}"/>
              </a:ext>
            </a:extLst>
          </p:cNvPr>
          <p:cNvSpPr/>
          <p:nvPr/>
        </p:nvSpPr>
        <p:spPr bwMode="auto">
          <a:xfrm>
            <a:off x="1756133" y="178921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43" name="îṧ1ídè">
            <a:extLst>
              <a:ext uri="{FF2B5EF4-FFF2-40B4-BE49-F238E27FC236}">
                <a16:creationId xmlns:a16="http://schemas.microsoft.com/office/drawing/2014/main" id="{F6E0A88F-11B6-4334-947A-24AD330ABB1F}"/>
              </a:ext>
            </a:extLst>
          </p:cNvPr>
          <p:cNvSpPr txBox="1"/>
          <p:nvPr/>
        </p:nvSpPr>
        <p:spPr bwMode="auto">
          <a:xfrm>
            <a:off x="1756133" y="137633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44" name="ïşlîdé">
            <a:extLst>
              <a:ext uri="{FF2B5EF4-FFF2-40B4-BE49-F238E27FC236}">
                <a16:creationId xmlns:a16="http://schemas.microsoft.com/office/drawing/2014/main" id="{54771BC5-4D47-42D3-85C8-6124632A2F04}"/>
              </a:ext>
            </a:extLst>
          </p:cNvPr>
          <p:cNvSpPr/>
          <p:nvPr/>
        </p:nvSpPr>
        <p:spPr bwMode="auto">
          <a:xfrm>
            <a:off x="1117586" y="1529866"/>
            <a:ext cx="461080" cy="339517"/>
          </a:xfrm>
          <a:custGeom>
            <a:avLst/>
            <a:gdLst>
              <a:gd name="T0" fmla="*/ 3344 w 5590"/>
              <a:gd name="T1" fmla="*/ 549 h 4122"/>
              <a:gd name="T2" fmla="*/ 2246 w 5590"/>
              <a:gd name="T3" fmla="*/ 549 h 4122"/>
              <a:gd name="T4" fmla="*/ 2795 w 5590"/>
              <a:gd name="T5" fmla="*/ 240 h 4122"/>
              <a:gd name="T6" fmla="*/ 2795 w 5590"/>
              <a:gd name="T7" fmla="*/ 859 h 4122"/>
              <a:gd name="T8" fmla="*/ 2795 w 5590"/>
              <a:gd name="T9" fmla="*/ 240 h 4122"/>
              <a:gd name="T10" fmla="*/ 5470 w 5590"/>
              <a:gd name="T11" fmla="*/ 4122 h 4122"/>
              <a:gd name="T12" fmla="*/ 0 w 5590"/>
              <a:gd name="T13" fmla="*/ 4002 h 4122"/>
              <a:gd name="T14" fmla="*/ 5470 w 5590"/>
              <a:gd name="T15" fmla="*/ 3882 h 4122"/>
              <a:gd name="T16" fmla="*/ 917 w 5590"/>
              <a:gd name="T17" fmla="*/ 1194 h 4122"/>
              <a:gd name="T18" fmla="*/ 1144 w 5590"/>
              <a:gd name="T19" fmla="*/ 1115 h 4122"/>
              <a:gd name="T20" fmla="*/ 4344 w 5590"/>
              <a:gd name="T21" fmla="*/ 1411 h 4122"/>
              <a:gd name="T22" fmla="*/ 4599 w 5590"/>
              <a:gd name="T23" fmla="*/ 1041 h 4122"/>
              <a:gd name="T24" fmla="*/ 4544 w 5590"/>
              <a:gd name="T25" fmla="*/ 1568 h 4122"/>
              <a:gd name="T26" fmla="*/ 4487 w 5590"/>
              <a:gd name="T27" fmla="*/ 1637 h 4122"/>
              <a:gd name="T28" fmla="*/ 4429 w 5590"/>
              <a:gd name="T29" fmla="*/ 1651 h 4122"/>
              <a:gd name="T30" fmla="*/ 1165 w 5590"/>
              <a:gd name="T31" fmla="*/ 1651 h 4122"/>
              <a:gd name="T32" fmla="*/ 1106 w 5590"/>
              <a:gd name="T33" fmla="*/ 1638 h 4122"/>
              <a:gd name="T34" fmla="*/ 1054 w 5590"/>
              <a:gd name="T35" fmla="*/ 1585 h 4122"/>
              <a:gd name="T36" fmla="*/ 917 w 5590"/>
              <a:gd name="T37" fmla="*/ 1194 h 4122"/>
              <a:gd name="T38" fmla="*/ 1539 w 5590"/>
              <a:gd name="T39" fmla="*/ 3355 h 4122"/>
              <a:gd name="T40" fmla="*/ 2675 w 5590"/>
              <a:gd name="T41" fmla="*/ 1947 h 4122"/>
              <a:gd name="T42" fmla="*/ 2915 w 5590"/>
              <a:gd name="T43" fmla="*/ 1947 h 4122"/>
              <a:gd name="T44" fmla="*/ 4051 w 5590"/>
              <a:gd name="T45" fmla="*/ 3355 h 4122"/>
              <a:gd name="T46" fmla="*/ 3301 w 5590"/>
              <a:gd name="T47" fmla="*/ 3198 h 4122"/>
              <a:gd name="T48" fmla="*/ 3301 w 5590"/>
              <a:gd name="T49" fmla="*/ 2958 h 4122"/>
              <a:gd name="T50" fmla="*/ 4104 w 5590"/>
              <a:gd name="T51" fmla="*/ 2960 h 4122"/>
              <a:gd name="T52" fmla="*/ 4187 w 5590"/>
              <a:gd name="T53" fmla="*/ 3019 h 4122"/>
              <a:gd name="T54" fmla="*/ 4332 w 5590"/>
              <a:gd name="T55" fmla="*/ 3433 h 4122"/>
              <a:gd name="T56" fmla="*/ 4338 w 5590"/>
              <a:gd name="T57" fmla="*/ 3497 h 4122"/>
              <a:gd name="T58" fmla="*/ 4279 w 5590"/>
              <a:gd name="T59" fmla="*/ 3580 h 4122"/>
              <a:gd name="T60" fmla="*/ 4217 w 5590"/>
              <a:gd name="T61" fmla="*/ 3595 h 4122"/>
              <a:gd name="T62" fmla="*/ 2793 w 5590"/>
              <a:gd name="T63" fmla="*/ 3595 h 4122"/>
              <a:gd name="T64" fmla="*/ 1370 w 5590"/>
              <a:gd name="T65" fmla="*/ 3595 h 4122"/>
              <a:gd name="T66" fmla="*/ 1250 w 5590"/>
              <a:gd name="T67" fmla="*/ 3475 h 4122"/>
              <a:gd name="T68" fmla="*/ 1393 w 5590"/>
              <a:gd name="T69" fmla="*/ 3041 h 4122"/>
              <a:gd name="T70" fmla="*/ 1438 w 5590"/>
              <a:gd name="T71" fmla="*/ 2980 h 4122"/>
              <a:gd name="T72" fmla="*/ 1510 w 5590"/>
              <a:gd name="T73" fmla="*/ 2958 h 4122"/>
              <a:gd name="T74" fmla="*/ 2409 w 5590"/>
              <a:gd name="T75" fmla="*/ 3078 h 4122"/>
              <a:gd name="T76" fmla="*/ 1593 w 5590"/>
              <a:gd name="T77" fmla="*/ 3198 h 4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90" h="4122">
                <a:moveTo>
                  <a:pt x="2795" y="1099"/>
                </a:moveTo>
                <a:cubicBezTo>
                  <a:pt x="3098" y="1099"/>
                  <a:pt x="3344" y="852"/>
                  <a:pt x="3344" y="549"/>
                </a:cubicBezTo>
                <a:cubicBezTo>
                  <a:pt x="3344" y="246"/>
                  <a:pt x="3098" y="0"/>
                  <a:pt x="2795" y="0"/>
                </a:cubicBezTo>
                <a:cubicBezTo>
                  <a:pt x="2492" y="0"/>
                  <a:pt x="2246" y="246"/>
                  <a:pt x="2246" y="549"/>
                </a:cubicBezTo>
                <a:cubicBezTo>
                  <a:pt x="2246" y="852"/>
                  <a:pt x="2492" y="1099"/>
                  <a:pt x="2795" y="1099"/>
                </a:cubicBezTo>
                <a:close/>
                <a:moveTo>
                  <a:pt x="2795" y="240"/>
                </a:moveTo>
                <a:cubicBezTo>
                  <a:pt x="2966" y="240"/>
                  <a:pt x="3104" y="379"/>
                  <a:pt x="3104" y="549"/>
                </a:cubicBezTo>
                <a:cubicBezTo>
                  <a:pt x="3104" y="720"/>
                  <a:pt x="2966" y="859"/>
                  <a:pt x="2795" y="859"/>
                </a:cubicBezTo>
                <a:cubicBezTo>
                  <a:pt x="2624" y="859"/>
                  <a:pt x="2486" y="720"/>
                  <a:pt x="2486" y="549"/>
                </a:cubicBezTo>
                <a:cubicBezTo>
                  <a:pt x="2486" y="379"/>
                  <a:pt x="2625" y="240"/>
                  <a:pt x="2795" y="240"/>
                </a:cubicBezTo>
                <a:close/>
                <a:moveTo>
                  <a:pt x="5590" y="4002"/>
                </a:moveTo>
                <a:cubicBezTo>
                  <a:pt x="5590" y="4068"/>
                  <a:pt x="5536" y="4122"/>
                  <a:pt x="5470" y="4122"/>
                </a:cubicBezTo>
                <a:lnTo>
                  <a:pt x="120" y="4122"/>
                </a:lnTo>
                <a:cubicBezTo>
                  <a:pt x="54" y="4122"/>
                  <a:pt x="0" y="4068"/>
                  <a:pt x="0" y="4002"/>
                </a:cubicBezTo>
                <a:cubicBezTo>
                  <a:pt x="0" y="3936"/>
                  <a:pt x="54" y="3882"/>
                  <a:pt x="120" y="3882"/>
                </a:cubicBezTo>
                <a:lnTo>
                  <a:pt x="5470" y="3882"/>
                </a:lnTo>
                <a:cubicBezTo>
                  <a:pt x="5536" y="3882"/>
                  <a:pt x="5590" y="3936"/>
                  <a:pt x="5590" y="4002"/>
                </a:cubicBezTo>
                <a:close/>
                <a:moveTo>
                  <a:pt x="917" y="1194"/>
                </a:moveTo>
                <a:cubicBezTo>
                  <a:pt x="896" y="1131"/>
                  <a:pt x="929" y="1063"/>
                  <a:pt x="992" y="1041"/>
                </a:cubicBezTo>
                <a:cubicBezTo>
                  <a:pt x="1054" y="1020"/>
                  <a:pt x="1123" y="1053"/>
                  <a:pt x="1144" y="1115"/>
                </a:cubicBezTo>
                <a:lnTo>
                  <a:pt x="1246" y="1411"/>
                </a:lnTo>
                <a:lnTo>
                  <a:pt x="4344" y="1411"/>
                </a:lnTo>
                <a:lnTo>
                  <a:pt x="4446" y="1115"/>
                </a:lnTo>
                <a:cubicBezTo>
                  <a:pt x="4468" y="1053"/>
                  <a:pt x="4536" y="1020"/>
                  <a:pt x="4599" y="1041"/>
                </a:cubicBezTo>
                <a:cubicBezTo>
                  <a:pt x="4661" y="1063"/>
                  <a:pt x="4694" y="1131"/>
                  <a:pt x="4673" y="1194"/>
                </a:cubicBezTo>
                <a:lnTo>
                  <a:pt x="4544" y="1568"/>
                </a:lnTo>
                <a:cubicBezTo>
                  <a:pt x="4542" y="1574"/>
                  <a:pt x="4539" y="1580"/>
                  <a:pt x="4536" y="1586"/>
                </a:cubicBezTo>
                <a:cubicBezTo>
                  <a:pt x="4525" y="1608"/>
                  <a:pt x="4508" y="1625"/>
                  <a:pt x="4487" y="1637"/>
                </a:cubicBezTo>
                <a:cubicBezTo>
                  <a:pt x="4480" y="1640"/>
                  <a:pt x="4473" y="1644"/>
                  <a:pt x="4465" y="1646"/>
                </a:cubicBezTo>
                <a:cubicBezTo>
                  <a:pt x="4454" y="1650"/>
                  <a:pt x="4442" y="1651"/>
                  <a:pt x="4429" y="1651"/>
                </a:cubicBezTo>
                <a:cubicBezTo>
                  <a:pt x="4428" y="1651"/>
                  <a:pt x="4427" y="1651"/>
                  <a:pt x="4426" y="1651"/>
                </a:cubicBezTo>
                <a:lnTo>
                  <a:pt x="1165" y="1651"/>
                </a:lnTo>
                <a:cubicBezTo>
                  <a:pt x="1150" y="1652"/>
                  <a:pt x="1136" y="1650"/>
                  <a:pt x="1123" y="1645"/>
                </a:cubicBezTo>
                <a:cubicBezTo>
                  <a:pt x="1117" y="1643"/>
                  <a:pt x="1112" y="1641"/>
                  <a:pt x="1106" y="1638"/>
                </a:cubicBezTo>
                <a:cubicBezTo>
                  <a:pt x="1106" y="1638"/>
                  <a:pt x="1106" y="1638"/>
                  <a:pt x="1106" y="1638"/>
                </a:cubicBezTo>
                <a:cubicBezTo>
                  <a:pt x="1084" y="1627"/>
                  <a:pt x="1065" y="1609"/>
                  <a:pt x="1054" y="1585"/>
                </a:cubicBezTo>
                <a:cubicBezTo>
                  <a:pt x="1051" y="1580"/>
                  <a:pt x="1048" y="1574"/>
                  <a:pt x="1047" y="1568"/>
                </a:cubicBezTo>
                <a:lnTo>
                  <a:pt x="917" y="1194"/>
                </a:lnTo>
                <a:close/>
                <a:moveTo>
                  <a:pt x="1593" y="3198"/>
                </a:moveTo>
                <a:lnTo>
                  <a:pt x="1539" y="3355"/>
                </a:lnTo>
                <a:lnTo>
                  <a:pt x="2675" y="3355"/>
                </a:lnTo>
                <a:lnTo>
                  <a:pt x="2675" y="1947"/>
                </a:lnTo>
                <a:cubicBezTo>
                  <a:pt x="2675" y="1881"/>
                  <a:pt x="2729" y="1827"/>
                  <a:pt x="2795" y="1827"/>
                </a:cubicBezTo>
                <a:cubicBezTo>
                  <a:pt x="2861" y="1827"/>
                  <a:pt x="2915" y="1881"/>
                  <a:pt x="2915" y="1947"/>
                </a:cubicBezTo>
                <a:lnTo>
                  <a:pt x="2915" y="3355"/>
                </a:lnTo>
                <a:lnTo>
                  <a:pt x="4051" y="3355"/>
                </a:lnTo>
                <a:lnTo>
                  <a:pt x="3997" y="3198"/>
                </a:lnTo>
                <a:lnTo>
                  <a:pt x="3301" y="3198"/>
                </a:lnTo>
                <a:cubicBezTo>
                  <a:pt x="3235" y="3198"/>
                  <a:pt x="3181" y="3144"/>
                  <a:pt x="3181" y="3078"/>
                </a:cubicBezTo>
                <a:cubicBezTo>
                  <a:pt x="3181" y="3011"/>
                  <a:pt x="3235" y="2958"/>
                  <a:pt x="3301" y="2958"/>
                </a:cubicBezTo>
                <a:lnTo>
                  <a:pt x="4080" y="2958"/>
                </a:lnTo>
                <a:cubicBezTo>
                  <a:pt x="4088" y="2957"/>
                  <a:pt x="4096" y="2958"/>
                  <a:pt x="4104" y="2960"/>
                </a:cubicBezTo>
                <a:cubicBezTo>
                  <a:pt x="4122" y="2963"/>
                  <a:pt x="4138" y="2970"/>
                  <a:pt x="4151" y="2979"/>
                </a:cubicBezTo>
                <a:cubicBezTo>
                  <a:pt x="4166" y="2989"/>
                  <a:pt x="4178" y="3003"/>
                  <a:pt x="4187" y="3019"/>
                </a:cubicBezTo>
                <a:cubicBezTo>
                  <a:pt x="4191" y="3026"/>
                  <a:pt x="4194" y="3033"/>
                  <a:pt x="4197" y="3041"/>
                </a:cubicBezTo>
                <a:lnTo>
                  <a:pt x="4332" y="3433"/>
                </a:lnTo>
                <a:cubicBezTo>
                  <a:pt x="4335" y="3440"/>
                  <a:pt x="4337" y="3448"/>
                  <a:pt x="4338" y="3455"/>
                </a:cubicBezTo>
                <a:cubicBezTo>
                  <a:pt x="4340" y="3469"/>
                  <a:pt x="4340" y="3483"/>
                  <a:pt x="4338" y="3497"/>
                </a:cubicBezTo>
                <a:cubicBezTo>
                  <a:pt x="4335" y="3514"/>
                  <a:pt x="4327" y="3531"/>
                  <a:pt x="4317" y="3545"/>
                </a:cubicBezTo>
                <a:cubicBezTo>
                  <a:pt x="4307" y="3559"/>
                  <a:pt x="4294" y="3571"/>
                  <a:pt x="4279" y="3580"/>
                </a:cubicBezTo>
                <a:cubicBezTo>
                  <a:pt x="4267" y="3586"/>
                  <a:pt x="4253" y="3591"/>
                  <a:pt x="4239" y="3594"/>
                </a:cubicBezTo>
                <a:cubicBezTo>
                  <a:pt x="4232" y="3595"/>
                  <a:pt x="4224" y="3595"/>
                  <a:pt x="4217" y="3595"/>
                </a:cubicBezTo>
                <a:lnTo>
                  <a:pt x="2798" y="3595"/>
                </a:lnTo>
                <a:cubicBezTo>
                  <a:pt x="2796" y="3595"/>
                  <a:pt x="2794" y="3595"/>
                  <a:pt x="2793" y="3595"/>
                </a:cubicBezTo>
                <a:lnTo>
                  <a:pt x="1373" y="3595"/>
                </a:lnTo>
                <a:cubicBezTo>
                  <a:pt x="1372" y="3595"/>
                  <a:pt x="1371" y="3595"/>
                  <a:pt x="1370" y="3595"/>
                </a:cubicBezTo>
                <a:cubicBezTo>
                  <a:pt x="1365" y="3595"/>
                  <a:pt x="1359" y="3595"/>
                  <a:pt x="1354" y="3594"/>
                </a:cubicBezTo>
                <a:cubicBezTo>
                  <a:pt x="1295" y="3586"/>
                  <a:pt x="1250" y="3536"/>
                  <a:pt x="1250" y="3475"/>
                </a:cubicBezTo>
                <a:cubicBezTo>
                  <a:pt x="1250" y="3460"/>
                  <a:pt x="1253" y="3445"/>
                  <a:pt x="1258" y="3432"/>
                </a:cubicBezTo>
                <a:lnTo>
                  <a:pt x="1393" y="3041"/>
                </a:lnTo>
                <a:cubicBezTo>
                  <a:pt x="1396" y="3033"/>
                  <a:pt x="1399" y="3026"/>
                  <a:pt x="1403" y="3019"/>
                </a:cubicBezTo>
                <a:cubicBezTo>
                  <a:pt x="1412" y="3003"/>
                  <a:pt x="1424" y="2990"/>
                  <a:pt x="1438" y="2980"/>
                </a:cubicBezTo>
                <a:cubicBezTo>
                  <a:pt x="1452" y="2970"/>
                  <a:pt x="1468" y="2963"/>
                  <a:pt x="1486" y="2960"/>
                </a:cubicBezTo>
                <a:cubicBezTo>
                  <a:pt x="1494" y="2958"/>
                  <a:pt x="1502" y="2957"/>
                  <a:pt x="1510" y="2958"/>
                </a:cubicBezTo>
                <a:lnTo>
                  <a:pt x="2289" y="2958"/>
                </a:lnTo>
                <a:cubicBezTo>
                  <a:pt x="2355" y="2958"/>
                  <a:pt x="2409" y="3011"/>
                  <a:pt x="2409" y="3078"/>
                </a:cubicBezTo>
                <a:cubicBezTo>
                  <a:pt x="2409" y="3144"/>
                  <a:pt x="2355" y="3198"/>
                  <a:pt x="2289" y="3198"/>
                </a:cubicBezTo>
                <a:lnTo>
                  <a:pt x="1593" y="31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isḻîḑe">
            <a:extLst>
              <a:ext uri="{FF2B5EF4-FFF2-40B4-BE49-F238E27FC236}">
                <a16:creationId xmlns:a16="http://schemas.microsoft.com/office/drawing/2014/main" id="{F37D5239-ACFF-4509-A42F-191F54EA2F43}"/>
              </a:ext>
            </a:extLst>
          </p:cNvPr>
          <p:cNvSpPr/>
          <p:nvPr/>
        </p:nvSpPr>
        <p:spPr bwMode="auto">
          <a:xfrm>
            <a:off x="1756133" y="305488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40" name="ïṣļiďé">
            <a:extLst>
              <a:ext uri="{FF2B5EF4-FFF2-40B4-BE49-F238E27FC236}">
                <a16:creationId xmlns:a16="http://schemas.microsoft.com/office/drawing/2014/main" id="{3F03CB77-1051-43E5-BD21-7CDBCF45E826}"/>
              </a:ext>
            </a:extLst>
          </p:cNvPr>
          <p:cNvSpPr txBox="1"/>
          <p:nvPr/>
        </p:nvSpPr>
        <p:spPr bwMode="auto">
          <a:xfrm>
            <a:off x="1756133" y="264200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41" name="íŝḻiḍe">
            <a:extLst>
              <a:ext uri="{FF2B5EF4-FFF2-40B4-BE49-F238E27FC236}">
                <a16:creationId xmlns:a16="http://schemas.microsoft.com/office/drawing/2014/main" id="{7FC43D8F-D18E-454C-9EEE-4AF831379488}"/>
              </a:ext>
            </a:extLst>
          </p:cNvPr>
          <p:cNvSpPr/>
          <p:nvPr/>
        </p:nvSpPr>
        <p:spPr bwMode="auto">
          <a:xfrm>
            <a:off x="1117586" y="2735057"/>
            <a:ext cx="461080" cy="460474"/>
          </a:xfrm>
          <a:custGeom>
            <a:avLst/>
            <a:gdLst>
              <a:gd name="connsiteX0" fmla="*/ 86413 w 591547"/>
              <a:gd name="connsiteY0" fmla="*/ 515758 h 590770"/>
              <a:gd name="connsiteX1" fmla="*/ 171919 w 591547"/>
              <a:gd name="connsiteY1" fmla="*/ 515758 h 590770"/>
              <a:gd name="connsiteX2" fmla="*/ 171919 w 591547"/>
              <a:gd name="connsiteY2" fmla="*/ 537523 h 590770"/>
              <a:gd name="connsiteX3" fmla="*/ 86413 w 591547"/>
              <a:gd name="connsiteY3" fmla="*/ 537523 h 590770"/>
              <a:gd name="connsiteX4" fmla="*/ 86413 w 591547"/>
              <a:gd name="connsiteY4" fmla="*/ 461733 h 590770"/>
              <a:gd name="connsiteX5" fmla="*/ 171919 w 591547"/>
              <a:gd name="connsiteY5" fmla="*/ 461733 h 590770"/>
              <a:gd name="connsiteX6" fmla="*/ 171919 w 591547"/>
              <a:gd name="connsiteY6" fmla="*/ 483498 h 590770"/>
              <a:gd name="connsiteX7" fmla="*/ 86413 w 591547"/>
              <a:gd name="connsiteY7" fmla="*/ 483498 h 590770"/>
              <a:gd name="connsiteX8" fmla="*/ 86413 w 591547"/>
              <a:gd name="connsiteY8" fmla="*/ 408616 h 590770"/>
              <a:gd name="connsiteX9" fmla="*/ 171919 w 591547"/>
              <a:gd name="connsiteY9" fmla="*/ 408616 h 590770"/>
              <a:gd name="connsiteX10" fmla="*/ 171919 w 591547"/>
              <a:gd name="connsiteY10" fmla="*/ 429474 h 590770"/>
              <a:gd name="connsiteX11" fmla="*/ 86413 w 591547"/>
              <a:gd name="connsiteY11" fmla="*/ 429474 h 590770"/>
              <a:gd name="connsiteX12" fmla="*/ 204177 w 591547"/>
              <a:gd name="connsiteY12" fmla="*/ 357041 h 590770"/>
              <a:gd name="connsiteX13" fmla="*/ 204177 w 591547"/>
              <a:gd name="connsiteY13" fmla="*/ 569815 h 590770"/>
              <a:gd name="connsiteX14" fmla="*/ 333300 w 591547"/>
              <a:gd name="connsiteY14" fmla="*/ 569815 h 590770"/>
              <a:gd name="connsiteX15" fmla="*/ 333300 w 591547"/>
              <a:gd name="connsiteY15" fmla="*/ 382026 h 590770"/>
              <a:gd name="connsiteX16" fmla="*/ 183194 w 591547"/>
              <a:gd name="connsiteY16" fmla="*/ 357041 h 590770"/>
              <a:gd name="connsiteX17" fmla="*/ 75053 w 591547"/>
              <a:gd name="connsiteY17" fmla="*/ 382026 h 590770"/>
              <a:gd name="connsiteX18" fmla="*/ 75053 w 591547"/>
              <a:gd name="connsiteY18" fmla="*/ 569815 h 590770"/>
              <a:gd name="connsiteX19" fmla="*/ 183194 w 591547"/>
              <a:gd name="connsiteY19" fmla="*/ 569815 h 590770"/>
              <a:gd name="connsiteX20" fmla="*/ 247709 w 591547"/>
              <a:gd name="connsiteY20" fmla="*/ 311838 h 590770"/>
              <a:gd name="connsiteX21" fmla="*/ 322851 w 591547"/>
              <a:gd name="connsiteY21" fmla="*/ 311838 h 590770"/>
              <a:gd name="connsiteX22" fmla="*/ 322851 w 591547"/>
              <a:gd name="connsiteY22" fmla="*/ 332826 h 590770"/>
              <a:gd name="connsiteX23" fmla="*/ 247709 w 591547"/>
              <a:gd name="connsiteY23" fmla="*/ 332826 h 590770"/>
              <a:gd name="connsiteX24" fmla="*/ 247709 w 591547"/>
              <a:gd name="connsiteY24" fmla="*/ 257944 h 590770"/>
              <a:gd name="connsiteX25" fmla="*/ 322851 w 591547"/>
              <a:gd name="connsiteY25" fmla="*/ 257944 h 590770"/>
              <a:gd name="connsiteX26" fmla="*/ 322851 w 591547"/>
              <a:gd name="connsiteY26" fmla="*/ 279580 h 590770"/>
              <a:gd name="connsiteX27" fmla="*/ 247709 w 591547"/>
              <a:gd name="connsiteY27" fmla="*/ 279580 h 590770"/>
              <a:gd name="connsiteX28" fmla="*/ 247709 w 591547"/>
              <a:gd name="connsiteY28" fmla="*/ 203919 h 590770"/>
              <a:gd name="connsiteX29" fmla="*/ 322851 w 591547"/>
              <a:gd name="connsiteY29" fmla="*/ 203919 h 590770"/>
              <a:gd name="connsiteX30" fmla="*/ 322851 w 591547"/>
              <a:gd name="connsiteY30" fmla="*/ 225684 h 590770"/>
              <a:gd name="connsiteX31" fmla="*/ 247709 w 591547"/>
              <a:gd name="connsiteY31" fmla="*/ 225684 h 590770"/>
              <a:gd name="connsiteX32" fmla="*/ 247709 w 591547"/>
              <a:gd name="connsiteY32" fmla="*/ 150672 h 590770"/>
              <a:gd name="connsiteX33" fmla="*/ 322851 w 591547"/>
              <a:gd name="connsiteY33" fmla="*/ 150672 h 590770"/>
              <a:gd name="connsiteX34" fmla="*/ 322851 w 591547"/>
              <a:gd name="connsiteY34" fmla="*/ 171660 h 590770"/>
              <a:gd name="connsiteX35" fmla="*/ 247709 w 591547"/>
              <a:gd name="connsiteY35" fmla="*/ 171660 h 590770"/>
              <a:gd name="connsiteX36" fmla="*/ 355090 w 591547"/>
              <a:gd name="connsiteY36" fmla="*/ 102357 h 590770"/>
              <a:gd name="connsiteX37" fmla="*/ 355090 w 591547"/>
              <a:gd name="connsiteY37" fmla="*/ 373160 h 590770"/>
              <a:gd name="connsiteX38" fmla="*/ 355090 w 591547"/>
              <a:gd name="connsiteY38" fmla="*/ 376384 h 590770"/>
              <a:gd name="connsiteX39" fmla="*/ 355090 w 591547"/>
              <a:gd name="connsiteY39" fmla="*/ 569815 h 590770"/>
              <a:gd name="connsiteX40" fmla="*/ 484213 w 591547"/>
              <a:gd name="connsiteY40" fmla="*/ 569815 h 590770"/>
              <a:gd name="connsiteX41" fmla="*/ 484213 w 591547"/>
              <a:gd name="connsiteY41" fmla="*/ 154744 h 590770"/>
              <a:gd name="connsiteX42" fmla="*/ 333300 w 591547"/>
              <a:gd name="connsiteY42" fmla="*/ 99939 h 590770"/>
              <a:gd name="connsiteX43" fmla="*/ 236458 w 591547"/>
              <a:gd name="connsiteY43" fmla="*/ 125730 h 590770"/>
              <a:gd name="connsiteX44" fmla="*/ 236458 w 591547"/>
              <a:gd name="connsiteY44" fmla="*/ 341728 h 590770"/>
              <a:gd name="connsiteX45" fmla="*/ 333300 w 591547"/>
              <a:gd name="connsiteY45" fmla="*/ 360265 h 590770"/>
              <a:gd name="connsiteX46" fmla="*/ 397862 w 591547"/>
              <a:gd name="connsiteY46" fmla="*/ 21761 h 590770"/>
              <a:gd name="connsiteX47" fmla="*/ 387371 w 591547"/>
              <a:gd name="connsiteY47" fmla="*/ 32238 h 590770"/>
              <a:gd name="connsiteX48" fmla="*/ 397862 w 591547"/>
              <a:gd name="connsiteY48" fmla="*/ 42716 h 590770"/>
              <a:gd name="connsiteX49" fmla="*/ 409160 w 591547"/>
              <a:gd name="connsiteY49" fmla="*/ 32238 h 590770"/>
              <a:gd name="connsiteX50" fmla="*/ 397862 w 591547"/>
              <a:gd name="connsiteY50" fmla="*/ 21761 h 590770"/>
              <a:gd name="connsiteX51" fmla="*/ 397862 w 591547"/>
              <a:gd name="connsiteY51" fmla="*/ 0 h 590770"/>
              <a:gd name="connsiteX52" fmla="*/ 430143 w 591547"/>
              <a:gd name="connsiteY52" fmla="*/ 32238 h 590770"/>
              <a:gd name="connsiteX53" fmla="*/ 409160 w 591547"/>
              <a:gd name="connsiteY53" fmla="*/ 62865 h 590770"/>
              <a:gd name="connsiteX54" fmla="*/ 409160 w 591547"/>
              <a:gd name="connsiteY54" fmla="*/ 100745 h 590770"/>
              <a:gd name="connsiteX55" fmla="*/ 498740 w 591547"/>
              <a:gd name="connsiteY55" fmla="*/ 137819 h 590770"/>
              <a:gd name="connsiteX56" fmla="*/ 506003 w 591547"/>
              <a:gd name="connsiteY56" fmla="*/ 147491 h 590770"/>
              <a:gd name="connsiteX57" fmla="*/ 506003 w 591547"/>
              <a:gd name="connsiteY57" fmla="*/ 569815 h 590770"/>
              <a:gd name="connsiteX58" fmla="*/ 591547 w 591547"/>
              <a:gd name="connsiteY58" fmla="*/ 569815 h 590770"/>
              <a:gd name="connsiteX59" fmla="*/ 591547 w 591547"/>
              <a:gd name="connsiteY59" fmla="*/ 590770 h 590770"/>
              <a:gd name="connsiteX60" fmla="*/ 494705 w 591547"/>
              <a:gd name="connsiteY60" fmla="*/ 590770 h 590770"/>
              <a:gd name="connsiteX61" fmla="*/ 344598 w 591547"/>
              <a:gd name="connsiteY61" fmla="*/ 590770 h 590770"/>
              <a:gd name="connsiteX62" fmla="*/ 193685 w 591547"/>
              <a:gd name="connsiteY62" fmla="*/ 590770 h 590770"/>
              <a:gd name="connsiteX63" fmla="*/ 64562 w 591547"/>
              <a:gd name="connsiteY63" fmla="*/ 590770 h 590770"/>
              <a:gd name="connsiteX64" fmla="*/ 0 w 591547"/>
              <a:gd name="connsiteY64" fmla="*/ 590770 h 590770"/>
              <a:gd name="connsiteX65" fmla="*/ 0 w 591547"/>
              <a:gd name="connsiteY65" fmla="*/ 569815 h 590770"/>
              <a:gd name="connsiteX66" fmla="*/ 54070 w 591547"/>
              <a:gd name="connsiteY66" fmla="*/ 569815 h 590770"/>
              <a:gd name="connsiteX67" fmla="*/ 54070 w 591547"/>
              <a:gd name="connsiteY67" fmla="*/ 373160 h 590770"/>
              <a:gd name="connsiteX68" fmla="*/ 62141 w 591547"/>
              <a:gd name="connsiteY68" fmla="*/ 362683 h 590770"/>
              <a:gd name="connsiteX69" fmla="*/ 191264 w 591547"/>
              <a:gd name="connsiteY69" fmla="*/ 333668 h 590770"/>
              <a:gd name="connsiteX70" fmla="*/ 195299 w 591547"/>
              <a:gd name="connsiteY70" fmla="*/ 333668 h 590770"/>
              <a:gd name="connsiteX71" fmla="*/ 196106 w 591547"/>
              <a:gd name="connsiteY71" fmla="*/ 333668 h 590770"/>
              <a:gd name="connsiteX72" fmla="*/ 215475 w 591547"/>
              <a:gd name="connsiteY72" fmla="*/ 336892 h 590770"/>
              <a:gd name="connsiteX73" fmla="*/ 215475 w 591547"/>
              <a:gd name="connsiteY73" fmla="*/ 116864 h 590770"/>
              <a:gd name="connsiteX74" fmla="*/ 223545 w 591547"/>
              <a:gd name="connsiteY74" fmla="*/ 106387 h 590770"/>
              <a:gd name="connsiteX75" fmla="*/ 341370 w 591547"/>
              <a:gd name="connsiteY75" fmla="*/ 75760 h 590770"/>
              <a:gd name="connsiteX76" fmla="*/ 342984 w 591547"/>
              <a:gd name="connsiteY76" fmla="*/ 75760 h 590770"/>
              <a:gd name="connsiteX77" fmla="*/ 345405 w 591547"/>
              <a:gd name="connsiteY77" fmla="*/ 75760 h 590770"/>
              <a:gd name="connsiteX78" fmla="*/ 347020 w 591547"/>
              <a:gd name="connsiteY78" fmla="*/ 75760 h 590770"/>
              <a:gd name="connsiteX79" fmla="*/ 348634 w 591547"/>
              <a:gd name="connsiteY79" fmla="*/ 75760 h 590770"/>
              <a:gd name="connsiteX80" fmla="*/ 387371 w 591547"/>
              <a:gd name="connsiteY80" fmla="*/ 91879 h 590770"/>
              <a:gd name="connsiteX81" fmla="*/ 387371 w 591547"/>
              <a:gd name="connsiteY81" fmla="*/ 62865 h 590770"/>
              <a:gd name="connsiteX82" fmla="*/ 365581 w 591547"/>
              <a:gd name="connsiteY82" fmla="*/ 32238 h 590770"/>
              <a:gd name="connsiteX83" fmla="*/ 397862 w 591547"/>
              <a:gd name="connsiteY83" fmla="*/ 0 h 59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91547" h="590770">
                <a:moveTo>
                  <a:pt x="86413" y="515758"/>
                </a:moveTo>
                <a:lnTo>
                  <a:pt x="171919" y="515758"/>
                </a:lnTo>
                <a:lnTo>
                  <a:pt x="171919" y="537523"/>
                </a:lnTo>
                <a:lnTo>
                  <a:pt x="86413" y="537523"/>
                </a:lnTo>
                <a:close/>
                <a:moveTo>
                  <a:pt x="86413" y="461733"/>
                </a:moveTo>
                <a:lnTo>
                  <a:pt x="171919" y="461733"/>
                </a:lnTo>
                <a:lnTo>
                  <a:pt x="171919" y="483498"/>
                </a:lnTo>
                <a:lnTo>
                  <a:pt x="86413" y="483498"/>
                </a:lnTo>
                <a:close/>
                <a:moveTo>
                  <a:pt x="86413" y="408616"/>
                </a:moveTo>
                <a:lnTo>
                  <a:pt x="171919" y="408616"/>
                </a:lnTo>
                <a:lnTo>
                  <a:pt x="171919" y="429474"/>
                </a:lnTo>
                <a:lnTo>
                  <a:pt x="86413" y="429474"/>
                </a:lnTo>
                <a:close/>
                <a:moveTo>
                  <a:pt x="204177" y="357041"/>
                </a:moveTo>
                <a:lnTo>
                  <a:pt x="204177" y="569815"/>
                </a:lnTo>
                <a:lnTo>
                  <a:pt x="333300" y="569815"/>
                </a:lnTo>
                <a:lnTo>
                  <a:pt x="333300" y="382026"/>
                </a:lnTo>
                <a:close/>
                <a:moveTo>
                  <a:pt x="183194" y="357041"/>
                </a:moveTo>
                <a:lnTo>
                  <a:pt x="75053" y="382026"/>
                </a:lnTo>
                <a:lnTo>
                  <a:pt x="75053" y="569815"/>
                </a:lnTo>
                <a:lnTo>
                  <a:pt x="183194" y="569815"/>
                </a:lnTo>
                <a:close/>
                <a:moveTo>
                  <a:pt x="247709" y="311838"/>
                </a:moveTo>
                <a:lnTo>
                  <a:pt x="322851" y="311838"/>
                </a:lnTo>
                <a:lnTo>
                  <a:pt x="322851" y="332826"/>
                </a:lnTo>
                <a:lnTo>
                  <a:pt x="247709" y="332826"/>
                </a:lnTo>
                <a:close/>
                <a:moveTo>
                  <a:pt x="247709" y="257944"/>
                </a:moveTo>
                <a:lnTo>
                  <a:pt x="322851" y="257944"/>
                </a:lnTo>
                <a:lnTo>
                  <a:pt x="322851" y="279580"/>
                </a:lnTo>
                <a:lnTo>
                  <a:pt x="247709" y="279580"/>
                </a:lnTo>
                <a:close/>
                <a:moveTo>
                  <a:pt x="247709" y="203919"/>
                </a:moveTo>
                <a:lnTo>
                  <a:pt x="322851" y="203919"/>
                </a:lnTo>
                <a:lnTo>
                  <a:pt x="322851" y="225684"/>
                </a:lnTo>
                <a:lnTo>
                  <a:pt x="247709" y="225684"/>
                </a:lnTo>
                <a:close/>
                <a:moveTo>
                  <a:pt x="247709" y="150672"/>
                </a:moveTo>
                <a:lnTo>
                  <a:pt x="322851" y="150672"/>
                </a:lnTo>
                <a:lnTo>
                  <a:pt x="322851" y="171660"/>
                </a:lnTo>
                <a:lnTo>
                  <a:pt x="247709" y="171660"/>
                </a:lnTo>
                <a:close/>
                <a:moveTo>
                  <a:pt x="355090" y="102357"/>
                </a:moveTo>
                <a:lnTo>
                  <a:pt x="355090" y="373160"/>
                </a:lnTo>
                <a:lnTo>
                  <a:pt x="355090" y="376384"/>
                </a:lnTo>
                <a:lnTo>
                  <a:pt x="355090" y="569815"/>
                </a:lnTo>
                <a:lnTo>
                  <a:pt x="484213" y="569815"/>
                </a:lnTo>
                <a:lnTo>
                  <a:pt x="484213" y="154744"/>
                </a:lnTo>
                <a:close/>
                <a:moveTo>
                  <a:pt x="333300" y="99939"/>
                </a:moveTo>
                <a:lnTo>
                  <a:pt x="236458" y="125730"/>
                </a:lnTo>
                <a:lnTo>
                  <a:pt x="236458" y="341728"/>
                </a:lnTo>
                <a:lnTo>
                  <a:pt x="333300" y="360265"/>
                </a:lnTo>
                <a:close/>
                <a:moveTo>
                  <a:pt x="397862" y="21761"/>
                </a:moveTo>
                <a:cubicBezTo>
                  <a:pt x="392213" y="21761"/>
                  <a:pt x="387371" y="26596"/>
                  <a:pt x="387371" y="32238"/>
                </a:cubicBezTo>
                <a:cubicBezTo>
                  <a:pt x="387371" y="37880"/>
                  <a:pt x="392213" y="42716"/>
                  <a:pt x="397862" y="42716"/>
                </a:cubicBezTo>
                <a:cubicBezTo>
                  <a:pt x="404318" y="42716"/>
                  <a:pt x="409160" y="37880"/>
                  <a:pt x="409160" y="32238"/>
                </a:cubicBezTo>
                <a:cubicBezTo>
                  <a:pt x="409160" y="26596"/>
                  <a:pt x="404318" y="21761"/>
                  <a:pt x="397862" y="21761"/>
                </a:cubicBezTo>
                <a:close/>
                <a:moveTo>
                  <a:pt x="397862" y="0"/>
                </a:moveTo>
                <a:cubicBezTo>
                  <a:pt x="415616" y="0"/>
                  <a:pt x="430143" y="14507"/>
                  <a:pt x="430143" y="32238"/>
                </a:cubicBezTo>
                <a:cubicBezTo>
                  <a:pt x="430143" y="45940"/>
                  <a:pt x="421266" y="58029"/>
                  <a:pt x="409160" y="62865"/>
                </a:cubicBezTo>
                <a:lnTo>
                  <a:pt x="409160" y="100745"/>
                </a:lnTo>
                <a:lnTo>
                  <a:pt x="498740" y="137819"/>
                </a:lnTo>
                <a:cubicBezTo>
                  <a:pt x="502775" y="139431"/>
                  <a:pt x="506003" y="143461"/>
                  <a:pt x="506003" y="147491"/>
                </a:cubicBezTo>
                <a:lnTo>
                  <a:pt x="506003" y="569815"/>
                </a:lnTo>
                <a:lnTo>
                  <a:pt x="591547" y="569815"/>
                </a:lnTo>
                <a:lnTo>
                  <a:pt x="591547" y="590770"/>
                </a:lnTo>
                <a:lnTo>
                  <a:pt x="494705" y="590770"/>
                </a:lnTo>
                <a:lnTo>
                  <a:pt x="344598" y="590770"/>
                </a:lnTo>
                <a:lnTo>
                  <a:pt x="193685" y="590770"/>
                </a:lnTo>
                <a:lnTo>
                  <a:pt x="64562" y="590770"/>
                </a:lnTo>
                <a:lnTo>
                  <a:pt x="0" y="590770"/>
                </a:lnTo>
                <a:lnTo>
                  <a:pt x="0" y="569815"/>
                </a:lnTo>
                <a:lnTo>
                  <a:pt x="54070" y="569815"/>
                </a:lnTo>
                <a:lnTo>
                  <a:pt x="54070" y="373160"/>
                </a:lnTo>
                <a:cubicBezTo>
                  <a:pt x="54070" y="368324"/>
                  <a:pt x="57298" y="364294"/>
                  <a:pt x="62141" y="362683"/>
                </a:cubicBezTo>
                <a:lnTo>
                  <a:pt x="191264" y="333668"/>
                </a:lnTo>
                <a:cubicBezTo>
                  <a:pt x="192878" y="332862"/>
                  <a:pt x="194492" y="332862"/>
                  <a:pt x="195299" y="333668"/>
                </a:cubicBezTo>
                <a:cubicBezTo>
                  <a:pt x="196106" y="333668"/>
                  <a:pt x="196106" y="333668"/>
                  <a:pt x="196106" y="333668"/>
                </a:cubicBezTo>
                <a:lnTo>
                  <a:pt x="215475" y="336892"/>
                </a:lnTo>
                <a:lnTo>
                  <a:pt x="215475" y="116864"/>
                </a:lnTo>
                <a:cubicBezTo>
                  <a:pt x="215475" y="112028"/>
                  <a:pt x="218703" y="107999"/>
                  <a:pt x="223545" y="106387"/>
                </a:cubicBezTo>
                <a:lnTo>
                  <a:pt x="341370" y="75760"/>
                </a:lnTo>
                <a:cubicBezTo>
                  <a:pt x="342177" y="75760"/>
                  <a:pt x="342177" y="75760"/>
                  <a:pt x="342984" y="75760"/>
                </a:cubicBezTo>
                <a:cubicBezTo>
                  <a:pt x="343791" y="75760"/>
                  <a:pt x="344598" y="74954"/>
                  <a:pt x="345405" y="75760"/>
                </a:cubicBezTo>
                <a:cubicBezTo>
                  <a:pt x="346213" y="75760"/>
                  <a:pt x="347020" y="75760"/>
                  <a:pt x="347020" y="75760"/>
                </a:cubicBezTo>
                <a:cubicBezTo>
                  <a:pt x="347827" y="75760"/>
                  <a:pt x="347827" y="75760"/>
                  <a:pt x="348634" y="75760"/>
                </a:cubicBezTo>
                <a:lnTo>
                  <a:pt x="387371" y="91879"/>
                </a:lnTo>
                <a:lnTo>
                  <a:pt x="387371" y="62865"/>
                </a:lnTo>
                <a:cubicBezTo>
                  <a:pt x="375265" y="58029"/>
                  <a:pt x="365581" y="45940"/>
                  <a:pt x="365581" y="32238"/>
                </a:cubicBezTo>
                <a:cubicBezTo>
                  <a:pt x="365581" y="14507"/>
                  <a:pt x="380107" y="0"/>
                  <a:pt x="39786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ïšliďê">
            <a:extLst>
              <a:ext uri="{FF2B5EF4-FFF2-40B4-BE49-F238E27FC236}">
                <a16:creationId xmlns:a16="http://schemas.microsoft.com/office/drawing/2014/main" id="{660D9DCD-DA5B-46A7-86AF-A9EE03793FB2}"/>
              </a:ext>
            </a:extLst>
          </p:cNvPr>
          <p:cNvSpPr/>
          <p:nvPr/>
        </p:nvSpPr>
        <p:spPr bwMode="auto">
          <a:xfrm>
            <a:off x="1756133" y="432055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7" name="ïṥļîḋé">
            <a:extLst>
              <a:ext uri="{FF2B5EF4-FFF2-40B4-BE49-F238E27FC236}">
                <a16:creationId xmlns:a16="http://schemas.microsoft.com/office/drawing/2014/main" id="{DE9D9BF9-67D8-46F8-A5ED-4B270771FE4B}"/>
              </a:ext>
            </a:extLst>
          </p:cNvPr>
          <p:cNvSpPr txBox="1"/>
          <p:nvPr/>
        </p:nvSpPr>
        <p:spPr bwMode="auto">
          <a:xfrm>
            <a:off x="1756133" y="390767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38" name="íṩḻiḓê">
            <a:extLst>
              <a:ext uri="{FF2B5EF4-FFF2-40B4-BE49-F238E27FC236}">
                <a16:creationId xmlns:a16="http://schemas.microsoft.com/office/drawing/2014/main" id="{2B4E6CA6-6376-473F-A3FB-C3C9C4EE82A9}"/>
              </a:ext>
            </a:extLst>
          </p:cNvPr>
          <p:cNvSpPr/>
          <p:nvPr/>
        </p:nvSpPr>
        <p:spPr bwMode="auto">
          <a:xfrm>
            <a:off x="1117586" y="4000772"/>
            <a:ext cx="461080" cy="460384"/>
          </a:xfrm>
          <a:custGeom>
            <a:avLst/>
            <a:gdLst>
              <a:gd name="T0" fmla="*/ 6827 w 6827"/>
              <a:gd name="T1" fmla="*/ 910 h 6827"/>
              <a:gd name="T2" fmla="*/ 5916 w 6827"/>
              <a:gd name="T3" fmla="*/ 0 h 6827"/>
              <a:gd name="T4" fmla="*/ 5006 w 6827"/>
              <a:gd name="T5" fmla="*/ 910 h 6827"/>
              <a:gd name="T6" fmla="*/ 5796 w 6827"/>
              <a:gd name="T7" fmla="*/ 1812 h 6827"/>
              <a:gd name="T8" fmla="*/ 4892 w 6827"/>
              <a:gd name="T9" fmla="*/ 2617 h 6827"/>
              <a:gd name="T10" fmla="*/ 1934 w 6827"/>
              <a:gd name="T11" fmla="*/ 2617 h 6827"/>
              <a:gd name="T12" fmla="*/ 796 w 6827"/>
              <a:gd name="T13" fmla="*/ 3755 h 6827"/>
              <a:gd name="T14" fmla="*/ 796 w 6827"/>
              <a:gd name="T15" fmla="*/ 5014 h 6827"/>
              <a:gd name="T16" fmla="*/ 0 w 6827"/>
              <a:gd name="T17" fmla="*/ 5916 h 6827"/>
              <a:gd name="T18" fmla="*/ 910 w 6827"/>
              <a:gd name="T19" fmla="*/ 6827 h 6827"/>
              <a:gd name="T20" fmla="*/ 1820 w 6827"/>
              <a:gd name="T21" fmla="*/ 5916 h 6827"/>
              <a:gd name="T22" fmla="*/ 1024 w 6827"/>
              <a:gd name="T23" fmla="*/ 5014 h 6827"/>
              <a:gd name="T24" fmla="*/ 1024 w 6827"/>
              <a:gd name="T25" fmla="*/ 3755 h 6827"/>
              <a:gd name="T26" fmla="*/ 1934 w 6827"/>
              <a:gd name="T27" fmla="*/ 2844 h 6827"/>
              <a:gd name="T28" fmla="*/ 3757 w 6827"/>
              <a:gd name="T29" fmla="*/ 2844 h 6827"/>
              <a:gd name="T30" fmla="*/ 3300 w 6827"/>
              <a:gd name="T31" fmla="*/ 3755 h 6827"/>
              <a:gd name="T32" fmla="*/ 3300 w 6827"/>
              <a:gd name="T33" fmla="*/ 5014 h 6827"/>
              <a:gd name="T34" fmla="*/ 2503 w 6827"/>
              <a:gd name="T35" fmla="*/ 5916 h 6827"/>
              <a:gd name="T36" fmla="*/ 3413 w 6827"/>
              <a:gd name="T37" fmla="*/ 6827 h 6827"/>
              <a:gd name="T38" fmla="*/ 4324 w 6827"/>
              <a:gd name="T39" fmla="*/ 5916 h 6827"/>
              <a:gd name="T40" fmla="*/ 3527 w 6827"/>
              <a:gd name="T41" fmla="*/ 5014 h 6827"/>
              <a:gd name="T42" fmla="*/ 3527 w 6827"/>
              <a:gd name="T43" fmla="*/ 3755 h 6827"/>
              <a:gd name="T44" fmla="*/ 4437 w 6827"/>
              <a:gd name="T45" fmla="*/ 2844 h 6827"/>
              <a:gd name="T46" fmla="*/ 4892 w 6827"/>
              <a:gd name="T47" fmla="*/ 2844 h 6827"/>
              <a:gd name="T48" fmla="*/ 6025 w 6827"/>
              <a:gd name="T49" fmla="*/ 1814 h 6827"/>
              <a:gd name="T50" fmla="*/ 6827 w 6827"/>
              <a:gd name="T51" fmla="*/ 910 h 6827"/>
              <a:gd name="T52" fmla="*/ 1593 w 6827"/>
              <a:gd name="T53" fmla="*/ 5916 h 6827"/>
              <a:gd name="T54" fmla="*/ 910 w 6827"/>
              <a:gd name="T55" fmla="*/ 6599 h 6827"/>
              <a:gd name="T56" fmla="*/ 228 w 6827"/>
              <a:gd name="T57" fmla="*/ 5916 h 6827"/>
              <a:gd name="T58" fmla="*/ 910 w 6827"/>
              <a:gd name="T59" fmla="*/ 5234 h 6827"/>
              <a:gd name="T60" fmla="*/ 1593 w 6827"/>
              <a:gd name="T61" fmla="*/ 5916 h 6827"/>
              <a:gd name="T62" fmla="*/ 4096 w 6827"/>
              <a:gd name="T63" fmla="*/ 5916 h 6827"/>
              <a:gd name="T64" fmla="*/ 3413 w 6827"/>
              <a:gd name="T65" fmla="*/ 6599 h 6827"/>
              <a:gd name="T66" fmla="*/ 2731 w 6827"/>
              <a:gd name="T67" fmla="*/ 5916 h 6827"/>
              <a:gd name="T68" fmla="*/ 3413 w 6827"/>
              <a:gd name="T69" fmla="*/ 5234 h 6827"/>
              <a:gd name="T70" fmla="*/ 4096 w 6827"/>
              <a:gd name="T71" fmla="*/ 5916 h 6827"/>
              <a:gd name="T72" fmla="*/ 5916 w 6827"/>
              <a:gd name="T73" fmla="*/ 1593 h 6827"/>
              <a:gd name="T74" fmla="*/ 5234 w 6827"/>
              <a:gd name="T75" fmla="*/ 910 h 6827"/>
              <a:gd name="T76" fmla="*/ 5916 w 6827"/>
              <a:gd name="T77" fmla="*/ 228 h 6827"/>
              <a:gd name="T78" fmla="*/ 6599 w 6827"/>
              <a:gd name="T79" fmla="*/ 910 h 6827"/>
              <a:gd name="T80" fmla="*/ 5916 w 6827"/>
              <a:gd name="T81" fmla="*/ 1593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827" h="6827">
                <a:moveTo>
                  <a:pt x="6827" y="910"/>
                </a:moveTo>
                <a:cubicBezTo>
                  <a:pt x="6827" y="410"/>
                  <a:pt x="6417" y="0"/>
                  <a:pt x="5916" y="0"/>
                </a:cubicBezTo>
                <a:cubicBezTo>
                  <a:pt x="5416" y="0"/>
                  <a:pt x="5006" y="410"/>
                  <a:pt x="5006" y="910"/>
                </a:cubicBezTo>
                <a:cubicBezTo>
                  <a:pt x="5006" y="1370"/>
                  <a:pt x="5352" y="1753"/>
                  <a:pt x="5796" y="1812"/>
                </a:cubicBezTo>
                <a:cubicBezTo>
                  <a:pt x="5744" y="2264"/>
                  <a:pt x="5357" y="2617"/>
                  <a:pt x="4892" y="2617"/>
                </a:cubicBezTo>
                <a:lnTo>
                  <a:pt x="1934" y="2617"/>
                </a:lnTo>
                <a:cubicBezTo>
                  <a:pt x="1308" y="2617"/>
                  <a:pt x="796" y="3129"/>
                  <a:pt x="796" y="3755"/>
                </a:cubicBezTo>
                <a:lnTo>
                  <a:pt x="796" y="5014"/>
                </a:lnTo>
                <a:cubicBezTo>
                  <a:pt x="349" y="5070"/>
                  <a:pt x="0" y="5454"/>
                  <a:pt x="0" y="5916"/>
                </a:cubicBezTo>
                <a:cubicBezTo>
                  <a:pt x="0" y="6417"/>
                  <a:pt x="410" y="6827"/>
                  <a:pt x="910" y="6827"/>
                </a:cubicBezTo>
                <a:cubicBezTo>
                  <a:pt x="1411" y="6827"/>
                  <a:pt x="1820" y="6417"/>
                  <a:pt x="1820" y="5916"/>
                </a:cubicBezTo>
                <a:cubicBezTo>
                  <a:pt x="1820" y="5454"/>
                  <a:pt x="1471" y="5070"/>
                  <a:pt x="1024" y="5014"/>
                </a:cubicBezTo>
                <a:lnTo>
                  <a:pt x="1024" y="3755"/>
                </a:lnTo>
                <a:cubicBezTo>
                  <a:pt x="1024" y="3254"/>
                  <a:pt x="1434" y="2844"/>
                  <a:pt x="1934" y="2844"/>
                </a:cubicBezTo>
                <a:lnTo>
                  <a:pt x="3757" y="2844"/>
                </a:lnTo>
                <a:cubicBezTo>
                  <a:pt x="3480" y="3052"/>
                  <a:pt x="3300" y="3384"/>
                  <a:pt x="3300" y="3755"/>
                </a:cubicBezTo>
                <a:lnTo>
                  <a:pt x="3300" y="5014"/>
                </a:lnTo>
                <a:cubicBezTo>
                  <a:pt x="2852" y="5070"/>
                  <a:pt x="2503" y="5454"/>
                  <a:pt x="2503" y="5916"/>
                </a:cubicBezTo>
                <a:cubicBezTo>
                  <a:pt x="2503" y="6417"/>
                  <a:pt x="2913" y="6827"/>
                  <a:pt x="3413" y="6827"/>
                </a:cubicBezTo>
                <a:cubicBezTo>
                  <a:pt x="3914" y="6827"/>
                  <a:pt x="4324" y="6417"/>
                  <a:pt x="4324" y="5916"/>
                </a:cubicBezTo>
                <a:cubicBezTo>
                  <a:pt x="4324" y="5454"/>
                  <a:pt x="3975" y="5070"/>
                  <a:pt x="3527" y="5014"/>
                </a:cubicBezTo>
                <a:lnTo>
                  <a:pt x="3527" y="3755"/>
                </a:lnTo>
                <a:cubicBezTo>
                  <a:pt x="3527" y="3254"/>
                  <a:pt x="3937" y="2844"/>
                  <a:pt x="4437" y="2844"/>
                </a:cubicBezTo>
                <a:lnTo>
                  <a:pt x="4892" y="2844"/>
                </a:lnTo>
                <a:cubicBezTo>
                  <a:pt x="5482" y="2844"/>
                  <a:pt x="5971" y="2390"/>
                  <a:pt x="6025" y="1814"/>
                </a:cubicBezTo>
                <a:cubicBezTo>
                  <a:pt x="6475" y="1760"/>
                  <a:pt x="6827" y="1374"/>
                  <a:pt x="6827" y="910"/>
                </a:cubicBezTo>
                <a:close/>
                <a:moveTo>
                  <a:pt x="1593" y="5916"/>
                </a:moveTo>
                <a:cubicBezTo>
                  <a:pt x="1593" y="6292"/>
                  <a:pt x="1286" y="6599"/>
                  <a:pt x="910" y="6599"/>
                </a:cubicBezTo>
                <a:cubicBezTo>
                  <a:pt x="535" y="6599"/>
                  <a:pt x="228" y="6292"/>
                  <a:pt x="228" y="5916"/>
                </a:cubicBezTo>
                <a:cubicBezTo>
                  <a:pt x="228" y="5541"/>
                  <a:pt x="535" y="5234"/>
                  <a:pt x="910" y="5234"/>
                </a:cubicBezTo>
                <a:cubicBezTo>
                  <a:pt x="1286" y="5234"/>
                  <a:pt x="1593" y="5541"/>
                  <a:pt x="1593" y="5916"/>
                </a:cubicBezTo>
                <a:close/>
                <a:moveTo>
                  <a:pt x="4096" y="5916"/>
                </a:moveTo>
                <a:cubicBezTo>
                  <a:pt x="4096" y="6292"/>
                  <a:pt x="3789" y="6599"/>
                  <a:pt x="3413" y="6599"/>
                </a:cubicBezTo>
                <a:cubicBezTo>
                  <a:pt x="3038" y="6599"/>
                  <a:pt x="2731" y="6292"/>
                  <a:pt x="2731" y="5916"/>
                </a:cubicBezTo>
                <a:cubicBezTo>
                  <a:pt x="2731" y="5541"/>
                  <a:pt x="3038" y="5234"/>
                  <a:pt x="3413" y="5234"/>
                </a:cubicBezTo>
                <a:cubicBezTo>
                  <a:pt x="3789" y="5234"/>
                  <a:pt x="4096" y="5541"/>
                  <a:pt x="4096" y="5916"/>
                </a:cubicBezTo>
                <a:close/>
                <a:moveTo>
                  <a:pt x="5916" y="1593"/>
                </a:moveTo>
                <a:cubicBezTo>
                  <a:pt x="5541" y="1593"/>
                  <a:pt x="5234" y="1286"/>
                  <a:pt x="5234" y="910"/>
                </a:cubicBezTo>
                <a:cubicBezTo>
                  <a:pt x="5234" y="535"/>
                  <a:pt x="5541" y="228"/>
                  <a:pt x="5916" y="228"/>
                </a:cubicBezTo>
                <a:cubicBezTo>
                  <a:pt x="6292" y="228"/>
                  <a:pt x="6599" y="535"/>
                  <a:pt x="6599" y="910"/>
                </a:cubicBezTo>
                <a:cubicBezTo>
                  <a:pt x="6599" y="1286"/>
                  <a:pt x="6292" y="1593"/>
                  <a:pt x="5916" y="159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îş1ide">
            <a:extLst>
              <a:ext uri="{FF2B5EF4-FFF2-40B4-BE49-F238E27FC236}">
                <a16:creationId xmlns:a16="http://schemas.microsoft.com/office/drawing/2014/main" id="{E7817649-4DC1-4471-AC5C-E81B4AAA26E4}"/>
              </a:ext>
            </a:extLst>
          </p:cNvPr>
          <p:cNvSpPr/>
          <p:nvPr/>
        </p:nvSpPr>
        <p:spPr bwMode="auto">
          <a:xfrm>
            <a:off x="1756133" y="558622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4" name="îṥḻíďè">
            <a:extLst>
              <a:ext uri="{FF2B5EF4-FFF2-40B4-BE49-F238E27FC236}">
                <a16:creationId xmlns:a16="http://schemas.microsoft.com/office/drawing/2014/main" id="{97D2F74E-ADFD-49E5-8A04-A9C2ED5FA18A}"/>
              </a:ext>
            </a:extLst>
          </p:cNvPr>
          <p:cNvSpPr txBox="1"/>
          <p:nvPr/>
        </p:nvSpPr>
        <p:spPr bwMode="auto">
          <a:xfrm>
            <a:off x="1756133" y="517334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35" name="íŝļiḓe">
            <a:extLst>
              <a:ext uri="{FF2B5EF4-FFF2-40B4-BE49-F238E27FC236}">
                <a16:creationId xmlns:a16="http://schemas.microsoft.com/office/drawing/2014/main" id="{F9C027AD-C800-4FCC-992F-BB158BC981A6}"/>
              </a:ext>
            </a:extLst>
          </p:cNvPr>
          <p:cNvSpPr/>
          <p:nvPr/>
        </p:nvSpPr>
        <p:spPr bwMode="auto">
          <a:xfrm>
            <a:off x="1117586" y="5334632"/>
            <a:ext cx="461080" cy="324003"/>
          </a:xfrm>
          <a:custGeom>
            <a:avLst/>
            <a:gdLst>
              <a:gd name="connsiteX0" fmla="*/ 450100 w 607639"/>
              <a:gd name="connsiteY0" fmla="*/ 313203 h 426991"/>
              <a:gd name="connsiteX1" fmla="*/ 450100 w 607639"/>
              <a:gd name="connsiteY1" fmla="*/ 403167 h 426991"/>
              <a:gd name="connsiteX2" fmla="*/ 585744 w 607639"/>
              <a:gd name="connsiteY2" fmla="*/ 403167 h 426991"/>
              <a:gd name="connsiteX3" fmla="*/ 586100 w 607639"/>
              <a:gd name="connsiteY3" fmla="*/ 313203 h 426991"/>
              <a:gd name="connsiteX4" fmla="*/ 530294 w 607639"/>
              <a:gd name="connsiteY4" fmla="*/ 313203 h 426991"/>
              <a:gd name="connsiteX5" fmla="*/ 530116 w 607639"/>
              <a:gd name="connsiteY5" fmla="*/ 313203 h 426991"/>
              <a:gd name="connsiteX6" fmla="*/ 529760 w 607639"/>
              <a:gd name="connsiteY6" fmla="*/ 313203 h 426991"/>
              <a:gd name="connsiteX7" fmla="*/ 450901 w 607639"/>
              <a:gd name="connsiteY7" fmla="*/ 313203 h 426991"/>
              <a:gd name="connsiteX8" fmla="*/ 236309 w 607639"/>
              <a:gd name="connsiteY8" fmla="*/ 313203 h 426991"/>
              <a:gd name="connsiteX9" fmla="*/ 236309 w 607639"/>
              <a:gd name="connsiteY9" fmla="*/ 403167 h 426991"/>
              <a:gd name="connsiteX10" fmla="*/ 371953 w 607639"/>
              <a:gd name="connsiteY10" fmla="*/ 403167 h 426991"/>
              <a:gd name="connsiteX11" fmla="*/ 372754 w 607639"/>
              <a:gd name="connsiteY11" fmla="*/ 313203 h 426991"/>
              <a:gd name="connsiteX12" fmla="*/ 237110 w 607639"/>
              <a:gd name="connsiteY12" fmla="*/ 313203 h 426991"/>
              <a:gd name="connsiteX13" fmla="*/ 22519 w 607639"/>
              <a:gd name="connsiteY13" fmla="*/ 313203 h 426991"/>
              <a:gd name="connsiteX14" fmla="*/ 22519 w 607639"/>
              <a:gd name="connsiteY14" fmla="*/ 403167 h 426991"/>
              <a:gd name="connsiteX15" fmla="*/ 158163 w 607639"/>
              <a:gd name="connsiteY15" fmla="*/ 403167 h 426991"/>
              <a:gd name="connsiteX16" fmla="*/ 158964 w 607639"/>
              <a:gd name="connsiteY16" fmla="*/ 313203 h 426991"/>
              <a:gd name="connsiteX17" fmla="*/ 91498 w 607639"/>
              <a:gd name="connsiteY17" fmla="*/ 313203 h 426991"/>
              <a:gd name="connsiteX18" fmla="*/ 91231 w 607639"/>
              <a:gd name="connsiteY18" fmla="*/ 313203 h 426991"/>
              <a:gd name="connsiteX19" fmla="*/ 90964 w 607639"/>
              <a:gd name="connsiteY19" fmla="*/ 313203 h 426991"/>
              <a:gd name="connsiteX20" fmla="*/ 23320 w 607639"/>
              <a:gd name="connsiteY20" fmla="*/ 313203 h 426991"/>
              <a:gd name="connsiteX21" fmla="*/ 91409 w 607639"/>
              <a:gd name="connsiteY21" fmla="*/ 224751 h 426991"/>
              <a:gd name="connsiteX22" fmla="*/ 530294 w 607639"/>
              <a:gd name="connsiteY22" fmla="*/ 224751 h 426991"/>
              <a:gd name="connsiteX23" fmla="*/ 540084 w 607639"/>
              <a:gd name="connsiteY23" fmla="*/ 234530 h 426991"/>
              <a:gd name="connsiteX24" fmla="*/ 540084 w 607639"/>
              <a:gd name="connsiteY24" fmla="*/ 292135 h 426991"/>
              <a:gd name="connsiteX25" fmla="*/ 586456 w 607639"/>
              <a:gd name="connsiteY25" fmla="*/ 292135 h 426991"/>
              <a:gd name="connsiteX26" fmla="*/ 607639 w 607639"/>
              <a:gd name="connsiteY26" fmla="*/ 313203 h 426991"/>
              <a:gd name="connsiteX27" fmla="*/ 607639 w 607639"/>
              <a:gd name="connsiteY27" fmla="*/ 403167 h 426991"/>
              <a:gd name="connsiteX28" fmla="*/ 586456 w 607639"/>
              <a:gd name="connsiteY28" fmla="*/ 426991 h 426991"/>
              <a:gd name="connsiteX29" fmla="*/ 451524 w 607639"/>
              <a:gd name="connsiteY29" fmla="*/ 426991 h 426991"/>
              <a:gd name="connsiteX30" fmla="*/ 427582 w 607639"/>
              <a:gd name="connsiteY30" fmla="*/ 403167 h 426991"/>
              <a:gd name="connsiteX31" fmla="*/ 427582 w 607639"/>
              <a:gd name="connsiteY31" fmla="*/ 313203 h 426991"/>
              <a:gd name="connsiteX32" fmla="*/ 451524 w 607639"/>
              <a:gd name="connsiteY32" fmla="*/ 292135 h 426991"/>
              <a:gd name="connsiteX33" fmla="*/ 517566 w 607639"/>
              <a:gd name="connsiteY33" fmla="*/ 292135 h 426991"/>
              <a:gd name="connsiteX34" fmla="*/ 517566 w 607639"/>
              <a:gd name="connsiteY34" fmla="*/ 247242 h 426991"/>
              <a:gd name="connsiteX35" fmla="*/ 315079 w 607639"/>
              <a:gd name="connsiteY35" fmla="*/ 247242 h 426991"/>
              <a:gd name="connsiteX36" fmla="*/ 315079 w 607639"/>
              <a:gd name="connsiteY36" fmla="*/ 292135 h 426991"/>
              <a:gd name="connsiteX37" fmla="*/ 372665 w 607639"/>
              <a:gd name="connsiteY37" fmla="*/ 292135 h 426991"/>
              <a:gd name="connsiteX38" fmla="*/ 393849 w 607639"/>
              <a:gd name="connsiteY38" fmla="*/ 313203 h 426991"/>
              <a:gd name="connsiteX39" fmla="*/ 393849 w 607639"/>
              <a:gd name="connsiteY39" fmla="*/ 403167 h 426991"/>
              <a:gd name="connsiteX40" fmla="*/ 372665 w 607639"/>
              <a:gd name="connsiteY40" fmla="*/ 426991 h 426991"/>
              <a:gd name="connsiteX41" fmla="*/ 237733 w 607639"/>
              <a:gd name="connsiteY41" fmla="*/ 426991 h 426991"/>
              <a:gd name="connsiteX42" fmla="*/ 213791 w 607639"/>
              <a:gd name="connsiteY42" fmla="*/ 403167 h 426991"/>
              <a:gd name="connsiteX43" fmla="*/ 213791 w 607639"/>
              <a:gd name="connsiteY43" fmla="*/ 313203 h 426991"/>
              <a:gd name="connsiteX44" fmla="*/ 237733 w 607639"/>
              <a:gd name="connsiteY44" fmla="*/ 292135 h 426991"/>
              <a:gd name="connsiteX45" fmla="*/ 292561 w 607639"/>
              <a:gd name="connsiteY45" fmla="*/ 292135 h 426991"/>
              <a:gd name="connsiteX46" fmla="*/ 292561 w 607639"/>
              <a:gd name="connsiteY46" fmla="*/ 247242 h 426991"/>
              <a:gd name="connsiteX47" fmla="*/ 101288 w 607639"/>
              <a:gd name="connsiteY47" fmla="*/ 247242 h 426991"/>
              <a:gd name="connsiteX48" fmla="*/ 101288 w 607639"/>
              <a:gd name="connsiteY48" fmla="*/ 292135 h 426991"/>
              <a:gd name="connsiteX49" fmla="*/ 158875 w 607639"/>
              <a:gd name="connsiteY49" fmla="*/ 292135 h 426991"/>
              <a:gd name="connsiteX50" fmla="*/ 180058 w 607639"/>
              <a:gd name="connsiteY50" fmla="*/ 313203 h 426991"/>
              <a:gd name="connsiteX51" fmla="*/ 180058 w 607639"/>
              <a:gd name="connsiteY51" fmla="*/ 403167 h 426991"/>
              <a:gd name="connsiteX52" fmla="*/ 158875 w 607639"/>
              <a:gd name="connsiteY52" fmla="*/ 426991 h 426991"/>
              <a:gd name="connsiteX53" fmla="*/ 24032 w 607639"/>
              <a:gd name="connsiteY53" fmla="*/ 426991 h 426991"/>
              <a:gd name="connsiteX54" fmla="*/ 0 w 607639"/>
              <a:gd name="connsiteY54" fmla="*/ 403167 h 426991"/>
              <a:gd name="connsiteX55" fmla="*/ 0 w 607639"/>
              <a:gd name="connsiteY55" fmla="*/ 313203 h 426991"/>
              <a:gd name="connsiteX56" fmla="*/ 24032 w 607639"/>
              <a:gd name="connsiteY56" fmla="*/ 292135 h 426991"/>
              <a:gd name="connsiteX57" fmla="*/ 78770 w 607639"/>
              <a:gd name="connsiteY57" fmla="*/ 292135 h 426991"/>
              <a:gd name="connsiteX58" fmla="*/ 78770 w 607639"/>
              <a:gd name="connsiteY58" fmla="*/ 234530 h 426991"/>
              <a:gd name="connsiteX59" fmla="*/ 91409 w 607639"/>
              <a:gd name="connsiteY59" fmla="*/ 224751 h 426991"/>
              <a:gd name="connsiteX60" fmla="*/ 236326 w 607639"/>
              <a:gd name="connsiteY60" fmla="*/ 21066 h 426991"/>
              <a:gd name="connsiteX61" fmla="*/ 236326 w 607639"/>
              <a:gd name="connsiteY61" fmla="*/ 111021 h 426991"/>
              <a:gd name="connsiteX62" fmla="*/ 371758 w 607639"/>
              <a:gd name="connsiteY62" fmla="*/ 111021 h 426991"/>
              <a:gd name="connsiteX63" fmla="*/ 372380 w 607639"/>
              <a:gd name="connsiteY63" fmla="*/ 21066 h 426991"/>
              <a:gd name="connsiteX64" fmla="*/ 237127 w 607639"/>
              <a:gd name="connsiteY64" fmla="*/ 21066 h 426991"/>
              <a:gd name="connsiteX65" fmla="*/ 237750 w 607639"/>
              <a:gd name="connsiteY65" fmla="*/ 0 h 426991"/>
              <a:gd name="connsiteX66" fmla="*/ 372647 w 607639"/>
              <a:gd name="connsiteY66" fmla="*/ 0 h 426991"/>
              <a:gd name="connsiteX67" fmla="*/ 393825 w 607639"/>
              <a:gd name="connsiteY67" fmla="*/ 21066 h 426991"/>
              <a:gd name="connsiteX68" fmla="*/ 393825 w 607639"/>
              <a:gd name="connsiteY68" fmla="*/ 111021 h 426991"/>
              <a:gd name="connsiteX69" fmla="*/ 372647 w 607639"/>
              <a:gd name="connsiteY69" fmla="*/ 134843 h 426991"/>
              <a:gd name="connsiteX70" fmla="*/ 315076 w 607639"/>
              <a:gd name="connsiteY70" fmla="*/ 134843 h 426991"/>
              <a:gd name="connsiteX71" fmla="*/ 315076 w 607639"/>
              <a:gd name="connsiteY71" fmla="*/ 191020 h 426991"/>
              <a:gd name="connsiteX72" fmla="*/ 292563 w 607639"/>
              <a:gd name="connsiteY72" fmla="*/ 191020 h 426991"/>
              <a:gd name="connsiteX73" fmla="*/ 292563 w 607639"/>
              <a:gd name="connsiteY73" fmla="*/ 134843 h 426991"/>
              <a:gd name="connsiteX74" fmla="*/ 237750 w 607639"/>
              <a:gd name="connsiteY74" fmla="*/ 134843 h 426991"/>
              <a:gd name="connsiteX75" fmla="*/ 213813 w 607639"/>
              <a:gd name="connsiteY75" fmla="*/ 111021 h 426991"/>
              <a:gd name="connsiteX76" fmla="*/ 213813 w 607639"/>
              <a:gd name="connsiteY76" fmla="*/ 21066 h 426991"/>
              <a:gd name="connsiteX77" fmla="*/ 237750 w 607639"/>
              <a:gd name="connsiteY77" fmla="*/ 0 h 42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7639" h="426991">
                <a:moveTo>
                  <a:pt x="450100" y="313203"/>
                </a:moveTo>
                <a:lnTo>
                  <a:pt x="450100" y="403167"/>
                </a:lnTo>
                <a:lnTo>
                  <a:pt x="585744" y="403167"/>
                </a:lnTo>
                <a:lnTo>
                  <a:pt x="586100" y="313203"/>
                </a:lnTo>
                <a:lnTo>
                  <a:pt x="530294" y="313203"/>
                </a:lnTo>
                <a:cubicBezTo>
                  <a:pt x="530294" y="313203"/>
                  <a:pt x="530116" y="313203"/>
                  <a:pt x="530116" y="313203"/>
                </a:cubicBezTo>
                <a:cubicBezTo>
                  <a:pt x="530027" y="313203"/>
                  <a:pt x="529849" y="313203"/>
                  <a:pt x="529760" y="313203"/>
                </a:cubicBezTo>
                <a:lnTo>
                  <a:pt x="450901" y="313203"/>
                </a:lnTo>
                <a:close/>
                <a:moveTo>
                  <a:pt x="236309" y="313203"/>
                </a:moveTo>
                <a:lnTo>
                  <a:pt x="236309" y="403167"/>
                </a:lnTo>
                <a:lnTo>
                  <a:pt x="371953" y="403167"/>
                </a:lnTo>
                <a:lnTo>
                  <a:pt x="372754" y="313203"/>
                </a:lnTo>
                <a:lnTo>
                  <a:pt x="237110" y="313203"/>
                </a:lnTo>
                <a:close/>
                <a:moveTo>
                  <a:pt x="22519" y="313203"/>
                </a:moveTo>
                <a:lnTo>
                  <a:pt x="22519" y="403167"/>
                </a:lnTo>
                <a:lnTo>
                  <a:pt x="158163" y="403167"/>
                </a:lnTo>
                <a:lnTo>
                  <a:pt x="158964" y="313203"/>
                </a:lnTo>
                <a:lnTo>
                  <a:pt x="91498" y="313203"/>
                </a:lnTo>
                <a:cubicBezTo>
                  <a:pt x="91409" y="313203"/>
                  <a:pt x="91320" y="313203"/>
                  <a:pt x="91231" y="313203"/>
                </a:cubicBezTo>
                <a:cubicBezTo>
                  <a:pt x="91231" y="313203"/>
                  <a:pt x="90964" y="313203"/>
                  <a:pt x="90964" y="313203"/>
                </a:cubicBezTo>
                <a:lnTo>
                  <a:pt x="23320" y="313203"/>
                </a:lnTo>
                <a:close/>
                <a:moveTo>
                  <a:pt x="91409" y="224751"/>
                </a:moveTo>
                <a:lnTo>
                  <a:pt x="530294" y="224751"/>
                </a:lnTo>
                <a:cubicBezTo>
                  <a:pt x="536435" y="224751"/>
                  <a:pt x="540084" y="228396"/>
                  <a:pt x="540084" y="234530"/>
                </a:cubicBezTo>
                <a:lnTo>
                  <a:pt x="540084" y="292135"/>
                </a:lnTo>
                <a:lnTo>
                  <a:pt x="586456" y="292135"/>
                </a:lnTo>
                <a:cubicBezTo>
                  <a:pt x="598917" y="292135"/>
                  <a:pt x="607639" y="300847"/>
                  <a:pt x="607639" y="313203"/>
                </a:cubicBezTo>
                <a:lnTo>
                  <a:pt x="607639" y="403167"/>
                </a:lnTo>
                <a:cubicBezTo>
                  <a:pt x="607639" y="415524"/>
                  <a:pt x="598917" y="426991"/>
                  <a:pt x="586456" y="426991"/>
                </a:cubicBezTo>
                <a:lnTo>
                  <a:pt x="451524" y="426991"/>
                </a:lnTo>
                <a:cubicBezTo>
                  <a:pt x="439152" y="426991"/>
                  <a:pt x="427582" y="415524"/>
                  <a:pt x="427582" y="403167"/>
                </a:cubicBezTo>
                <a:lnTo>
                  <a:pt x="427582" y="313203"/>
                </a:lnTo>
                <a:cubicBezTo>
                  <a:pt x="427582" y="300847"/>
                  <a:pt x="439152" y="292135"/>
                  <a:pt x="451524" y="292135"/>
                </a:cubicBezTo>
                <a:lnTo>
                  <a:pt x="517566" y="292135"/>
                </a:lnTo>
                <a:lnTo>
                  <a:pt x="517566" y="247242"/>
                </a:lnTo>
                <a:lnTo>
                  <a:pt x="315079" y="247242"/>
                </a:lnTo>
                <a:lnTo>
                  <a:pt x="315079" y="292135"/>
                </a:lnTo>
                <a:lnTo>
                  <a:pt x="372665" y="292135"/>
                </a:lnTo>
                <a:cubicBezTo>
                  <a:pt x="385126" y="292135"/>
                  <a:pt x="393849" y="300847"/>
                  <a:pt x="393849" y="313203"/>
                </a:cubicBezTo>
                <a:lnTo>
                  <a:pt x="393849" y="403167"/>
                </a:lnTo>
                <a:cubicBezTo>
                  <a:pt x="393849" y="415524"/>
                  <a:pt x="385126" y="426991"/>
                  <a:pt x="372665" y="426991"/>
                </a:cubicBezTo>
                <a:lnTo>
                  <a:pt x="237733" y="426991"/>
                </a:lnTo>
                <a:cubicBezTo>
                  <a:pt x="225362" y="426991"/>
                  <a:pt x="213791" y="415524"/>
                  <a:pt x="213791" y="403167"/>
                </a:cubicBezTo>
                <a:lnTo>
                  <a:pt x="213791" y="313203"/>
                </a:lnTo>
                <a:cubicBezTo>
                  <a:pt x="213791" y="300847"/>
                  <a:pt x="225362" y="292135"/>
                  <a:pt x="237733" y="292135"/>
                </a:cubicBezTo>
                <a:lnTo>
                  <a:pt x="292561" y="292135"/>
                </a:lnTo>
                <a:lnTo>
                  <a:pt x="292561" y="247242"/>
                </a:lnTo>
                <a:lnTo>
                  <a:pt x="101288" y="247242"/>
                </a:lnTo>
                <a:lnTo>
                  <a:pt x="101288" y="292135"/>
                </a:lnTo>
                <a:lnTo>
                  <a:pt x="158875" y="292135"/>
                </a:lnTo>
                <a:cubicBezTo>
                  <a:pt x="171335" y="292135"/>
                  <a:pt x="180058" y="300847"/>
                  <a:pt x="180058" y="313203"/>
                </a:cubicBezTo>
                <a:lnTo>
                  <a:pt x="180058" y="403167"/>
                </a:lnTo>
                <a:cubicBezTo>
                  <a:pt x="180058" y="415524"/>
                  <a:pt x="171335" y="426991"/>
                  <a:pt x="158875" y="426991"/>
                </a:cubicBezTo>
                <a:lnTo>
                  <a:pt x="24032" y="426991"/>
                </a:lnTo>
                <a:cubicBezTo>
                  <a:pt x="11571" y="426991"/>
                  <a:pt x="0" y="415524"/>
                  <a:pt x="0" y="403167"/>
                </a:cubicBezTo>
                <a:lnTo>
                  <a:pt x="0" y="313203"/>
                </a:lnTo>
                <a:cubicBezTo>
                  <a:pt x="0" y="300847"/>
                  <a:pt x="11571" y="292135"/>
                  <a:pt x="24032" y="292135"/>
                </a:cubicBezTo>
                <a:lnTo>
                  <a:pt x="78770" y="292135"/>
                </a:lnTo>
                <a:lnTo>
                  <a:pt x="78770" y="234530"/>
                </a:lnTo>
                <a:cubicBezTo>
                  <a:pt x="78770" y="228396"/>
                  <a:pt x="85178" y="224751"/>
                  <a:pt x="91409" y="224751"/>
                </a:cubicBezTo>
                <a:close/>
                <a:moveTo>
                  <a:pt x="236326" y="21066"/>
                </a:moveTo>
                <a:lnTo>
                  <a:pt x="236326" y="111021"/>
                </a:lnTo>
                <a:lnTo>
                  <a:pt x="371758" y="111021"/>
                </a:lnTo>
                <a:lnTo>
                  <a:pt x="372380" y="21066"/>
                </a:lnTo>
                <a:lnTo>
                  <a:pt x="237127" y="21066"/>
                </a:lnTo>
                <a:close/>
                <a:moveTo>
                  <a:pt x="237750" y="0"/>
                </a:moveTo>
                <a:lnTo>
                  <a:pt x="372647" y="0"/>
                </a:lnTo>
                <a:cubicBezTo>
                  <a:pt x="385105" y="0"/>
                  <a:pt x="393825" y="8711"/>
                  <a:pt x="393825" y="21066"/>
                </a:cubicBezTo>
                <a:lnTo>
                  <a:pt x="393825" y="111021"/>
                </a:lnTo>
                <a:cubicBezTo>
                  <a:pt x="393825" y="123376"/>
                  <a:pt x="385105" y="134843"/>
                  <a:pt x="372647" y="134843"/>
                </a:cubicBezTo>
                <a:lnTo>
                  <a:pt x="315076" y="134843"/>
                </a:lnTo>
                <a:lnTo>
                  <a:pt x="315076" y="191020"/>
                </a:lnTo>
                <a:lnTo>
                  <a:pt x="292563" y="191020"/>
                </a:lnTo>
                <a:lnTo>
                  <a:pt x="292563" y="134843"/>
                </a:lnTo>
                <a:lnTo>
                  <a:pt x="237750" y="134843"/>
                </a:lnTo>
                <a:cubicBezTo>
                  <a:pt x="225381" y="134843"/>
                  <a:pt x="213813" y="123376"/>
                  <a:pt x="213813" y="111021"/>
                </a:cubicBezTo>
                <a:lnTo>
                  <a:pt x="213813" y="21066"/>
                </a:lnTo>
                <a:cubicBezTo>
                  <a:pt x="213813" y="8711"/>
                  <a:pt x="225381" y="0"/>
                  <a:pt x="23775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54C7B7F3-836A-4D86-B4EA-6FA07923EC4F}"/>
              </a:ext>
            </a:extLst>
          </p:cNvPr>
          <p:cNvCxnSpPr/>
          <p:nvPr/>
        </p:nvCxnSpPr>
        <p:spPr>
          <a:xfrm>
            <a:off x="1117586" y="2441865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A9EB281F-EFFF-4DA4-9AB5-FCBB1E62F537}"/>
              </a:ext>
            </a:extLst>
          </p:cNvPr>
          <p:cNvCxnSpPr/>
          <p:nvPr/>
        </p:nvCxnSpPr>
        <p:spPr>
          <a:xfrm>
            <a:off x="1117586" y="3717032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7C87924B-C341-44B1-A27C-AB26BC92DC36}"/>
              </a:ext>
            </a:extLst>
          </p:cNvPr>
          <p:cNvCxnSpPr/>
          <p:nvPr/>
        </p:nvCxnSpPr>
        <p:spPr>
          <a:xfrm>
            <a:off x="1117586" y="5013176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íşliḓe">
            <a:extLst>
              <a:ext uri="{FF2B5EF4-FFF2-40B4-BE49-F238E27FC236}">
                <a16:creationId xmlns:a16="http://schemas.microsoft.com/office/drawing/2014/main" id="{0AE3CB8D-6529-4C06-B881-C70DE97162E8}"/>
              </a:ext>
            </a:extLst>
          </p:cNvPr>
          <p:cNvSpPr/>
          <p:nvPr/>
        </p:nvSpPr>
        <p:spPr bwMode="auto">
          <a:xfrm>
            <a:off x="8822779" y="178921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31" name="íśľiḑè">
            <a:extLst>
              <a:ext uri="{FF2B5EF4-FFF2-40B4-BE49-F238E27FC236}">
                <a16:creationId xmlns:a16="http://schemas.microsoft.com/office/drawing/2014/main" id="{0C1530D6-91BA-485A-8897-55AC04A86475}"/>
              </a:ext>
            </a:extLst>
          </p:cNvPr>
          <p:cNvSpPr txBox="1"/>
          <p:nvPr/>
        </p:nvSpPr>
        <p:spPr bwMode="auto">
          <a:xfrm>
            <a:off x="8822779" y="137633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32" name="ï$ḻiḑè">
            <a:extLst>
              <a:ext uri="{FF2B5EF4-FFF2-40B4-BE49-F238E27FC236}">
                <a16:creationId xmlns:a16="http://schemas.microsoft.com/office/drawing/2014/main" id="{830C840C-C153-49D7-93BC-2507388C7EAC}"/>
              </a:ext>
            </a:extLst>
          </p:cNvPr>
          <p:cNvSpPr/>
          <p:nvPr/>
        </p:nvSpPr>
        <p:spPr bwMode="auto">
          <a:xfrm>
            <a:off x="8184232" y="1533258"/>
            <a:ext cx="461080" cy="332731"/>
          </a:xfrm>
          <a:custGeom>
            <a:avLst/>
            <a:gdLst>
              <a:gd name="connsiteX0" fmla="*/ 91000 w 605879"/>
              <a:gd name="connsiteY0" fmla="*/ 173662 h 437224"/>
              <a:gd name="connsiteX1" fmla="*/ 331193 w 605879"/>
              <a:gd name="connsiteY1" fmla="*/ 173662 h 437224"/>
              <a:gd name="connsiteX2" fmla="*/ 342454 w 605879"/>
              <a:gd name="connsiteY2" fmla="*/ 184882 h 437224"/>
              <a:gd name="connsiteX3" fmla="*/ 331193 w 605879"/>
              <a:gd name="connsiteY3" fmla="*/ 196102 h 437224"/>
              <a:gd name="connsiteX4" fmla="*/ 91000 w 605879"/>
              <a:gd name="connsiteY4" fmla="*/ 196102 h 437224"/>
              <a:gd name="connsiteX5" fmla="*/ 79739 w 605879"/>
              <a:gd name="connsiteY5" fmla="*/ 184882 h 437224"/>
              <a:gd name="connsiteX6" fmla="*/ 91000 w 605879"/>
              <a:gd name="connsiteY6" fmla="*/ 173662 h 437224"/>
              <a:gd name="connsiteX7" fmla="*/ 421630 w 605879"/>
              <a:gd name="connsiteY7" fmla="*/ 131441 h 437224"/>
              <a:gd name="connsiteX8" fmla="*/ 423552 w 605879"/>
              <a:gd name="connsiteY8" fmla="*/ 152274 h 437224"/>
              <a:gd name="connsiteX9" fmla="*/ 275961 w 605879"/>
              <a:gd name="connsiteY9" fmla="*/ 300986 h 437224"/>
              <a:gd name="connsiteX10" fmla="*/ 408175 w 605879"/>
              <a:gd name="connsiteY10" fmla="*/ 358277 h 437224"/>
              <a:gd name="connsiteX11" fmla="*/ 418060 w 605879"/>
              <a:gd name="connsiteY11" fmla="*/ 365267 h 437224"/>
              <a:gd name="connsiteX12" fmla="*/ 488218 w 605879"/>
              <a:gd name="connsiteY12" fmla="*/ 410360 h 437224"/>
              <a:gd name="connsiteX13" fmla="*/ 474214 w 605879"/>
              <a:gd name="connsiteY13" fmla="*/ 363348 h 437224"/>
              <a:gd name="connsiteX14" fmla="*/ 482039 w 605879"/>
              <a:gd name="connsiteY14" fmla="*/ 349916 h 437224"/>
              <a:gd name="connsiteX15" fmla="*/ 583363 w 605879"/>
              <a:gd name="connsiteY15" fmla="*/ 244928 h 437224"/>
              <a:gd name="connsiteX16" fmla="*/ 421630 w 605879"/>
              <a:gd name="connsiteY16" fmla="*/ 131441 h 437224"/>
              <a:gd name="connsiteX17" fmla="*/ 75898 w 605879"/>
              <a:gd name="connsiteY17" fmla="*/ 120173 h 437224"/>
              <a:gd name="connsiteX18" fmla="*/ 340509 w 605879"/>
              <a:gd name="connsiteY18" fmla="*/ 120173 h 437224"/>
              <a:gd name="connsiteX19" fmla="*/ 351769 w 605879"/>
              <a:gd name="connsiteY19" fmla="*/ 131428 h 437224"/>
              <a:gd name="connsiteX20" fmla="*/ 340509 w 605879"/>
              <a:gd name="connsiteY20" fmla="*/ 142683 h 437224"/>
              <a:gd name="connsiteX21" fmla="*/ 75898 w 605879"/>
              <a:gd name="connsiteY21" fmla="*/ 142683 h 437224"/>
              <a:gd name="connsiteX22" fmla="*/ 64638 w 605879"/>
              <a:gd name="connsiteY22" fmla="*/ 131428 h 437224"/>
              <a:gd name="connsiteX23" fmla="*/ 75898 w 605879"/>
              <a:gd name="connsiteY23" fmla="*/ 120173 h 437224"/>
              <a:gd name="connsiteX24" fmla="*/ 210609 w 605879"/>
              <a:gd name="connsiteY24" fmla="*/ 22478 h 437224"/>
              <a:gd name="connsiteX25" fmla="*/ 22516 w 605879"/>
              <a:gd name="connsiteY25" fmla="*/ 153508 h 437224"/>
              <a:gd name="connsiteX26" fmla="*/ 139216 w 605879"/>
              <a:gd name="connsiteY26" fmla="*/ 274807 h 437224"/>
              <a:gd name="connsiteX27" fmla="*/ 147042 w 605879"/>
              <a:gd name="connsiteY27" fmla="*/ 288102 h 437224"/>
              <a:gd name="connsiteX28" fmla="*/ 130017 w 605879"/>
              <a:gd name="connsiteY28" fmla="*/ 344297 h 437224"/>
              <a:gd name="connsiteX29" fmla="*/ 214041 w 605879"/>
              <a:gd name="connsiteY29" fmla="*/ 291254 h 437224"/>
              <a:gd name="connsiteX30" fmla="*/ 223927 w 605879"/>
              <a:gd name="connsiteY30" fmla="*/ 284264 h 437224"/>
              <a:gd name="connsiteX31" fmla="*/ 398839 w 605879"/>
              <a:gd name="connsiteY31" fmla="*/ 152960 h 437224"/>
              <a:gd name="connsiteX32" fmla="*/ 369596 w 605879"/>
              <a:gd name="connsiteY32" fmla="*/ 80592 h 437224"/>
              <a:gd name="connsiteX33" fmla="*/ 210609 w 605879"/>
              <a:gd name="connsiteY33" fmla="*/ 22478 h 437224"/>
              <a:gd name="connsiteX34" fmla="*/ 210609 w 605879"/>
              <a:gd name="connsiteY34" fmla="*/ 0 h 437224"/>
              <a:gd name="connsiteX35" fmla="*/ 385796 w 605879"/>
              <a:gd name="connsiteY35" fmla="*/ 64967 h 437224"/>
              <a:gd name="connsiteX36" fmla="*/ 414079 w 605879"/>
              <a:gd name="connsiteY36" fmla="*/ 109100 h 437224"/>
              <a:gd name="connsiteX37" fmla="*/ 419845 w 605879"/>
              <a:gd name="connsiteY37" fmla="*/ 108963 h 437224"/>
              <a:gd name="connsiteX38" fmla="*/ 605879 w 605879"/>
              <a:gd name="connsiteY38" fmla="*/ 244928 h 437224"/>
              <a:gd name="connsiteX39" fmla="*/ 498515 w 605879"/>
              <a:gd name="connsiteY39" fmla="*/ 368420 h 437224"/>
              <a:gd name="connsiteX40" fmla="*/ 516088 w 605879"/>
              <a:gd name="connsiteY40" fmla="*/ 414609 h 437224"/>
              <a:gd name="connsiteX41" fmla="*/ 522953 w 605879"/>
              <a:gd name="connsiteY41" fmla="*/ 428178 h 437224"/>
              <a:gd name="connsiteX42" fmla="*/ 510185 w 605879"/>
              <a:gd name="connsiteY42" fmla="*/ 437224 h 437224"/>
              <a:gd name="connsiteX43" fmla="*/ 400487 w 605879"/>
              <a:gd name="connsiteY43" fmla="*/ 380344 h 437224"/>
              <a:gd name="connsiteX44" fmla="*/ 250836 w 605879"/>
              <a:gd name="connsiteY44" fmla="*/ 304275 h 437224"/>
              <a:gd name="connsiteX45" fmla="*/ 231752 w 605879"/>
              <a:gd name="connsiteY45" fmla="*/ 306331 h 437224"/>
              <a:gd name="connsiteX46" fmla="*/ 107639 w 605879"/>
              <a:gd name="connsiteY46" fmla="*/ 371161 h 437224"/>
              <a:gd name="connsiteX47" fmla="*/ 94596 w 605879"/>
              <a:gd name="connsiteY47" fmla="*/ 361978 h 437224"/>
              <a:gd name="connsiteX48" fmla="*/ 102009 w 605879"/>
              <a:gd name="connsiteY48" fmla="*/ 348135 h 437224"/>
              <a:gd name="connsiteX49" fmla="*/ 122741 w 605879"/>
              <a:gd name="connsiteY49" fmla="*/ 293173 h 437224"/>
              <a:gd name="connsiteX50" fmla="*/ 0 w 605879"/>
              <a:gd name="connsiteY50" fmla="*/ 153508 h 437224"/>
              <a:gd name="connsiteX51" fmla="*/ 210609 w 605879"/>
              <a:gd name="connsiteY51" fmla="*/ 0 h 437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05879" h="437224">
                <a:moveTo>
                  <a:pt x="91000" y="173662"/>
                </a:moveTo>
                <a:lnTo>
                  <a:pt x="331193" y="173662"/>
                </a:lnTo>
                <a:cubicBezTo>
                  <a:pt x="337373" y="173662"/>
                  <a:pt x="342454" y="178725"/>
                  <a:pt x="342454" y="184882"/>
                </a:cubicBezTo>
                <a:cubicBezTo>
                  <a:pt x="342454" y="191040"/>
                  <a:pt x="337373" y="196102"/>
                  <a:pt x="331193" y="196102"/>
                </a:cubicBezTo>
                <a:lnTo>
                  <a:pt x="91000" y="196102"/>
                </a:lnTo>
                <a:cubicBezTo>
                  <a:pt x="84683" y="196102"/>
                  <a:pt x="79739" y="191040"/>
                  <a:pt x="79739" y="184882"/>
                </a:cubicBezTo>
                <a:cubicBezTo>
                  <a:pt x="79739" y="178725"/>
                  <a:pt x="84683" y="173662"/>
                  <a:pt x="91000" y="173662"/>
                </a:cubicBezTo>
                <a:close/>
                <a:moveTo>
                  <a:pt x="421630" y="131441"/>
                </a:moveTo>
                <a:cubicBezTo>
                  <a:pt x="423003" y="138294"/>
                  <a:pt x="423552" y="145284"/>
                  <a:pt x="423552" y="152274"/>
                </a:cubicBezTo>
                <a:cubicBezTo>
                  <a:pt x="423552" y="220668"/>
                  <a:pt x="362456" y="281249"/>
                  <a:pt x="275961" y="300986"/>
                </a:cubicBezTo>
                <a:cubicBezTo>
                  <a:pt x="302047" y="334017"/>
                  <a:pt x="350924" y="355536"/>
                  <a:pt x="408175" y="358277"/>
                </a:cubicBezTo>
                <a:cubicBezTo>
                  <a:pt x="412569" y="358551"/>
                  <a:pt x="416413" y="361293"/>
                  <a:pt x="418060" y="365267"/>
                </a:cubicBezTo>
                <a:cubicBezTo>
                  <a:pt x="427259" y="388019"/>
                  <a:pt x="463505" y="403370"/>
                  <a:pt x="488218" y="410360"/>
                </a:cubicBezTo>
                <a:cubicBezTo>
                  <a:pt x="483962" y="399944"/>
                  <a:pt x="479156" y="385004"/>
                  <a:pt x="474214" y="363348"/>
                </a:cubicBezTo>
                <a:cubicBezTo>
                  <a:pt x="472841" y="357455"/>
                  <a:pt x="476273" y="351698"/>
                  <a:pt x="482039" y="349916"/>
                </a:cubicBezTo>
                <a:cubicBezTo>
                  <a:pt x="543685" y="332236"/>
                  <a:pt x="583500" y="290980"/>
                  <a:pt x="583363" y="244928"/>
                </a:cubicBezTo>
                <a:cubicBezTo>
                  <a:pt x="583363" y="182839"/>
                  <a:pt x="511009" y="132126"/>
                  <a:pt x="421630" y="131441"/>
                </a:cubicBezTo>
                <a:close/>
                <a:moveTo>
                  <a:pt x="75898" y="120173"/>
                </a:moveTo>
                <a:lnTo>
                  <a:pt x="340509" y="120173"/>
                </a:lnTo>
                <a:cubicBezTo>
                  <a:pt x="346826" y="120173"/>
                  <a:pt x="351769" y="125114"/>
                  <a:pt x="351769" y="131428"/>
                </a:cubicBezTo>
                <a:cubicBezTo>
                  <a:pt x="351769" y="137604"/>
                  <a:pt x="346826" y="142683"/>
                  <a:pt x="340509" y="142683"/>
                </a:cubicBezTo>
                <a:lnTo>
                  <a:pt x="75898" y="142683"/>
                </a:lnTo>
                <a:cubicBezTo>
                  <a:pt x="69719" y="142683"/>
                  <a:pt x="64638" y="137604"/>
                  <a:pt x="64638" y="131428"/>
                </a:cubicBezTo>
                <a:cubicBezTo>
                  <a:pt x="64638" y="125114"/>
                  <a:pt x="69719" y="120173"/>
                  <a:pt x="75898" y="120173"/>
                </a:cubicBezTo>
                <a:close/>
                <a:moveTo>
                  <a:pt x="210609" y="22478"/>
                </a:moveTo>
                <a:cubicBezTo>
                  <a:pt x="106952" y="22478"/>
                  <a:pt x="22516" y="81277"/>
                  <a:pt x="22516" y="153508"/>
                </a:cubicBezTo>
                <a:cubicBezTo>
                  <a:pt x="22516" y="206688"/>
                  <a:pt x="68372" y="254385"/>
                  <a:pt x="139216" y="274807"/>
                </a:cubicBezTo>
                <a:cubicBezTo>
                  <a:pt x="144983" y="276452"/>
                  <a:pt x="148415" y="282208"/>
                  <a:pt x="147042" y="288102"/>
                </a:cubicBezTo>
                <a:cubicBezTo>
                  <a:pt x="140864" y="314966"/>
                  <a:pt x="135097" y="332647"/>
                  <a:pt x="130017" y="344297"/>
                </a:cubicBezTo>
                <a:cubicBezTo>
                  <a:pt x="158437" y="336622"/>
                  <a:pt x="203058" y="318667"/>
                  <a:pt x="214041" y="291254"/>
                </a:cubicBezTo>
                <a:cubicBezTo>
                  <a:pt x="215689" y="287280"/>
                  <a:pt x="219533" y="284538"/>
                  <a:pt x="223927" y="284264"/>
                </a:cubicBezTo>
                <a:cubicBezTo>
                  <a:pt x="320170" y="279604"/>
                  <a:pt x="395407" y="223135"/>
                  <a:pt x="398839" y="152960"/>
                </a:cubicBezTo>
                <a:cubicBezTo>
                  <a:pt x="400075" y="126918"/>
                  <a:pt x="389915" y="101836"/>
                  <a:pt x="369596" y="80592"/>
                </a:cubicBezTo>
                <a:cubicBezTo>
                  <a:pt x="334860" y="44133"/>
                  <a:pt x="275412" y="22478"/>
                  <a:pt x="210609" y="22478"/>
                </a:cubicBezTo>
                <a:close/>
                <a:moveTo>
                  <a:pt x="210609" y="0"/>
                </a:moveTo>
                <a:cubicBezTo>
                  <a:pt x="281453" y="0"/>
                  <a:pt x="346942" y="24260"/>
                  <a:pt x="385796" y="64967"/>
                </a:cubicBezTo>
                <a:cubicBezTo>
                  <a:pt x="398702" y="78536"/>
                  <a:pt x="408175" y="93338"/>
                  <a:pt x="414079" y="109100"/>
                </a:cubicBezTo>
                <a:cubicBezTo>
                  <a:pt x="416001" y="108963"/>
                  <a:pt x="417923" y="108963"/>
                  <a:pt x="419845" y="108963"/>
                </a:cubicBezTo>
                <a:cubicBezTo>
                  <a:pt x="522404" y="108963"/>
                  <a:pt x="606016" y="169955"/>
                  <a:pt x="605879" y="244928"/>
                </a:cubicBezTo>
                <a:cubicBezTo>
                  <a:pt x="605879" y="298519"/>
                  <a:pt x="564141" y="346079"/>
                  <a:pt x="498515" y="368420"/>
                </a:cubicBezTo>
                <a:cubicBezTo>
                  <a:pt x="506066" y="398025"/>
                  <a:pt x="512931" y="412279"/>
                  <a:pt x="516088" y="414609"/>
                </a:cubicBezTo>
                <a:cubicBezTo>
                  <a:pt x="524601" y="418858"/>
                  <a:pt x="523228" y="426671"/>
                  <a:pt x="522953" y="428178"/>
                </a:cubicBezTo>
                <a:cubicBezTo>
                  <a:pt x="522541" y="429686"/>
                  <a:pt x="520207" y="437224"/>
                  <a:pt x="510185" y="437224"/>
                </a:cubicBezTo>
                <a:cubicBezTo>
                  <a:pt x="497828" y="437224"/>
                  <a:pt x="423689" y="421325"/>
                  <a:pt x="400487" y="380344"/>
                </a:cubicBezTo>
                <a:cubicBezTo>
                  <a:pt x="333899" y="375410"/>
                  <a:pt x="277746" y="346764"/>
                  <a:pt x="250836" y="304275"/>
                </a:cubicBezTo>
                <a:cubicBezTo>
                  <a:pt x="244521" y="305098"/>
                  <a:pt x="238205" y="305783"/>
                  <a:pt x="231752" y="306331"/>
                </a:cubicBezTo>
                <a:cubicBezTo>
                  <a:pt x="206216" y="353069"/>
                  <a:pt x="121643" y="371161"/>
                  <a:pt x="107639" y="371161"/>
                </a:cubicBezTo>
                <a:cubicBezTo>
                  <a:pt x="97616" y="371161"/>
                  <a:pt x="95145" y="364171"/>
                  <a:pt x="94596" y="361978"/>
                </a:cubicBezTo>
                <a:cubicBezTo>
                  <a:pt x="94184" y="360470"/>
                  <a:pt x="92948" y="352658"/>
                  <a:pt x="102009" y="348135"/>
                </a:cubicBezTo>
                <a:cubicBezTo>
                  <a:pt x="105030" y="345942"/>
                  <a:pt x="113130" y="331550"/>
                  <a:pt x="122741" y="293173"/>
                </a:cubicBezTo>
                <a:cubicBezTo>
                  <a:pt x="47778" y="268228"/>
                  <a:pt x="0" y="214226"/>
                  <a:pt x="0" y="153508"/>
                </a:cubicBezTo>
                <a:cubicBezTo>
                  <a:pt x="0" y="68804"/>
                  <a:pt x="94458" y="0"/>
                  <a:pt x="21060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7" name="ïṧḷiḓè">
            <a:extLst>
              <a:ext uri="{FF2B5EF4-FFF2-40B4-BE49-F238E27FC236}">
                <a16:creationId xmlns:a16="http://schemas.microsoft.com/office/drawing/2014/main" id="{D8D7ADDB-34F7-44DA-B692-BE8BF615E8C5}"/>
              </a:ext>
            </a:extLst>
          </p:cNvPr>
          <p:cNvSpPr/>
          <p:nvPr/>
        </p:nvSpPr>
        <p:spPr bwMode="auto">
          <a:xfrm>
            <a:off x="8822779" y="305488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8" name="ïṡḷiḋé">
            <a:extLst>
              <a:ext uri="{FF2B5EF4-FFF2-40B4-BE49-F238E27FC236}">
                <a16:creationId xmlns:a16="http://schemas.microsoft.com/office/drawing/2014/main" id="{1E16709A-A1B7-4DAA-BCA0-A7A5357EC8F6}"/>
              </a:ext>
            </a:extLst>
          </p:cNvPr>
          <p:cNvSpPr txBox="1"/>
          <p:nvPr/>
        </p:nvSpPr>
        <p:spPr bwMode="auto">
          <a:xfrm>
            <a:off x="8822779" y="264200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29" name="iśḷïḓê">
            <a:extLst>
              <a:ext uri="{FF2B5EF4-FFF2-40B4-BE49-F238E27FC236}">
                <a16:creationId xmlns:a16="http://schemas.microsoft.com/office/drawing/2014/main" id="{87905359-6DCF-49F3-89FD-4CDE7F52D60E}"/>
              </a:ext>
            </a:extLst>
          </p:cNvPr>
          <p:cNvSpPr/>
          <p:nvPr/>
        </p:nvSpPr>
        <p:spPr bwMode="auto">
          <a:xfrm>
            <a:off x="8184232" y="2735101"/>
            <a:ext cx="461080" cy="460384"/>
          </a:xfrm>
          <a:custGeom>
            <a:avLst/>
            <a:gdLst>
              <a:gd name="connsiteX0" fmla="*/ 303775 w 607639"/>
              <a:gd name="connsiteY0" fmla="*/ 525007 h 606722"/>
              <a:gd name="connsiteX1" fmla="*/ 315710 w 607639"/>
              <a:gd name="connsiteY1" fmla="*/ 536902 h 606722"/>
              <a:gd name="connsiteX2" fmla="*/ 315710 w 607639"/>
              <a:gd name="connsiteY2" fmla="*/ 552347 h 606722"/>
              <a:gd name="connsiteX3" fmla="*/ 303775 w 607639"/>
              <a:gd name="connsiteY3" fmla="*/ 564241 h 606722"/>
              <a:gd name="connsiteX4" fmla="*/ 291929 w 607639"/>
              <a:gd name="connsiteY4" fmla="*/ 552347 h 606722"/>
              <a:gd name="connsiteX5" fmla="*/ 291929 w 607639"/>
              <a:gd name="connsiteY5" fmla="*/ 536902 h 606722"/>
              <a:gd name="connsiteX6" fmla="*/ 303775 w 607639"/>
              <a:gd name="connsiteY6" fmla="*/ 525007 h 606722"/>
              <a:gd name="connsiteX7" fmla="*/ 429885 w 607639"/>
              <a:gd name="connsiteY7" fmla="*/ 509483 h 606722"/>
              <a:gd name="connsiteX8" fmla="*/ 441811 w 607639"/>
              <a:gd name="connsiteY8" fmla="*/ 521409 h 606722"/>
              <a:gd name="connsiteX9" fmla="*/ 429885 w 607639"/>
              <a:gd name="connsiteY9" fmla="*/ 533335 h 606722"/>
              <a:gd name="connsiteX10" fmla="*/ 417959 w 607639"/>
              <a:gd name="connsiteY10" fmla="*/ 521409 h 606722"/>
              <a:gd name="connsiteX11" fmla="*/ 429885 w 607639"/>
              <a:gd name="connsiteY11" fmla="*/ 509483 h 606722"/>
              <a:gd name="connsiteX12" fmla="*/ 177720 w 607639"/>
              <a:gd name="connsiteY12" fmla="*/ 509483 h 606722"/>
              <a:gd name="connsiteX13" fmla="*/ 189611 w 607639"/>
              <a:gd name="connsiteY13" fmla="*/ 521409 h 606722"/>
              <a:gd name="connsiteX14" fmla="*/ 177720 w 607639"/>
              <a:gd name="connsiteY14" fmla="*/ 533335 h 606722"/>
              <a:gd name="connsiteX15" fmla="*/ 165829 w 607639"/>
              <a:gd name="connsiteY15" fmla="*/ 521409 h 606722"/>
              <a:gd name="connsiteX16" fmla="*/ 177720 w 607639"/>
              <a:gd name="connsiteY16" fmla="*/ 509483 h 606722"/>
              <a:gd name="connsiteX17" fmla="*/ 522185 w 607639"/>
              <a:gd name="connsiteY17" fmla="*/ 417324 h 606722"/>
              <a:gd name="connsiteX18" fmla="*/ 534111 w 607639"/>
              <a:gd name="connsiteY18" fmla="*/ 429250 h 606722"/>
              <a:gd name="connsiteX19" fmla="*/ 522185 w 607639"/>
              <a:gd name="connsiteY19" fmla="*/ 441176 h 606722"/>
              <a:gd name="connsiteX20" fmla="*/ 510259 w 607639"/>
              <a:gd name="connsiteY20" fmla="*/ 429250 h 606722"/>
              <a:gd name="connsiteX21" fmla="*/ 522185 w 607639"/>
              <a:gd name="connsiteY21" fmla="*/ 417324 h 606722"/>
              <a:gd name="connsiteX22" fmla="*/ 85420 w 607639"/>
              <a:gd name="connsiteY22" fmla="*/ 417324 h 606722"/>
              <a:gd name="connsiteX23" fmla="*/ 97311 w 607639"/>
              <a:gd name="connsiteY23" fmla="*/ 429250 h 606722"/>
              <a:gd name="connsiteX24" fmla="*/ 85420 w 607639"/>
              <a:gd name="connsiteY24" fmla="*/ 441176 h 606722"/>
              <a:gd name="connsiteX25" fmla="*/ 73529 w 607639"/>
              <a:gd name="connsiteY25" fmla="*/ 429250 h 606722"/>
              <a:gd name="connsiteX26" fmla="*/ 85420 w 607639"/>
              <a:gd name="connsiteY26" fmla="*/ 417324 h 606722"/>
              <a:gd name="connsiteX27" fmla="*/ 537643 w 607639"/>
              <a:gd name="connsiteY27" fmla="*/ 291506 h 606722"/>
              <a:gd name="connsiteX28" fmla="*/ 555628 w 607639"/>
              <a:gd name="connsiteY28" fmla="*/ 291506 h 606722"/>
              <a:gd name="connsiteX29" fmla="*/ 567558 w 607639"/>
              <a:gd name="connsiteY29" fmla="*/ 303316 h 606722"/>
              <a:gd name="connsiteX30" fmla="*/ 555628 w 607639"/>
              <a:gd name="connsiteY30" fmla="*/ 315216 h 606722"/>
              <a:gd name="connsiteX31" fmla="*/ 537643 w 607639"/>
              <a:gd name="connsiteY31" fmla="*/ 315216 h 606722"/>
              <a:gd name="connsiteX32" fmla="*/ 525713 w 607639"/>
              <a:gd name="connsiteY32" fmla="*/ 303316 h 606722"/>
              <a:gd name="connsiteX33" fmla="*/ 537643 w 607639"/>
              <a:gd name="connsiteY33" fmla="*/ 291506 h 606722"/>
              <a:gd name="connsiteX34" fmla="*/ 51991 w 607639"/>
              <a:gd name="connsiteY34" fmla="*/ 291506 h 606722"/>
              <a:gd name="connsiteX35" fmla="*/ 69946 w 607639"/>
              <a:gd name="connsiteY35" fmla="*/ 291506 h 606722"/>
              <a:gd name="connsiteX36" fmla="*/ 81856 w 607639"/>
              <a:gd name="connsiteY36" fmla="*/ 303316 h 606722"/>
              <a:gd name="connsiteX37" fmla="*/ 69946 w 607639"/>
              <a:gd name="connsiteY37" fmla="*/ 315216 h 606722"/>
              <a:gd name="connsiteX38" fmla="*/ 51991 w 607639"/>
              <a:gd name="connsiteY38" fmla="*/ 315216 h 606722"/>
              <a:gd name="connsiteX39" fmla="*/ 40081 w 607639"/>
              <a:gd name="connsiteY39" fmla="*/ 303316 h 606722"/>
              <a:gd name="connsiteX40" fmla="*/ 51991 w 607639"/>
              <a:gd name="connsiteY40" fmla="*/ 291506 h 606722"/>
              <a:gd name="connsiteX41" fmla="*/ 412608 w 607639"/>
              <a:gd name="connsiteY41" fmla="*/ 222096 h 606722"/>
              <a:gd name="connsiteX42" fmla="*/ 345491 w 607639"/>
              <a:gd name="connsiteY42" fmla="*/ 334245 h 606722"/>
              <a:gd name="connsiteX43" fmla="*/ 412608 w 607639"/>
              <a:gd name="connsiteY43" fmla="*/ 334245 h 606722"/>
              <a:gd name="connsiteX44" fmla="*/ 427651 w 607639"/>
              <a:gd name="connsiteY44" fmla="*/ 167533 h 606722"/>
              <a:gd name="connsiteX45" fmla="*/ 436375 w 607639"/>
              <a:gd name="connsiteY45" fmla="*/ 178996 h 606722"/>
              <a:gd name="connsiteX46" fmla="*/ 436375 w 607639"/>
              <a:gd name="connsiteY46" fmla="*/ 334245 h 606722"/>
              <a:gd name="connsiteX47" fmla="*/ 469399 w 607639"/>
              <a:gd name="connsiteY47" fmla="*/ 334245 h 606722"/>
              <a:gd name="connsiteX48" fmla="*/ 481327 w 607639"/>
              <a:gd name="connsiteY48" fmla="*/ 346153 h 606722"/>
              <a:gd name="connsiteX49" fmla="*/ 469399 w 607639"/>
              <a:gd name="connsiteY49" fmla="*/ 357973 h 606722"/>
              <a:gd name="connsiteX50" fmla="*/ 436375 w 607639"/>
              <a:gd name="connsiteY50" fmla="*/ 357973 h 606722"/>
              <a:gd name="connsiteX51" fmla="*/ 436375 w 607639"/>
              <a:gd name="connsiteY51" fmla="*/ 427733 h 606722"/>
              <a:gd name="connsiteX52" fmla="*/ 424536 w 607639"/>
              <a:gd name="connsiteY52" fmla="*/ 439552 h 606722"/>
              <a:gd name="connsiteX53" fmla="*/ 412608 w 607639"/>
              <a:gd name="connsiteY53" fmla="*/ 427733 h 606722"/>
              <a:gd name="connsiteX54" fmla="*/ 412608 w 607639"/>
              <a:gd name="connsiteY54" fmla="*/ 357973 h 606722"/>
              <a:gd name="connsiteX55" fmla="*/ 324573 w 607639"/>
              <a:gd name="connsiteY55" fmla="*/ 357973 h 606722"/>
              <a:gd name="connsiteX56" fmla="*/ 314158 w 607639"/>
              <a:gd name="connsiteY56" fmla="*/ 352019 h 606722"/>
              <a:gd name="connsiteX57" fmla="*/ 314336 w 607639"/>
              <a:gd name="connsiteY57" fmla="*/ 340022 h 606722"/>
              <a:gd name="connsiteX58" fmla="*/ 414299 w 607639"/>
              <a:gd name="connsiteY58" fmla="*/ 172953 h 606722"/>
              <a:gd name="connsiteX59" fmla="*/ 427651 w 607639"/>
              <a:gd name="connsiteY59" fmla="*/ 167533 h 606722"/>
              <a:gd name="connsiteX60" fmla="*/ 216270 w 607639"/>
              <a:gd name="connsiteY60" fmla="*/ 167099 h 606722"/>
              <a:gd name="connsiteX61" fmla="*/ 290518 w 607639"/>
              <a:gd name="connsiteY61" fmla="*/ 241210 h 606722"/>
              <a:gd name="connsiteX62" fmla="*/ 242978 w 607639"/>
              <a:gd name="connsiteY62" fmla="*/ 355754 h 606722"/>
              <a:gd name="connsiteX63" fmla="*/ 182707 w 607639"/>
              <a:gd name="connsiteY63" fmla="*/ 415825 h 606722"/>
              <a:gd name="connsiteX64" fmla="*/ 278588 w 607639"/>
              <a:gd name="connsiteY64" fmla="*/ 415825 h 606722"/>
              <a:gd name="connsiteX65" fmla="*/ 290518 w 607639"/>
              <a:gd name="connsiteY65" fmla="*/ 427734 h 606722"/>
              <a:gd name="connsiteX66" fmla="*/ 278588 w 607639"/>
              <a:gd name="connsiteY66" fmla="*/ 439552 h 606722"/>
              <a:gd name="connsiteX67" fmla="*/ 154040 w 607639"/>
              <a:gd name="connsiteY67" fmla="*/ 439552 h 606722"/>
              <a:gd name="connsiteX68" fmla="*/ 143001 w 607639"/>
              <a:gd name="connsiteY68" fmla="*/ 432265 h 606722"/>
              <a:gd name="connsiteX69" fmla="*/ 145582 w 607639"/>
              <a:gd name="connsiteY69" fmla="*/ 419292 h 606722"/>
              <a:gd name="connsiteX70" fmla="*/ 226152 w 607639"/>
              <a:gd name="connsiteY70" fmla="*/ 338959 h 606722"/>
              <a:gd name="connsiteX71" fmla="*/ 266659 w 607639"/>
              <a:gd name="connsiteY71" fmla="*/ 241210 h 606722"/>
              <a:gd name="connsiteX72" fmla="*/ 216270 w 607639"/>
              <a:gd name="connsiteY72" fmla="*/ 190914 h 606722"/>
              <a:gd name="connsiteX73" fmla="*/ 165880 w 607639"/>
              <a:gd name="connsiteY73" fmla="*/ 241210 h 606722"/>
              <a:gd name="connsiteX74" fmla="*/ 154040 w 607639"/>
              <a:gd name="connsiteY74" fmla="*/ 253029 h 606722"/>
              <a:gd name="connsiteX75" fmla="*/ 142110 w 607639"/>
              <a:gd name="connsiteY75" fmla="*/ 241210 h 606722"/>
              <a:gd name="connsiteX76" fmla="*/ 216270 w 607639"/>
              <a:gd name="connsiteY76" fmla="*/ 167099 h 606722"/>
              <a:gd name="connsiteX77" fmla="*/ 522185 w 607639"/>
              <a:gd name="connsiteY77" fmla="*/ 165547 h 606722"/>
              <a:gd name="connsiteX78" fmla="*/ 534111 w 607639"/>
              <a:gd name="connsiteY78" fmla="*/ 177438 h 606722"/>
              <a:gd name="connsiteX79" fmla="*/ 522185 w 607639"/>
              <a:gd name="connsiteY79" fmla="*/ 189329 h 606722"/>
              <a:gd name="connsiteX80" fmla="*/ 510259 w 607639"/>
              <a:gd name="connsiteY80" fmla="*/ 177438 h 606722"/>
              <a:gd name="connsiteX81" fmla="*/ 522185 w 607639"/>
              <a:gd name="connsiteY81" fmla="*/ 165547 h 606722"/>
              <a:gd name="connsiteX82" fmla="*/ 85420 w 607639"/>
              <a:gd name="connsiteY82" fmla="*/ 165547 h 606722"/>
              <a:gd name="connsiteX83" fmla="*/ 97311 w 607639"/>
              <a:gd name="connsiteY83" fmla="*/ 177438 h 606722"/>
              <a:gd name="connsiteX84" fmla="*/ 85420 w 607639"/>
              <a:gd name="connsiteY84" fmla="*/ 189329 h 606722"/>
              <a:gd name="connsiteX85" fmla="*/ 73529 w 607639"/>
              <a:gd name="connsiteY85" fmla="*/ 177438 h 606722"/>
              <a:gd name="connsiteX86" fmla="*/ 85420 w 607639"/>
              <a:gd name="connsiteY86" fmla="*/ 165547 h 606722"/>
              <a:gd name="connsiteX87" fmla="*/ 429885 w 607639"/>
              <a:gd name="connsiteY87" fmla="*/ 73388 h 606722"/>
              <a:gd name="connsiteX88" fmla="*/ 441811 w 607639"/>
              <a:gd name="connsiteY88" fmla="*/ 85279 h 606722"/>
              <a:gd name="connsiteX89" fmla="*/ 429885 w 607639"/>
              <a:gd name="connsiteY89" fmla="*/ 97170 h 606722"/>
              <a:gd name="connsiteX90" fmla="*/ 417959 w 607639"/>
              <a:gd name="connsiteY90" fmla="*/ 85279 h 606722"/>
              <a:gd name="connsiteX91" fmla="*/ 429885 w 607639"/>
              <a:gd name="connsiteY91" fmla="*/ 73388 h 606722"/>
              <a:gd name="connsiteX92" fmla="*/ 177720 w 607639"/>
              <a:gd name="connsiteY92" fmla="*/ 73388 h 606722"/>
              <a:gd name="connsiteX93" fmla="*/ 189611 w 607639"/>
              <a:gd name="connsiteY93" fmla="*/ 85279 h 606722"/>
              <a:gd name="connsiteX94" fmla="*/ 177720 w 607639"/>
              <a:gd name="connsiteY94" fmla="*/ 97170 h 606722"/>
              <a:gd name="connsiteX95" fmla="*/ 165829 w 607639"/>
              <a:gd name="connsiteY95" fmla="*/ 85279 h 606722"/>
              <a:gd name="connsiteX96" fmla="*/ 177720 w 607639"/>
              <a:gd name="connsiteY96" fmla="*/ 73388 h 606722"/>
              <a:gd name="connsiteX97" fmla="*/ 303775 w 607639"/>
              <a:gd name="connsiteY97" fmla="*/ 42480 h 606722"/>
              <a:gd name="connsiteX98" fmla="*/ 315710 w 607639"/>
              <a:gd name="connsiteY98" fmla="*/ 54396 h 606722"/>
              <a:gd name="connsiteX99" fmla="*/ 315710 w 607639"/>
              <a:gd name="connsiteY99" fmla="*/ 69869 h 606722"/>
              <a:gd name="connsiteX100" fmla="*/ 303775 w 607639"/>
              <a:gd name="connsiteY100" fmla="*/ 81785 h 606722"/>
              <a:gd name="connsiteX101" fmla="*/ 291929 w 607639"/>
              <a:gd name="connsiteY101" fmla="*/ 69869 h 606722"/>
              <a:gd name="connsiteX102" fmla="*/ 291929 w 607639"/>
              <a:gd name="connsiteY102" fmla="*/ 54396 h 606722"/>
              <a:gd name="connsiteX103" fmla="*/ 303775 w 607639"/>
              <a:gd name="connsiteY103" fmla="*/ 42480 h 606722"/>
              <a:gd name="connsiteX104" fmla="*/ 303775 w 607639"/>
              <a:gd name="connsiteY104" fmla="*/ 0 h 606722"/>
              <a:gd name="connsiteX105" fmla="*/ 537058 w 607639"/>
              <a:gd name="connsiteY105" fmla="*/ 108956 h 606722"/>
              <a:gd name="connsiteX106" fmla="*/ 537058 w 607639"/>
              <a:gd name="connsiteY106" fmla="*/ 93048 h 606722"/>
              <a:gd name="connsiteX107" fmla="*/ 548895 w 607639"/>
              <a:gd name="connsiteY107" fmla="*/ 81139 h 606722"/>
              <a:gd name="connsiteX108" fmla="*/ 560822 w 607639"/>
              <a:gd name="connsiteY108" fmla="*/ 93048 h 606722"/>
              <a:gd name="connsiteX109" fmla="*/ 560822 w 607639"/>
              <a:gd name="connsiteY109" fmla="*/ 138994 h 606722"/>
              <a:gd name="connsiteX110" fmla="*/ 548895 w 607639"/>
              <a:gd name="connsiteY110" fmla="*/ 150903 h 606722"/>
              <a:gd name="connsiteX111" fmla="*/ 502880 w 607639"/>
              <a:gd name="connsiteY111" fmla="*/ 150903 h 606722"/>
              <a:gd name="connsiteX112" fmla="*/ 490953 w 607639"/>
              <a:gd name="connsiteY112" fmla="*/ 138994 h 606722"/>
              <a:gd name="connsiteX113" fmla="*/ 502880 w 607639"/>
              <a:gd name="connsiteY113" fmla="*/ 127174 h 606722"/>
              <a:gd name="connsiteX114" fmla="*/ 521126 w 607639"/>
              <a:gd name="connsiteY114" fmla="*/ 127174 h 606722"/>
              <a:gd name="connsiteX115" fmla="*/ 303775 w 607639"/>
              <a:gd name="connsiteY115" fmla="*/ 23728 h 606722"/>
              <a:gd name="connsiteX116" fmla="*/ 23764 w 607639"/>
              <a:gd name="connsiteY116" fmla="*/ 303316 h 606722"/>
              <a:gd name="connsiteX117" fmla="*/ 303775 w 607639"/>
              <a:gd name="connsiteY117" fmla="*/ 582905 h 606722"/>
              <a:gd name="connsiteX118" fmla="*/ 583786 w 607639"/>
              <a:gd name="connsiteY118" fmla="*/ 303316 h 606722"/>
              <a:gd name="connsiteX119" fmla="*/ 573906 w 607639"/>
              <a:gd name="connsiteY119" fmla="*/ 229376 h 606722"/>
              <a:gd name="connsiteX120" fmla="*/ 582273 w 607639"/>
              <a:gd name="connsiteY120" fmla="*/ 214801 h 606722"/>
              <a:gd name="connsiteX121" fmla="*/ 596869 w 607639"/>
              <a:gd name="connsiteY121" fmla="*/ 223066 h 606722"/>
              <a:gd name="connsiteX122" fmla="*/ 607639 w 607639"/>
              <a:gd name="connsiteY122" fmla="*/ 303316 h 606722"/>
              <a:gd name="connsiteX123" fmla="*/ 303775 w 607639"/>
              <a:gd name="connsiteY123" fmla="*/ 606722 h 606722"/>
              <a:gd name="connsiteX124" fmla="*/ 0 w 607639"/>
              <a:gd name="connsiteY124" fmla="*/ 303316 h 606722"/>
              <a:gd name="connsiteX125" fmla="*/ 303775 w 607639"/>
              <a:gd name="connsiteY125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607639" h="606722">
                <a:moveTo>
                  <a:pt x="303775" y="525007"/>
                </a:moveTo>
                <a:cubicBezTo>
                  <a:pt x="310366" y="525007"/>
                  <a:pt x="315710" y="530333"/>
                  <a:pt x="315710" y="536902"/>
                </a:cubicBezTo>
                <a:lnTo>
                  <a:pt x="315710" y="552347"/>
                </a:lnTo>
                <a:cubicBezTo>
                  <a:pt x="315710" y="558915"/>
                  <a:pt x="310366" y="564241"/>
                  <a:pt x="303775" y="564241"/>
                </a:cubicBezTo>
                <a:cubicBezTo>
                  <a:pt x="297184" y="564241"/>
                  <a:pt x="291929" y="558915"/>
                  <a:pt x="291929" y="552347"/>
                </a:cubicBezTo>
                <a:lnTo>
                  <a:pt x="291929" y="536902"/>
                </a:lnTo>
                <a:cubicBezTo>
                  <a:pt x="291929" y="530333"/>
                  <a:pt x="297184" y="525007"/>
                  <a:pt x="303775" y="525007"/>
                </a:cubicBezTo>
                <a:close/>
                <a:moveTo>
                  <a:pt x="429885" y="509483"/>
                </a:moveTo>
                <a:cubicBezTo>
                  <a:pt x="436472" y="509483"/>
                  <a:pt x="441811" y="514822"/>
                  <a:pt x="441811" y="521409"/>
                </a:cubicBezTo>
                <a:cubicBezTo>
                  <a:pt x="441811" y="527996"/>
                  <a:pt x="436472" y="533335"/>
                  <a:pt x="429885" y="533335"/>
                </a:cubicBezTo>
                <a:cubicBezTo>
                  <a:pt x="423298" y="533335"/>
                  <a:pt x="417959" y="527996"/>
                  <a:pt x="417959" y="521409"/>
                </a:cubicBezTo>
                <a:cubicBezTo>
                  <a:pt x="417959" y="514822"/>
                  <a:pt x="423298" y="509483"/>
                  <a:pt x="429885" y="509483"/>
                </a:cubicBezTo>
                <a:close/>
                <a:moveTo>
                  <a:pt x="177720" y="509483"/>
                </a:moveTo>
                <a:cubicBezTo>
                  <a:pt x="184287" y="509483"/>
                  <a:pt x="189611" y="514822"/>
                  <a:pt x="189611" y="521409"/>
                </a:cubicBezTo>
                <a:cubicBezTo>
                  <a:pt x="189611" y="527996"/>
                  <a:pt x="184287" y="533335"/>
                  <a:pt x="177720" y="533335"/>
                </a:cubicBezTo>
                <a:cubicBezTo>
                  <a:pt x="171153" y="533335"/>
                  <a:pt x="165829" y="527996"/>
                  <a:pt x="165829" y="521409"/>
                </a:cubicBezTo>
                <a:cubicBezTo>
                  <a:pt x="165829" y="514822"/>
                  <a:pt x="171153" y="509483"/>
                  <a:pt x="177720" y="509483"/>
                </a:cubicBezTo>
                <a:close/>
                <a:moveTo>
                  <a:pt x="522185" y="417324"/>
                </a:moveTo>
                <a:cubicBezTo>
                  <a:pt x="528772" y="417324"/>
                  <a:pt x="534111" y="422663"/>
                  <a:pt x="534111" y="429250"/>
                </a:cubicBezTo>
                <a:cubicBezTo>
                  <a:pt x="534111" y="435837"/>
                  <a:pt x="528772" y="441176"/>
                  <a:pt x="522185" y="441176"/>
                </a:cubicBezTo>
                <a:cubicBezTo>
                  <a:pt x="515598" y="441176"/>
                  <a:pt x="510259" y="435837"/>
                  <a:pt x="510259" y="429250"/>
                </a:cubicBezTo>
                <a:cubicBezTo>
                  <a:pt x="510259" y="422663"/>
                  <a:pt x="515598" y="417324"/>
                  <a:pt x="522185" y="417324"/>
                </a:cubicBezTo>
                <a:close/>
                <a:moveTo>
                  <a:pt x="85420" y="417324"/>
                </a:moveTo>
                <a:cubicBezTo>
                  <a:pt x="91987" y="417324"/>
                  <a:pt x="97311" y="422663"/>
                  <a:pt x="97311" y="429250"/>
                </a:cubicBezTo>
                <a:cubicBezTo>
                  <a:pt x="97311" y="435837"/>
                  <a:pt x="91987" y="441176"/>
                  <a:pt x="85420" y="441176"/>
                </a:cubicBezTo>
                <a:cubicBezTo>
                  <a:pt x="78853" y="441176"/>
                  <a:pt x="73529" y="435837"/>
                  <a:pt x="73529" y="429250"/>
                </a:cubicBezTo>
                <a:cubicBezTo>
                  <a:pt x="73529" y="422663"/>
                  <a:pt x="78853" y="417324"/>
                  <a:pt x="85420" y="417324"/>
                </a:cubicBezTo>
                <a:close/>
                <a:moveTo>
                  <a:pt x="537643" y="291506"/>
                </a:moveTo>
                <a:lnTo>
                  <a:pt x="555628" y="291506"/>
                </a:lnTo>
                <a:cubicBezTo>
                  <a:pt x="562216" y="291506"/>
                  <a:pt x="567558" y="296745"/>
                  <a:pt x="567558" y="303316"/>
                </a:cubicBezTo>
                <a:cubicBezTo>
                  <a:pt x="567558" y="309888"/>
                  <a:pt x="562216" y="315216"/>
                  <a:pt x="555628" y="315216"/>
                </a:cubicBezTo>
                <a:lnTo>
                  <a:pt x="537643" y="315216"/>
                </a:lnTo>
                <a:cubicBezTo>
                  <a:pt x="531055" y="315216"/>
                  <a:pt x="525713" y="309888"/>
                  <a:pt x="525713" y="303316"/>
                </a:cubicBezTo>
                <a:cubicBezTo>
                  <a:pt x="525713" y="296745"/>
                  <a:pt x="531055" y="291506"/>
                  <a:pt x="537643" y="291506"/>
                </a:cubicBezTo>
                <a:close/>
                <a:moveTo>
                  <a:pt x="51991" y="291506"/>
                </a:moveTo>
                <a:lnTo>
                  <a:pt x="69946" y="291506"/>
                </a:lnTo>
                <a:cubicBezTo>
                  <a:pt x="76523" y="291506"/>
                  <a:pt x="81856" y="296745"/>
                  <a:pt x="81856" y="303316"/>
                </a:cubicBezTo>
                <a:cubicBezTo>
                  <a:pt x="81856" y="309888"/>
                  <a:pt x="76523" y="315216"/>
                  <a:pt x="69946" y="315216"/>
                </a:cubicBezTo>
                <a:lnTo>
                  <a:pt x="51991" y="315216"/>
                </a:lnTo>
                <a:cubicBezTo>
                  <a:pt x="45414" y="315216"/>
                  <a:pt x="40081" y="309888"/>
                  <a:pt x="40081" y="303316"/>
                </a:cubicBezTo>
                <a:cubicBezTo>
                  <a:pt x="40081" y="296745"/>
                  <a:pt x="45414" y="291506"/>
                  <a:pt x="51991" y="291506"/>
                </a:cubicBezTo>
                <a:close/>
                <a:moveTo>
                  <a:pt x="412608" y="222096"/>
                </a:moveTo>
                <a:lnTo>
                  <a:pt x="345491" y="334245"/>
                </a:lnTo>
                <a:lnTo>
                  <a:pt x="412608" y="334245"/>
                </a:lnTo>
                <a:close/>
                <a:moveTo>
                  <a:pt x="427651" y="167533"/>
                </a:moveTo>
                <a:cubicBezTo>
                  <a:pt x="432814" y="168954"/>
                  <a:pt x="436375" y="173664"/>
                  <a:pt x="436375" y="178996"/>
                </a:cubicBezTo>
                <a:lnTo>
                  <a:pt x="436375" y="334245"/>
                </a:lnTo>
                <a:lnTo>
                  <a:pt x="469399" y="334245"/>
                </a:lnTo>
                <a:cubicBezTo>
                  <a:pt x="475986" y="334245"/>
                  <a:pt x="481327" y="339577"/>
                  <a:pt x="481327" y="346153"/>
                </a:cubicBezTo>
                <a:cubicBezTo>
                  <a:pt x="481327" y="352641"/>
                  <a:pt x="475986" y="357973"/>
                  <a:pt x="469399" y="357973"/>
                </a:cubicBezTo>
                <a:lnTo>
                  <a:pt x="436375" y="357973"/>
                </a:lnTo>
                <a:lnTo>
                  <a:pt x="436375" y="427733"/>
                </a:lnTo>
                <a:cubicBezTo>
                  <a:pt x="436375" y="434220"/>
                  <a:pt x="431123" y="439552"/>
                  <a:pt x="424536" y="439552"/>
                </a:cubicBezTo>
                <a:cubicBezTo>
                  <a:pt x="417949" y="439552"/>
                  <a:pt x="412608" y="434220"/>
                  <a:pt x="412608" y="427733"/>
                </a:cubicBezTo>
                <a:lnTo>
                  <a:pt x="412608" y="357973"/>
                </a:lnTo>
                <a:lnTo>
                  <a:pt x="324573" y="357973"/>
                </a:lnTo>
                <a:cubicBezTo>
                  <a:pt x="320300" y="357973"/>
                  <a:pt x="316295" y="355662"/>
                  <a:pt x="314158" y="352019"/>
                </a:cubicBezTo>
                <a:cubicBezTo>
                  <a:pt x="312111" y="348286"/>
                  <a:pt x="312111" y="343665"/>
                  <a:pt x="314336" y="340022"/>
                </a:cubicBezTo>
                <a:lnTo>
                  <a:pt x="414299" y="172953"/>
                </a:lnTo>
                <a:cubicBezTo>
                  <a:pt x="417059" y="168332"/>
                  <a:pt x="422489" y="166111"/>
                  <a:pt x="427651" y="167533"/>
                </a:cubicBezTo>
                <a:close/>
                <a:moveTo>
                  <a:pt x="216270" y="167099"/>
                </a:moveTo>
                <a:cubicBezTo>
                  <a:pt x="257222" y="167099"/>
                  <a:pt x="290518" y="200333"/>
                  <a:pt x="290518" y="241210"/>
                </a:cubicBezTo>
                <a:cubicBezTo>
                  <a:pt x="290518" y="284486"/>
                  <a:pt x="273603" y="325097"/>
                  <a:pt x="242978" y="355754"/>
                </a:cubicBezTo>
                <a:lnTo>
                  <a:pt x="182707" y="415825"/>
                </a:lnTo>
                <a:lnTo>
                  <a:pt x="278588" y="415825"/>
                </a:lnTo>
                <a:cubicBezTo>
                  <a:pt x="285176" y="415825"/>
                  <a:pt x="290518" y="421158"/>
                  <a:pt x="290518" y="427734"/>
                </a:cubicBezTo>
                <a:cubicBezTo>
                  <a:pt x="290518" y="434220"/>
                  <a:pt x="285176" y="439552"/>
                  <a:pt x="278588" y="439552"/>
                </a:cubicBezTo>
                <a:lnTo>
                  <a:pt x="154040" y="439552"/>
                </a:lnTo>
                <a:cubicBezTo>
                  <a:pt x="149232" y="439552"/>
                  <a:pt x="144870" y="436709"/>
                  <a:pt x="143001" y="432265"/>
                </a:cubicBezTo>
                <a:cubicBezTo>
                  <a:pt x="141131" y="427822"/>
                  <a:pt x="142199" y="422668"/>
                  <a:pt x="145582" y="419292"/>
                </a:cubicBezTo>
                <a:lnTo>
                  <a:pt x="226152" y="338959"/>
                </a:lnTo>
                <a:cubicBezTo>
                  <a:pt x="252236" y="312834"/>
                  <a:pt x="266659" y="278088"/>
                  <a:pt x="266659" y="241210"/>
                </a:cubicBezTo>
                <a:cubicBezTo>
                  <a:pt x="266659" y="213485"/>
                  <a:pt x="244046" y="190914"/>
                  <a:pt x="216270" y="190914"/>
                </a:cubicBezTo>
                <a:cubicBezTo>
                  <a:pt x="188493" y="190914"/>
                  <a:pt x="165880" y="213485"/>
                  <a:pt x="165880" y="241210"/>
                </a:cubicBezTo>
                <a:cubicBezTo>
                  <a:pt x="165880" y="247786"/>
                  <a:pt x="160539" y="253029"/>
                  <a:pt x="154040" y="253029"/>
                </a:cubicBezTo>
                <a:cubicBezTo>
                  <a:pt x="147452" y="253029"/>
                  <a:pt x="142110" y="247786"/>
                  <a:pt x="142110" y="241210"/>
                </a:cubicBezTo>
                <a:cubicBezTo>
                  <a:pt x="142110" y="200333"/>
                  <a:pt x="175406" y="167099"/>
                  <a:pt x="216270" y="167099"/>
                </a:cubicBezTo>
                <a:close/>
                <a:moveTo>
                  <a:pt x="522185" y="165547"/>
                </a:moveTo>
                <a:cubicBezTo>
                  <a:pt x="528772" y="165547"/>
                  <a:pt x="534111" y="170871"/>
                  <a:pt x="534111" y="177438"/>
                </a:cubicBezTo>
                <a:cubicBezTo>
                  <a:pt x="534111" y="184005"/>
                  <a:pt x="528772" y="189329"/>
                  <a:pt x="522185" y="189329"/>
                </a:cubicBezTo>
                <a:cubicBezTo>
                  <a:pt x="515598" y="189329"/>
                  <a:pt x="510259" y="184005"/>
                  <a:pt x="510259" y="177438"/>
                </a:cubicBezTo>
                <a:cubicBezTo>
                  <a:pt x="510259" y="170871"/>
                  <a:pt x="515598" y="165547"/>
                  <a:pt x="522185" y="165547"/>
                </a:cubicBezTo>
                <a:close/>
                <a:moveTo>
                  <a:pt x="85420" y="165547"/>
                </a:moveTo>
                <a:cubicBezTo>
                  <a:pt x="91987" y="165547"/>
                  <a:pt x="97311" y="170871"/>
                  <a:pt x="97311" y="177438"/>
                </a:cubicBezTo>
                <a:cubicBezTo>
                  <a:pt x="97311" y="184005"/>
                  <a:pt x="91987" y="189329"/>
                  <a:pt x="85420" y="189329"/>
                </a:cubicBezTo>
                <a:cubicBezTo>
                  <a:pt x="78853" y="189329"/>
                  <a:pt x="73529" y="184005"/>
                  <a:pt x="73529" y="177438"/>
                </a:cubicBezTo>
                <a:cubicBezTo>
                  <a:pt x="73529" y="170871"/>
                  <a:pt x="78853" y="165547"/>
                  <a:pt x="85420" y="165547"/>
                </a:cubicBezTo>
                <a:close/>
                <a:moveTo>
                  <a:pt x="429885" y="73388"/>
                </a:moveTo>
                <a:cubicBezTo>
                  <a:pt x="436472" y="73388"/>
                  <a:pt x="441811" y="78712"/>
                  <a:pt x="441811" y="85279"/>
                </a:cubicBezTo>
                <a:cubicBezTo>
                  <a:pt x="441811" y="91846"/>
                  <a:pt x="436472" y="97170"/>
                  <a:pt x="429885" y="97170"/>
                </a:cubicBezTo>
                <a:cubicBezTo>
                  <a:pt x="423298" y="97170"/>
                  <a:pt x="417959" y="91846"/>
                  <a:pt x="417959" y="85279"/>
                </a:cubicBezTo>
                <a:cubicBezTo>
                  <a:pt x="417959" y="78712"/>
                  <a:pt x="423298" y="73388"/>
                  <a:pt x="429885" y="73388"/>
                </a:cubicBezTo>
                <a:close/>
                <a:moveTo>
                  <a:pt x="177720" y="73388"/>
                </a:moveTo>
                <a:cubicBezTo>
                  <a:pt x="184287" y="73388"/>
                  <a:pt x="189611" y="78712"/>
                  <a:pt x="189611" y="85279"/>
                </a:cubicBezTo>
                <a:cubicBezTo>
                  <a:pt x="189611" y="91846"/>
                  <a:pt x="184287" y="97170"/>
                  <a:pt x="177720" y="97170"/>
                </a:cubicBezTo>
                <a:cubicBezTo>
                  <a:pt x="171153" y="97170"/>
                  <a:pt x="165829" y="91846"/>
                  <a:pt x="165829" y="85279"/>
                </a:cubicBezTo>
                <a:cubicBezTo>
                  <a:pt x="165829" y="78712"/>
                  <a:pt x="171153" y="73388"/>
                  <a:pt x="177720" y="73388"/>
                </a:cubicBezTo>
                <a:close/>
                <a:moveTo>
                  <a:pt x="303775" y="42480"/>
                </a:moveTo>
                <a:cubicBezTo>
                  <a:pt x="310366" y="42480"/>
                  <a:pt x="315710" y="47815"/>
                  <a:pt x="315710" y="54396"/>
                </a:cubicBezTo>
                <a:lnTo>
                  <a:pt x="315710" y="69869"/>
                </a:lnTo>
                <a:cubicBezTo>
                  <a:pt x="315710" y="76449"/>
                  <a:pt x="310366" y="81785"/>
                  <a:pt x="303775" y="81785"/>
                </a:cubicBezTo>
                <a:cubicBezTo>
                  <a:pt x="297184" y="81785"/>
                  <a:pt x="291929" y="76449"/>
                  <a:pt x="291929" y="69869"/>
                </a:cubicBezTo>
                <a:lnTo>
                  <a:pt x="291929" y="54396"/>
                </a:lnTo>
                <a:cubicBezTo>
                  <a:pt x="291929" y="47815"/>
                  <a:pt x="297184" y="42480"/>
                  <a:pt x="303775" y="42480"/>
                </a:cubicBezTo>
                <a:close/>
                <a:moveTo>
                  <a:pt x="303775" y="0"/>
                </a:moveTo>
                <a:cubicBezTo>
                  <a:pt x="394204" y="0"/>
                  <a:pt x="479560" y="40347"/>
                  <a:pt x="537058" y="108956"/>
                </a:cubicBezTo>
                <a:lnTo>
                  <a:pt x="537058" y="93048"/>
                </a:lnTo>
                <a:cubicBezTo>
                  <a:pt x="537058" y="86471"/>
                  <a:pt x="542309" y="81139"/>
                  <a:pt x="548895" y="81139"/>
                </a:cubicBezTo>
                <a:cubicBezTo>
                  <a:pt x="555482" y="81139"/>
                  <a:pt x="560822" y="86471"/>
                  <a:pt x="560822" y="93048"/>
                </a:cubicBezTo>
                <a:lnTo>
                  <a:pt x="560822" y="138994"/>
                </a:lnTo>
                <a:cubicBezTo>
                  <a:pt x="560822" y="145570"/>
                  <a:pt x="555482" y="150903"/>
                  <a:pt x="548895" y="150903"/>
                </a:cubicBezTo>
                <a:lnTo>
                  <a:pt x="502880" y="150903"/>
                </a:lnTo>
                <a:cubicBezTo>
                  <a:pt x="496293" y="150903"/>
                  <a:pt x="490953" y="145570"/>
                  <a:pt x="490953" y="138994"/>
                </a:cubicBezTo>
                <a:cubicBezTo>
                  <a:pt x="490953" y="132417"/>
                  <a:pt x="496293" y="127174"/>
                  <a:pt x="502880" y="127174"/>
                </a:cubicBezTo>
                <a:lnTo>
                  <a:pt x="521126" y="127174"/>
                </a:lnTo>
                <a:cubicBezTo>
                  <a:pt x="468168" y="62032"/>
                  <a:pt x="388419" y="23728"/>
                  <a:pt x="303775" y="23728"/>
                </a:cubicBezTo>
                <a:cubicBezTo>
                  <a:pt x="149440" y="23728"/>
                  <a:pt x="23764" y="149214"/>
                  <a:pt x="23764" y="303316"/>
                </a:cubicBezTo>
                <a:cubicBezTo>
                  <a:pt x="23764" y="457508"/>
                  <a:pt x="149440" y="582905"/>
                  <a:pt x="303775" y="582905"/>
                </a:cubicBezTo>
                <a:cubicBezTo>
                  <a:pt x="458199" y="582905"/>
                  <a:pt x="583786" y="457508"/>
                  <a:pt x="583786" y="303316"/>
                </a:cubicBezTo>
                <a:cubicBezTo>
                  <a:pt x="583786" y="278255"/>
                  <a:pt x="580492" y="253371"/>
                  <a:pt x="573906" y="229376"/>
                </a:cubicBezTo>
                <a:cubicBezTo>
                  <a:pt x="572126" y="223066"/>
                  <a:pt x="575864" y="216489"/>
                  <a:pt x="582273" y="214801"/>
                </a:cubicBezTo>
                <a:cubicBezTo>
                  <a:pt x="588592" y="213023"/>
                  <a:pt x="595089" y="216756"/>
                  <a:pt x="596869" y="223066"/>
                </a:cubicBezTo>
                <a:cubicBezTo>
                  <a:pt x="603990" y="249194"/>
                  <a:pt x="607639" y="276122"/>
                  <a:pt x="607639" y="303316"/>
                </a:cubicBezTo>
                <a:cubicBezTo>
                  <a:pt x="607639" y="470572"/>
                  <a:pt x="471283" y="606722"/>
                  <a:pt x="303775" y="606722"/>
                </a:cubicBezTo>
                <a:cubicBezTo>
                  <a:pt x="136267" y="606722"/>
                  <a:pt x="0" y="470572"/>
                  <a:pt x="0" y="303316"/>
                </a:cubicBezTo>
                <a:cubicBezTo>
                  <a:pt x="0" y="136061"/>
                  <a:pt x="136267" y="0"/>
                  <a:pt x="303775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" name="îṡlïḓê">
            <a:extLst>
              <a:ext uri="{FF2B5EF4-FFF2-40B4-BE49-F238E27FC236}">
                <a16:creationId xmlns:a16="http://schemas.microsoft.com/office/drawing/2014/main" id="{5295E03F-6127-428E-844D-FBDCA4CA342E}"/>
              </a:ext>
            </a:extLst>
          </p:cNvPr>
          <p:cNvSpPr/>
          <p:nvPr/>
        </p:nvSpPr>
        <p:spPr bwMode="auto">
          <a:xfrm>
            <a:off x="8822779" y="432055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5" name="îṡḻîḑé">
            <a:extLst>
              <a:ext uri="{FF2B5EF4-FFF2-40B4-BE49-F238E27FC236}">
                <a16:creationId xmlns:a16="http://schemas.microsoft.com/office/drawing/2014/main" id="{C0516768-51E3-415F-99A7-87173DE9375C}"/>
              </a:ext>
            </a:extLst>
          </p:cNvPr>
          <p:cNvSpPr txBox="1"/>
          <p:nvPr/>
        </p:nvSpPr>
        <p:spPr bwMode="auto">
          <a:xfrm>
            <a:off x="8822779" y="390767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26" name="îś1iḋe">
            <a:extLst>
              <a:ext uri="{FF2B5EF4-FFF2-40B4-BE49-F238E27FC236}">
                <a16:creationId xmlns:a16="http://schemas.microsoft.com/office/drawing/2014/main" id="{7AC675DE-2ECF-436C-99AA-50DBB2A25846}"/>
              </a:ext>
            </a:extLst>
          </p:cNvPr>
          <p:cNvSpPr/>
          <p:nvPr/>
        </p:nvSpPr>
        <p:spPr bwMode="auto">
          <a:xfrm>
            <a:off x="8184232" y="4000771"/>
            <a:ext cx="461080" cy="460384"/>
          </a:xfrm>
          <a:custGeom>
            <a:avLst/>
            <a:gdLst>
              <a:gd name="connsiteX0" fmla="*/ 147571 w 607639"/>
              <a:gd name="connsiteY0" fmla="*/ 373601 h 606722"/>
              <a:gd name="connsiteX1" fmla="*/ 18780 w 607639"/>
              <a:gd name="connsiteY1" fmla="*/ 502204 h 606722"/>
              <a:gd name="connsiteX2" fmla="*/ 18780 w 607639"/>
              <a:gd name="connsiteY2" fmla="*/ 587969 h 606722"/>
              <a:gd name="connsiteX3" fmla="*/ 419215 w 607639"/>
              <a:gd name="connsiteY3" fmla="*/ 587969 h 606722"/>
              <a:gd name="connsiteX4" fmla="*/ 252063 w 607639"/>
              <a:gd name="connsiteY4" fmla="*/ 420972 h 606722"/>
              <a:gd name="connsiteX5" fmla="*/ 223581 w 607639"/>
              <a:gd name="connsiteY5" fmla="*/ 449412 h 606722"/>
              <a:gd name="connsiteX6" fmla="*/ 101733 w 607639"/>
              <a:gd name="connsiteY6" fmla="*/ 244109 h 606722"/>
              <a:gd name="connsiteX7" fmla="*/ 28036 w 607639"/>
              <a:gd name="connsiteY7" fmla="*/ 466476 h 606722"/>
              <a:gd name="connsiteX8" fmla="*/ 147571 w 607639"/>
              <a:gd name="connsiteY8" fmla="*/ 347116 h 606722"/>
              <a:gd name="connsiteX9" fmla="*/ 223581 w 607639"/>
              <a:gd name="connsiteY9" fmla="*/ 422927 h 606722"/>
              <a:gd name="connsiteX10" fmla="*/ 252063 w 607639"/>
              <a:gd name="connsiteY10" fmla="*/ 394487 h 606722"/>
              <a:gd name="connsiteX11" fmla="*/ 445739 w 607639"/>
              <a:gd name="connsiteY11" fmla="*/ 587969 h 606722"/>
              <a:gd name="connsiteX12" fmla="*/ 588859 w 607639"/>
              <a:gd name="connsiteY12" fmla="*/ 587969 h 606722"/>
              <a:gd name="connsiteX13" fmla="*/ 588859 w 607639"/>
              <a:gd name="connsiteY13" fmla="*/ 553663 h 606722"/>
              <a:gd name="connsiteX14" fmla="*/ 539105 w 607639"/>
              <a:gd name="connsiteY14" fmla="*/ 501849 h 606722"/>
              <a:gd name="connsiteX15" fmla="*/ 511959 w 607639"/>
              <a:gd name="connsiteY15" fmla="*/ 530200 h 606722"/>
              <a:gd name="connsiteX16" fmla="*/ 270398 w 607639"/>
              <a:gd name="connsiteY16" fmla="*/ 288280 h 606722"/>
              <a:gd name="connsiteX17" fmla="*/ 214147 w 607639"/>
              <a:gd name="connsiteY17" fmla="*/ 344805 h 606722"/>
              <a:gd name="connsiteX18" fmla="*/ 345341 w 607639"/>
              <a:gd name="connsiteY18" fmla="*/ 81644 h 606722"/>
              <a:gd name="connsiteX19" fmla="*/ 469414 w 607639"/>
              <a:gd name="connsiteY19" fmla="*/ 204826 h 606722"/>
              <a:gd name="connsiteX20" fmla="*/ 495760 w 607639"/>
              <a:gd name="connsiteY20" fmla="*/ 176208 h 606722"/>
              <a:gd name="connsiteX21" fmla="*/ 607639 w 607639"/>
              <a:gd name="connsiteY21" fmla="*/ 290147 h 606722"/>
              <a:gd name="connsiteX22" fmla="*/ 607639 w 607639"/>
              <a:gd name="connsiteY22" fmla="*/ 606722 h 606722"/>
              <a:gd name="connsiteX23" fmla="*/ 0 w 607639"/>
              <a:gd name="connsiteY23" fmla="*/ 606722 h 606722"/>
              <a:gd name="connsiteX24" fmla="*/ 0 w 607639"/>
              <a:gd name="connsiteY24" fmla="*/ 491539 h 606722"/>
              <a:gd name="connsiteX25" fmla="*/ 92922 w 607639"/>
              <a:gd name="connsiteY25" fmla="*/ 211136 h 606722"/>
              <a:gd name="connsiteX26" fmla="*/ 213346 w 607639"/>
              <a:gd name="connsiteY26" fmla="*/ 319031 h 606722"/>
              <a:gd name="connsiteX27" fmla="*/ 270398 w 607639"/>
              <a:gd name="connsiteY27" fmla="*/ 261795 h 606722"/>
              <a:gd name="connsiteX28" fmla="*/ 511692 w 607639"/>
              <a:gd name="connsiteY28" fmla="*/ 503360 h 606722"/>
              <a:gd name="connsiteX29" fmla="*/ 539016 w 607639"/>
              <a:gd name="connsiteY29" fmla="*/ 474742 h 606722"/>
              <a:gd name="connsiteX30" fmla="*/ 588859 w 607639"/>
              <a:gd name="connsiteY30" fmla="*/ 526645 h 606722"/>
              <a:gd name="connsiteX31" fmla="*/ 588859 w 607639"/>
              <a:gd name="connsiteY31" fmla="*/ 297790 h 606722"/>
              <a:gd name="connsiteX32" fmla="*/ 496205 w 607639"/>
              <a:gd name="connsiteY32" fmla="*/ 203404 h 606722"/>
              <a:gd name="connsiteX33" fmla="*/ 470037 w 607639"/>
              <a:gd name="connsiteY33" fmla="*/ 231755 h 606722"/>
              <a:gd name="connsiteX34" fmla="*/ 346053 w 607639"/>
              <a:gd name="connsiteY34" fmla="*/ 108751 h 606722"/>
              <a:gd name="connsiteX35" fmla="*/ 190027 w 607639"/>
              <a:gd name="connsiteY35" fmla="*/ 281881 h 606722"/>
              <a:gd name="connsiteX36" fmla="*/ 176053 w 607639"/>
              <a:gd name="connsiteY36" fmla="*/ 269350 h 606722"/>
              <a:gd name="connsiteX37" fmla="*/ 38740 w 607639"/>
              <a:gd name="connsiteY37" fmla="*/ 76140 h 606722"/>
              <a:gd name="connsiteX38" fmla="*/ 96321 w 607639"/>
              <a:gd name="connsiteY38" fmla="*/ 76140 h 606722"/>
              <a:gd name="connsiteX39" fmla="*/ 96321 w 607639"/>
              <a:gd name="connsiteY39" fmla="*/ 94910 h 606722"/>
              <a:gd name="connsiteX40" fmla="*/ 38740 w 607639"/>
              <a:gd name="connsiteY40" fmla="*/ 94910 h 606722"/>
              <a:gd name="connsiteX41" fmla="*/ 0 w 607639"/>
              <a:gd name="connsiteY41" fmla="*/ 76140 h 606722"/>
              <a:gd name="connsiteX42" fmla="*/ 18770 w 607639"/>
              <a:gd name="connsiteY42" fmla="*/ 76140 h 606722"/>
              <a:gd name="connsiteX43" fmla="*/ 18770 w 607639"/>
              <a:gd name="connsiteY43" fmla="*/ 94910 h 606722"/>
              <a:gd name="connsiteX44" fmla="*/ 0 w 607639"/>
              <a:gd name="connsiteY44" fmla="*/ 94910 h 606722"/>
              <a:gd name="connsiteX45" fmla="*/ 57511 w 607639"/>
              <a:gd name="connsiteY45" fmla="*/ 38670 h 606722"/>
              <a:gd name="connsiteX46" fmla="*/ 76281 w 607639"/>
              <a:gd name="connsiteY46" fmla="*/ 38670 h 606722"/>
              <a:gd name="connsiteX47" fmla="*/ 76281 w 607639"/>
              <a:gd name="connsiteY47" fmla="*/ 57440 h 606722"/>
              <a:gd name="connsiteX48" fmla="*/ 57511 w 607639"/>
              <a:gd name="connsiteY48" fmla="*/ 57440 h 606722"/>
              <a:gd name="connsiteX49" fmla="*/ 0 w 607639"/>
              <a:gd name="connsiteY49" fmla="*/ 38670 h 606722"/>
              <a:gd name="connsiteX50" fmla="*/ 38740 w 607639"/>
              <a:gd name="connsiteY50" fmla="*/ 38670 h 606722"/>
              <a:gd name="connsiteX51" fmla="*/ 38740 w 607639"/>
              <a:gd name="connsiteY51" fmla="*/ 57440 h 606722"/>
              <a:gd name="connsiteX52" fmla="*/ 0 w 607639"/>
              <a:gd name="connsiteY52" fmla="*/ 57440 h 606722"/>
              <a:gd name="connsiteX53" fmla="*/ 105001 w 607639"/>
              <a:gd name="connsiteY53" fmla="*/ 0 h 606722"/>
              <a:gd name="connsiteX54" fmla="*/ 122572 w 607639"/>
              <a:gd name="connsiteY54" fmla="*/ 0 h 606722"/>
              <a:gd name="connsiteX55" fmla="*/ 122572 w 607639"/>
              <a:gd name="connsiteY55" fmla="*/ 18770 h 606722"/>
              <a:gd name="connsiteX56" fmla="*/ 105001 w 607639"/>
              <a:gd name="connsiteY56" fmla="*/ 18770 h 606722"/>
              <a:gd name="connsiteX57" fmla="*/ 0 w 607639"/>
              <a:gd name="connsiteY57" fmla="*/ 0 h 606722"/>
              <a:gd name="connsiteX58" fmla="*/ 85031 w 607639"/>
              <a:gd name="connsiteY58" fmla="*/ 0 h 606722"/>
              <a:gd name="connsiteX59" fmla="*/ 85031 w 607639"/>
              <a:gd name="connsiteY59" fmla="*/ 18770 h 606722"/>
              <a:gd name="connsiteX60" fmla="*/ 0 w 607639"/>
              <a:gd name="connsiteY60" fmla="*/ 1877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639" h="606722">
                <a:moveTo>
                  <a:pt x="147571" y="373601"/>
                </a:moveTo>
                <a:lnTo>
                  <a:pt x="18780" y="502204"/>
                </a:lnTo>
                <a:lnTo>
                  <a:pt x="18780" y="587969"/>
                </a:lnTo>
                <a:lnTo>
                  <a:pt x="419215" y="587969"/>
                </a:lnTo>
                <a:lnTo>
                  <a:pt x="252063" y="420972"/>
                </a:lnTo>
                <a:lnTo>
                  <a:pt x="223581" y="449412"/>
                </a:lnTo>
                <a:close/>
                <a:moveTo>
                  <a:pt x="101733" y="244109"/>
                </a:moveTo>
                <a:lnTo>
                  <a:pt x="28036" y="466476"/>
                </a:lnTo>
                <a:lnTo>
                  <a:pt x="147571" y="347116"/>
                </a:lnTo>
                <a:lnTo>
                  <a:pt x="223581" y="422927"/>
                </a:lnTo>
                <a:lnTo>
                  <a:pt x="252063" y="394487"/>
                </a:lnTo>
                <a:lnTo>
                  <a:pt x="445739" y="587969"/>
                </a:lnTo>
                <a:lnTo>
                  <a:pt x="588859" y="587969"/>
                </a:lnTo>
                <a:lnTo>
                  <a:pt x="588859" y="553663"/>
                </a:lnTo>
                <a:lnTo>
                  <a:pt x="539105" y="501849"/>
                </a:lnTo>
                <a:lnTo>
                  <a:pt x="511959" y="530200"/>
                </a:lnTo>
                <a:lnTo>
                  <a:pt x="270398" y="288280"/>
                </a:lnTo>
                <a:lnTo>
                  <a:pt x="214147" y="344805"/>
                </a:lnTo>
                <a:close/>
                <a:moveTo>
                  <a:pt x="345341" y="81644"/>
                </a:moveTo>
                <a:lnTo>
                  <a:pt x="469414" y="204826"/>
                </a:lnTo>
                <a:lnTo>
                  <a:pt x="495760" y="176208"/>
                </a:lnTo>
                <a:lnTo>
                  <a:pt x="607639" y="290147"/>
                </a:lnTo>
                <a:lnTo>
                  <a:pt x="607639" y="606722"/>
                </a:lnTo>
                <a:lnTo>
                  <a:pt x="0" y="606722"/>
                </a:lnTo>
                <a:lnTo>
                  <a:pt x="0" y="491539"/>
                </a:lnTo>
                <a:lnTo>
                  <a:pt x="92922" y="211136"/>
                </a:lnTo>
                <a:lnTo>
                  <a:pt x="213346" y="319031"/>
                </a:lnTo>
                <a:lnTo>
                  <a:pt x="270398" y="261795"/>
                </a:lnTo>
                <a:lnTo>
                  <a:pt x="511692" y="503360"/>
                </a:lnTo>
                <a:lnTo>
                  <a:pt x="539016" y="474742"/>
                </a:lnTo>
                <a:lnTo>
                  <a:pt x="588859" y="526645"/>
                </a:lnTo>
                <a:lnTo>
                  <a:pt x="588859" y="297790"/>
                </a:lnTo>
                <a:lnTo>
                  <a:pt x="496205" y="203404"/>
                </a:lnTo>
                <a:lnTo>
                  <a:pt x="470037" y="231755"/>
                </a:lnTo>
                <a:lnTo>
                  <a:pt x="346053" y="108751"/>
                </a:lnTo>
                <a:lnTo>
                  <a:pt x="190027" y="281881"/>
                </a:lnTo>
                <a:lnTo>
                  <a:pt x="176053" y="269350"/>
                </a:lnTo>
                <a:close/>
                <a:moveTo>
                  <a:pt x="38740" y="76140"/>
                </a:moveTo>
                <a:lnTo>
                  <a:pt x="96321" y="76140"/>
                </a:lnTo>
                <a:lnTo>
                  <a:pt x="96321" y="94910"/>
                </a:lnTo>
                <a:lnTo>
                  <a:pt x="38740" y="94910"/>
                </a:lnTo>
                <a:close/>
                <a:moveTo>
                  <a:pt x="0" y="76140"/>
                </a:moveTo>
                <a:lnTo>
                  <a:pt x="18770" y="76140"/>
                </a:lnTo>
                <a:lnTo>
                  <a:pt x="18770" y="94910"/>
                </a:lnTo>
                <a:lnTo>
                  <a:pt x="0" y="94910"/>
                </a:lnTo>
                <a:close/>
                <a:moveTo>
                  <a:pt x="57511" y="38670"/>
                </a:moveTo>
                <a:lnTo>
                  <a:pt x="76281" y="38670"/>
                </a:lnTo>
                <a:lnTo>
                  <a:pt x="76281" y="57440"/>
                </a:lnTo>
                <a:lnTo>
                  <a:pt x="57511" y="57440"/>
                </a:lnTo>
                <a:close/>
                <a:moveTo>
                  <a:pt x="0" y="38670"/>
                </a:moveTo>
                <a:lnTo>
                  <a:pt x="38740" y="38670"/>
                </a:lnTo>
                <a:lnTo>
                  <a:pt x="38740" y="57440"/>
                </a:lnTo>
                <a:lnTo>
                  <a:pt x="0" y="57440"/>
                </a:lnTo>
                <a:close/>
                <a:moveTo>
                  <a:pt x="105001" y="0"/>
                </a:moveTo>
                <a:lnTo>
                  <a:pt x="122572" y="0"/>
                </a:lnTo>
                <a:lnTo>
                  <a:pt x="122572" y="18770"/>
                </a:lnTo>
                <a:lnTo>
                  <a:pt x="105001" y="18770"/>
                </a:lnTo>
                <a:close/>
                <a:moveTo>
                  <a:pt x="0" y="0"/>
                </a:moveTo>
                <a:lnTo>
                  <a:pt x="85031" y="0"/>
                </a:lnTo>
                <a:lnTo>
                  <a:pt x="85031" y="18770"/>
                </a:lnTo>
                <a:lnTo>
                  <a:pt x="0" y="187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íslïḋè">
            <a:extLst>
              <a:ext uri="{FF2B5EF4-FFF2-40B4-BE49-F238E27FC236}">
                <a16:creationId xmlns:a16="http://schemas.microsoft.com/office/drawing/2014/main" id="{D989E504-FC7C-4A40-B46D-A0BBD0485770}"/>
              </a:ext>
            </a:extLst>
          </p:cNvPr>
          <p:cNvSpPr/>
          <p:nvPr/>
        </p:nvSpPr>
        <p:spPr bwMode="auto">
          <a:xfrm>
            <a:off x="8822779" y="558622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/>
              <a:t>Copy paste fonts. Choose the only option to retain text.</a:t>
            </a:r>
          </a:p>
        </p:txBody>
      </p:sp>
      <p:sp>
        <p:nvSpPr>
          <p:cNvPr id="22" name="íś1ïdè">
            <a:extLst>
              <a:ext uri="{FF2B5EF4-FFF2-40B4-BE49-F238E27FC236}">
                <a16:creationId xmlns:a16="http://schemas.microsoft.com/office/drawing/2014/main" id="{0D5C6B00-496A-4A15-AC1C-9454182D9137}"/>
              </a:ext>
            </a:extLst>
          </p:cNvPr>
          <p:cNvSpPr txBox="1"/>
          <p:nvPr/>
        </p:nvSpPr>
        <p:spPr bwMode="auto">
          <a:xfrm>
            <a:off x="8822779" y="517334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23" name="îSľiḋe">
            <a:extLst>
              <a:ext uri="{FF2B5EF4-FFF2-40B4-BE49-F238E27FC236}">
                <a16:creationId xmlns:a16="http://schemas.microsoft.com/office/drawing/2014/main" id="{3683F126-F438-40AB-81C9-9096A83E057B}"/>
              </a:ext>
            </a:extLst>
          </p:cNvPr>
          <p:cNvSpPr/>
          <p:nvPr/>
        </p:nvSpPr>
        <p:spPr bwMode="auto">
          <a:xfrm>
            <a:off x="8184232" y="5339316"/>
            <a:ext cx="461080" cy="314632"/>
          </a:xfrm>
          <a:custGeom>
            <a:avLst/>
            <a:gdLst>
              <a:gd name="connsiteX0" fmla="*/ 20293 w 607639"/>
              <a:gd name="connsiteY0" fmla="*/ 364062 h 414642"/>
              <a:gd name="connsiteX1" fmla="*/ 20293 w 607639"/>
              <a:gd name="connsiteY1" fmla="*/ 384241 h 414642"/>
              <a:gd name="connsiteX2" fmla="*/ 30351 w 607639"/>
              <a:gd name="connsiteY2" fmla="*/ 394374 h 414642"/>
              <a:gd name="connsiteX3" fmla="*/ 577199 w 607639"/>
              <a:gd name="connsiteY3" fmla="*/ 394374 h 414642"/>
              <a:gd name="connsiteX4" fmla="*/ 587346 w 607639"/>
              <a:gd name="connsiteY4" fmla="*/ 384241 h 414642"/>
              <a:gd name="connsiteX5" fmla="*/ 587346 w 607639"/>
              <a:gd name="connsiteY5" fmla="*/ 364062 h 414642"/>
              <a:gd name="connsiteX6" fmla="*/ 394917 w 607639"/>
              <a:gd name="connsiteY6" fmla="*/ 364062 h 414642"/>
              <a:gd name="connsiteX7" fmla="*/ 394917 w 607639"/>
              <a:gd name="connsiteY7" fmla="*/ 374196 h 414642"/>
              <a:gd name="connsiteX8" fmla="*/ 384859 w 607639"/>
              <a:gd name="connsiteY8" fmla="*/ 384241 h 414642"/>
              <a:gd name="connsiteX9" fmla="*/ 222780 w 607639"/>
              <a:gd name="connsiteY9" fmla="*/ 384241 h 414642"/>
              <a:gd name="connsiteX10" fmla="*/ 212634 w 607639"/>
              <a:gd name="connsiteY10" fmla="*/ 374196 h 414642"/>
              <a:gd name="connsiteX11" fmla="*/ 212634 w 607639"/>
              <a:gd name="connsiteY11" fmla="*/ 364062 h 414642"/>
              <a:gd name="connsiteX12" fmla="*/ 10146 w 607639"/>
              <a:gd name="connsiteY12" fmla="*/ 343794 h 414642"/>
              <a:gd name="connsiteX13" fmla="*/ 40505 w 607639"/>
              <a:gd name="connsiteY13" fmla="*/ 343794 h 414642"/>
              <a:gd name="connsiteX14" fmla="*/ 40505 w 607639"/>
              <a:gd name="connsiteY14" fmla="*/ 353920 h 414642"/>
              <a:gd name="connsiteX15" fmla="*/ 50652 w 607639"/>
              <a:gd name="connsiteY15" fmla="*/ 364052 h 414642"/>
              <a:gd name="connsiteX16" fmla="*/ 212637 w 607639"/>
              <a:gd name="connsiteY16" fmla="*/ 364052 h 414642"/>
              <a:gd name="connsiteX17" fmla="*/ 212637 w 607639"/>
              <a:gd name="connsiteY17" fmla="*/ 374185 h 414642"/>
              <a:gd name="connsiteX18" fmla="*/ 222783 w 607639"/>
              <a:gd name="connsiteY18" fmla="*/ 384228 h 414642"/>
              <a:gd name="connsiteX19" fmla="*/ 384857 w 607639"/>
              <a:gd name="connsiteY19" fmla="*/ 384228 h 414642"/>
              <a:gd name="connsiteX20" fmla="*/ 394915 w 607639"/>
              <a:gd name="connsiteY20" fmla="*/ 374185 h 414642"/>
              <a:gd name="connsiteX21" fmla="*/ 394915 w 607639"/>
              <a:gd name="connsiteY21" fmla="*/ 364052 h 414642"/>
              <a:gd name="connsiteX22" fmla="*/ 556989 w 607639"/>
              <a:gd name="connsiteY22" fmla="*/ 364052 h 414642"/>
              <a:gd name="connsiteX23" fmla="*/ 567135 w 607639"/>
              <a:gd name="connsiteY23" fmla="*/ 353920 h 414642"/>
              <a:gd name="connsiteX24" fmla="*/ 567135 w 607639"/>
              <a:gd name="connsiteY24" fmla="*/ 343794 h 414642"/>
              <a:gd name="connsiteX25" fmla="*/ 597493 w 607639"/>
              <a:gd name="connsiteY25" fmla="*/ 343794 h 414642"/>
              <a:gd name="connsiteX26" fmla="*/ 607639 w 607639"/>
              <a:gd name="connsiteY26" fmla="*/ 353928 h 414642"/>
              <a:gd name="connsiteX27" fmla="*/ 607639 w 607639"/>
              <a:gd name="connsiteY27" fmla="*/ 384241 h 414642"/>
              <a:gd name="connsiteX28" fmla="*/ 577199 w 607639"/>
              <a:gd name="connsiteY28" fmla="*/ 414642 h 414642"/>
              <a:gd name="connsiteX29" fmla="*/ 30351 w 607639"/>
              <a:gd name="connsiteY29" fmla="*/ 414642 h 414642"/>
              <a:gd name="connsiteX30" fmla="*/ 0 w 607639"/>
              <a:gd name="connsiteY30" fmla="*/ 384241 h 414642"/>
              <a:gd name="connsiteX31" fmla="*/ 0 w 607639"/>
              <a:gd name="connsiteY31" fmla="*/ 353928 h 414642"/>
              <a:gd name="connsiteX32" fmla="*/ 10146 w 607639"/>
              <a:gd name="connsiteY32" fmla="*/ 343794 h 414642"/>
              <a:gd name="connsiteX33" fmla="*/ 354415 w 607639"/>
              <a:gd name="connsiteY33" fmla="*/ 262926 h 414642"/>
              <a:gd name="connsiteX34" fmla="*/ 364541 w 607639"/>
              <a:gd name="connsiteY34" fmla="*/ 273063 h 414642"/>
              <a:gd name="connsiteX35" fmla="*/ 364541 w 607639"/>
              <a:gd name="connsiteY35" fmla="*/ 303384 h 414642"/>
              <a:gd name="connsiteX36" fmla="*/ 354415 w 607639"/>
              <a:gd name="connsiteY36" fmla="*/ 313521 h 414642"/>
              <a:gd name="connsiteX37" fmla="*/ 344289 w 607639"/>
              <a:gd name="connsiteY37" fmla="*/ 303384 h 414642"/>
              <a:gd name="connsiteX38" fmla="*/ 344289 w 607639"/>
              <a:gd name="connsiteY38" fmla="*/ 273063 h 414642"/>
              <a:gd name="connsiteX39" fmla="*/ 354415 w 607639"/>
              <a:gd name="connsiteY39" fmla="*/ 262926 h 414642"/>
              <a:gd name="connsiteX40" fmla="*/ 274426 w 607639"/>
              <a:gd name="connsiteY40" fmla="*/ 252429 h 414642"/>
              <a:gd name="connsiteX41" fmla="*/ 274426 w 607639"/>
              <a:gd name="connsiteY41" fmla="*/ 253836 h 414642"/>
              <a:gd name="connsiteX42" fmla="*/ 268732 w 607639"/>
              <a:gd name="connsiteY42" fmla="*/ 256281 h 414642"/>
              <a:gd name="connsiteX43" fmla="*/ 435415 w 607639"/>
              <a:gd name="connsiteY43" fmla="*/ 242745 h 414642"/>
              <a:gd name="connsiteX44" fmla="*/ 445550 w 607639"/>
              <a:gd name="connsiteY44" fmla="*/ 252793 h 414642"/>
              <a:gd name="connsiteX45" fmla="*/ 445550 w 607639"/>
              <a:gd name="connsiteY45" fmla="*/ 303386 h 414642"/>
              <a:gd name="connsiteX46" fmla="*/ 435415 w 607639"/>
              <a:gd name="connsiteY46" fmla="*/ 313522 h 414642"/>
              <a:gd name="connsiteX47" fmla="*/ 425368 w 607639"/>
              <a:gd name="connsiteY47" fmla="*/ 303386 h 414642"/>
              <a:gd name="connsiteX48" fmla="*/ 425368 w 607639"/>
              <a:gd name="connsiteY48" fmla="*/ 252793 h 414642"/>
              <a:gd name="connsiteX49" fmla="*/ 435415 w 607639"/>
              <a:gd name="connsiteY49" fmla="*/ 242745 h 414642"/>
              <a:gd name="connsiteX50" fmla="*/ 394911 w 607639"/>
              <a:gd name="connsiteY50" fmla="*/ 222493 h 414642"/>
              <a:gd name="connsiteX51" fmla="*/ 405046 w 607639"/>
              <a:gd name="connsiteY51" fmla="*/ 232627 h 414642"/>
              <a:gd name="connsiteX52" fmla="*/ 405046 w 607639"/>
              <a:gd name="connsiteY52" fmla="*/ 303388 h 414642"/>
              <a:gd name="connsiteX53" fmla="*/ 394911 w 607639"/>
              <a:gd name="connsiteY53" fmla="*/ 313522 h 414642"/>
              <a:gd name="connsiteX54" fmla="*/ 384864 w 607639"/>
              <a:gd name="connsiteY54" fmla="*/ 303388 h 414642"/>
              <a:gd name="connsiteX55" fmla="*/ 384864 w 607639"/>
              <a:gd name="connsiteY55" fmla="*/ 232627 h 414642"/>
              <a:gd name="connsiteX56" fmla="*/ 394911 w 607639"/>
              <a:gd name="connsiteY56" fmla="*/ 222493 h 414642"/>
              <a:gd name="connsiteX57" fmla="*/ 516514 w 607639"/>
              <a:gd name="connsiteY57" fmla="*/ 212331 h 414642"/>
              <a:gd name="connsiteX58" fmla="*/ 526560 w 607639"/>
              <a:gd name="connsiteY58" fmla="*/ 222468 h 414642"/>
              <a:gd name="connsiteX59" fmla="*/ 526560 w 607639"/>
              <a:gd name="connsiteY59" fmla="*/ 303385 h 414642"/>
              <a:gd name="connsiteX60" fmla="*/ 516514 w 607639"/>
              <a:gd name="connsiteY60" fmla="*/ 313522 h 414642"/>
              <a:gd name="connsiteX61" fmla="*/ 506378 w 607639"/>
              <a:gd name="connsiteY61" fmla="*/ 303385 h 414642"/>
              <a:gd name="connsiteX62" fmla="*/ 506378 w 607639"/>
              <a:gd name="connsiteY62" fmla="*/ 222468 h 414642"/>
              <a:gd name="connsiteX63" fmla="*/ 516514 w 607639"/>
              <a:gd name="connsiteY63" fmla="*/ 212331 h 414642"/>
              <a:gd name="connsiteX64" fmla="*/ 311213 w 607639"/>
              <a:gd name="connsiteY64" fmla="*/ 180188 h 414642"/>
              <a:gd name="connsiteX65" fmla="*/ 304717 w 607639"/>
              <a:gd name="connsiteY65" fmla="*/ 211903 h 414642"/>
              <a:gd name="connsiteX66" fmla="*/ 279633 w 607639"/>
              <a:gd name="connsiteY66" fmla="*/ 248906 h 414642"/>
              <a:gd name="connsiteX67" fmla="*/ 274426 w 607639"/>
              <a:gd name="connsiteY67" fmla="*/ 252429 h 414642"/>
              <a:gd name="connsiteX68" fmla="*/ 274426 w 607639"/>
              <a:gd name="connsiteY68" fmla="*/ 239622 h 414642"/>
              <a:gd name="connsiteX69" fmla="*/ 266991 w 607639"/>
              <a:gd name="connsiteY69" fmla="*/ 232204 h 414642"/>
              <a:gd name="connsiteX70" fmla="*/ 286105 w 607639"/>
              <a:gd name="connsiteY70" fmla="*/ 204050 h 414642"/>
              <a:gd name="connsiteX71" fmla="*/ 290618 w 607639"/>
              <a:gd name="connsiteY71" fmla="*/ 182059 h 414642"/>
              <a:gd name="connsiteX72" fmla="*/ 303796 w 607639"/>
              <a:gd name="connsiteY72" fmla="*/ 182059 h 414642"/>
              <a:gd name="connsiteX73" fmla="*/ 185290 w 607639"/>
              <a:gd name="connsiteY73" fmla="*/ 178985 h 414642"/>
              <a:gd name="connsiteX74" fmla="*/ 192421 w 607639"/>
              <a:gd name="connsiteY74" fmla="*/ 182059 h 414642"/>
              <a:gd name="connsiteX75" fmla="*/ 216731 w 607639"/>
              <a:gd name="connsiteY75" fmla="*/ 182059 h 414642"/>
              <a:gd name="connsiteX76" fmla="*/ 266991 w 607639"/>
              <a:gd name="connsiteY76" fmla="*/ 232204 h 414642"/>
              <a:gd name="connsiteX77" fmla="*/ 265358 w 607639"/>
              <a:gd name="connsiteY77" fmla="*/ 234609 h 414642"/>
              <a:gd name="connsiteX78" fmla="*/ 250836 w 607639"/>
              <a:gd name="connsiteY78" fmla="*/ 244426 h 414642"/>
              <a:gd name="connsiteX79" fmla="*/ 185290 w 607639"/>
              <a:gd name="connsiteY79" fmla="*/ 179031 h 414642"/>
              <a:gd name="connsiteX80" fmla="*/ 476009 w 607639"/>
              <a:gd name="connsiteY80" fmla="*/ 171897 h 414642"/>
              <a:gd name="connsiteX81" fmla="*/ 486055 w 607639"/>
              <a:gd name="connsiteY81" fmla="*/ 182032 h 414642"/>
              <a:gd name="connsiteX82" fmla="*/ 486055 w 607639"/>
              <a:gd name="connsiteY82" fmla="*/ 303387 h 414642"/>
              <a:gd name="connsiteX83" fmla="*/ 476009 w 607639"/>
              <a:gd name="connsiteY83" fmla="*/ 313522 h 414642"/>
              <a:gd name="connsiteX84" fmla="*/ 465873 w 607639"/>
              <a:gd name="connsiteY84" fmla="*/ 303387 h 414642"/>
              <a:gd name="connsiteX85" fmla="*/ 465873 w 607639"/>
              <a:gd name="connsiteY85" fmla="*/ 182032 h 414642"/>
              <a:gd name="connsiteX86" fmla="*/ 476009 w 607639"/>
              <a:gd name="connsiteY86" fmla="*/ 171897 h 414642"/>
              <a:gd name="connsiteX87" fmla="*/ 313921 w 607639"/>
              <a:gd name="connsiteY87" fmla="*/ 166965 h 414642"/>
              <a:gd name="connsiteX88" fmla="*/ 314925 w 607639"/>
              <a:gd name="connsiteY88" fmla="*/ 172904 h 414642"/>
              <a:gd name="connsiteX89" fmla="*/ 311898 w 607639"/>
              <a:gd name="connsiteY89" fmla="*/ 180015 h 414642"/>
              <a:gd name="connsiteX90" fmla="*/ 311213 w 607639"/>
              <a:gd name="connsiteY90" fmla="*/ 180188 h 414642"/>
              <a:gd name="connsiteX91" fmla="*/ 313685 w 607639"/>
              <a:gd name="connsiteY91" fmla="*/ 165567 h 414642"/>
              <a:gd name="connsiteX92" fmla="*/ 313946 w 607639"/>
              <a:gd name="connsiteY92" fmla="*/ 166842 h 414642"/>
              <a:gd name="connsiteX93" fmla="*/ 313921 w 607639"/>
              <a:gd name="connsiteY93" fmla="*/ 166965 h 414642"/>
              <a:gd name="connsiteX94" fmla="*/ 286557 w 607639"/>
              <a:gd name="connsiteY94" fmla="*/ 131875 h 414642"/>
              <a:gd name="connsiteX95" fmla="*/ 293736 w 607639"/>
              <a:gd name="connsiteY95" fmla="*/ 161794 h 414642"/>
              <a:gd name="connsiteX96" fmla="*/ 292704 w 607639"/>
              <a:gd name="connsiteY96" fmla="*/ 161794 h 414642"/>
              <a:gd name="connsiteX97" fmla="*/ 285987 w 607639"/>
              <a:gd name="connsiteY97" fmla="*/ 129499 h 414642"/>
              <a:gd name="connsiteX98" fmla="*/ 286105 w 607639"/>
              <a:gd name="connsiteY98" fmla="*/ 129672 h 414642"/>
              <a:gd name="connsiteX99" fmla="*/ 286557 w 607639"/>
              <a:gd name="connsiteY99" fmla="*/ 131875 h 414642"/>
              <a:gd name="connsiteX100" fmla="*/ 304744 w 607639"/>
              <a:gd name="connsiteY100" fmla="*/ 121927 h 414642"/>
              <a:gd name="connsiteX101" fmla="*/ 306857 w 607639"/>
              <a:gd name="connsiteY101" fmla="*/ 125153 h 414642"/>
              <a:gd name="connsiteX102" fmla="*/ 313685 w 607639"/>
              <a:gd name="connsiteY102" fmla="*/ 165567 h 414642"/>
              <a:gd name="connsiteX103" fmla="*/ 303006 w 607639"/>
              <a:gd name="connsiteY103" fmla="*/ 119273 h 414642"/>
              <a:gd name="connsiteX104" fmla="*/ 304717 w 607639"/>
              <a:gd name="connsiteY104" fmla="*/ 121796 h 414642"/>
              <a:gd name="connsiteX105" fmla="*/ 304744 w 607639"/>
              <a:gd name="connsiteY105" fmla="*/ 121927 h 414642"/>
              <a:gd name="connsiteX106" fmla="*/ 266335 w 607639"/>
              <a:gd name="connsiteY106" fmla="*/ 100547 h 414642"/>
              <a:gd name="connsiteX107" fmla="*/ 285579 w 607639"/>
              <a:gd name="connsiteY107" fmla="*/ 127797 h 414642"/>
              <a:gd name="connsiteX108" fmla="*/ 285987 w 607639"/>
              <a:gd name="connsiteY108" fmla="*/ 129499 h 414642"/>
              <a:gd name="connsiteX109" fmla="*/ 263955 w 607639"/>
              <a:gd name="connsiteY109" fmla="*/ 98160 h 414642"/>
              <a:gd name="connsiteX110" fmla="*/ 265358 w 607639"/>
              <a:gd name="connsiteY110" fmla="*/ 99109 h 414642"/>
              <a:gd name="connsiteX111" fmla="*/ 266335 w 607639"/>
              <a:gd name="connsiteY111" fmla="*/ 100547 h 414642"/>
              <a:gd name="connsiteX112" fmla="*/ 265336 w 607639"/>
              <a:gd name="connsiteY112" fmla="*/ 99133 h 414642"/>
              <a:gd name="connsiteX113" fmla="*/ 518470 w 607639"/>
              <a:gd name="connsiteY113" fmla="*/ 91029 h 414642"/>
              <a:gd name="connsiteX114" fmla="*/ 520515 w 607639"/>
              <a:gd name="connsiteY114" fmla="*/ 92007 h 414642"/>
              <a:gd name="connsiteX115" fmla="*/ 522559 w 607639"/>
              <a:gd name="connsiteY115" fmla="*/ 93074 h 414642"/>
              <a:gd name="connsiteX116" fmla="*/ 524604 w 607639"/>
              <a:gd name="connsiteY116" fmla="*/ 94052 h 414642"/>
              <a:gd name="connsiteX117" fmla="*/ 526560 w 607639"/>
              <a:gd name="connsiteY117" fmla="*/ 101165 h 414642"/>
              <a:gd name="connsiteX118" fmla="*/ 523537 w 607639"/>
              <a:gd name="connsiteY118" fmla="*/ 108188 h 414642"/>
              <a:gd name="connsiteX119" fmla="*/ 521581 w 607639"/>
              <a:gd name="connsiteY119" fmla="*/ 109255 h 414642"/>
              <a:gd name="connsiteX120" fmla="*/ 519537 w 607639"/>
              <a:gd name="connsiteY120" fmla="*/ 110233 h 414642"/>
              <a:gd name="connsiteX121" fmla="*/ 517492 w 607639"/>
              <a:gd name="connsiteY121" fmla="*/ 111211 h 414642"/>
              <a:gd name="connsiteX122" fmla="*/ 516514 w 607639"/>
              <a:gd name="connsiteY122" fmla="*/ 111211 h 414642"/>
              <a:gd name="connsiteX123" fmla="*/ 509401 w 607639"/>
              <a:gd name="connsiteY123" fmla="*/ 108188 h 414642"/>
              <a:gd name="connsiteX124" fmla="*/ 507356 w 607639"/>
              <a:gd name="connsiteY124" fmla="*/ 105165 h 414642"/>
              <a:gd name="connsiteX125" fmla="*/ 506378 w 607639"/>
              <a:gd name="connsiteY125" fmla="*/ 101165 h 414642"/>
              <a:gd name="connsiteX126" fmla="*/ 509401 w 607639"/>
              <a:gd name="connsiteY126" fmla="*/ 94052 h 414642"/>
              <a:gd name="connsiteX127" fmla="*/ 518470 w 607639"/>
              <a:gd name="connsiteY127" fmla="*/ 91029 h 414642"/>
              <a:gd name="connsiteX128" fmla="*/ 384846 w 607639"/>
              <a:gd name="connsiteY128" fmla="*/ 91029 h 414642"/>
              <a:gd name="connsiteX129" fmla="*/ 465819 w 607639"/>
              <a:gd name="connsiteY129" fmla="*/ 91029 h 414642"/>
              <a:gd name="connsiteX130" fmla="*/ 475963 w 607639"/>
              <a:gd name="connsiteY130" fmla="*/ 101165 h 414642"/>
              <a:gd name="connsiteX131" fmla="*/ 465819 w 607639"/>
              <a:gd name="connsiteY131" fmla="*/ 111211 h 414642"/>
              <a:gd name="connsiteX132" fmla="*/ 384846 w 607639"/>
              <a:gd name="connsiteY132" fmla="*/ 111211 h 414642"/>
              <a:gd name="connsiteX133" fmla="*/ 374702 w 607639"/>
              <a:gd name="connsiteY133" fmla="*/ 101165 h 414642"/>
              <a:gd name="connsiteX134" fmla="*/ 384846 w 607639"/>
              <a:gd name="connsiteY134" fmla="*/ 91029 h 414642"/>
              <a:gd name="connsiteX135" fmla="*/ 234861 w 607639"/>
              <a:gd name="connsiteY135" fmla="*/ 78470 h 414642"/>
              <a:gd name="connsiteX136" fmla="*/ 236624 w 607639"/>
              <a:gd name="connsiteY136" fmla="*/ 78890 h 414642"/>
              <a:gd name="connsiteX137" fmla="*/ 263955 w 607639"/>
              <a:gd name="connsiteY137" fmla="*/ 98160 h 414642"/>
              <a:gd name="connsiteX138" fmla="*/ 233277 w 607639"/>
              <a:gd name="connsiteY138" fmla="*/ 78093 h 414642"/>
              <a:gd name="connsiteX139" fmla="*/ 234749 w 607639"/>
              <a:gd name="connsiteY139" fmla="*/ 78395 h 414642"/>
              <a:gd name="connsiteX140" fmla="*/ 234861 w 607639"/>
              <a:gd name="connsiteY140" fmla="*/ 78470 h 414642"/>
              <a:gd name="connsiteX141" fmla="*/ 264684 w 607639"/>
              <a:gd name="connsiteY141" fmla="*/ 74721 h 414642"/>
              <a:gd name="connsiteX142" fmla="*/ 280560 w 607639"/>
              <a:gd name="connsiteY142" fmla="*/ 85001 h 414642"/>
              <a:gd name="connsiteX143" fmla="*/ 303006 w 607639"/>
              <a:gd name="connsiteY143" fmla="*/ 119273 h 414642"/>
              <a:gd name="connsiteX144" fmla="*/ 279633 w 607639"/>
              <a:gd name="connsiteY144" fmla="*/ 84823 h 414642"/>
              <a:gd name="connsiteX145" fmla="*/ 202570 w 607639"/>
              <a:gd name="connsiteY145" fmla="*/ 70780 h 414642"/>
              <a:gd name="connsiteX146" fmla="*/ 233277 w 607639"/>
              <a:gd name="connsiteY146" fmla="*/ 78093 h 414642"/>
              <a:gd name="connsiteX147" fmla="*/ 202570 w 607639"/>
              <a:gd name="connsiteY147" fmla="*/ 71804 h 414642"/>
              <a:gd name="connsiteX148" fmla="*/ 197522 w 607639"/>
              <a:gd name="connsiteY148" fmla="*/ 70770 h 414642"/>
              <a:gd name="connsiteX149" fmla="*/ 202570 w 607639"/>
              <a:gd name="connsiteY149" fmla="*/ 71804 h 414642"/>
              <a:gd name="connsiteX150" fmla="*/ 202570 w 607639"/>
              <a:gd name="connsiteY150" fmla="*/ 161794 h 414642"/>
              <a:gd name="connsiteX151" fmla="*/ 292704 w 607639"/>
              <a:gd name="connsiteY151" fmla="*/ 161794 h 414642"/>
              <a:gd name="connsiteX152" fmla="*/ 293741 w 607639"/>
              <a:gd name="connsiteY152" fmla="*/ 166842 h 414642"/>
              <a:gd name="connsiteX153" fmla="*/ 290618 w 607639"/>
              <a:gd name="connsiteY153" fmla="*/ 182059 h 414642"/>
              <a:gd name="connsiteX154" fmla="*/ 216731 w 607639"/>
              <a:gd name="connsiteY154" fmla="*/ 182059 h 414642"/>
              <a:gd name="connsiteX155" fmla="*/ 199449 w 607639"/>
              <a:gd name="connsiteY155" fmla="*/ 164816 h 414642"/>
              <a:gd name="connsiteX156" fmla="*/ 185290 w 607639"/>
              <a:gd name="connsiteY156" fmla="*/ 164816 h 414642"/>
              <a:gd name="connsiteX157" fmla="*/ 185290 w 607639"/>
              <a:gd name="connsiteY157" fmla="*/ 178985 h 414642"/>
              <a:gd name="connsiteX158" fmla="*/ 185076 w 607639"/>
              <a:gd name="connsiteY158" fmla="*/ 178893 h 414642"/>
              <a:gd name="connsiteX159" fmla="*/ 182271 w 607639"/>
              <a:gd name="connsiteY159" fmla="*/ 171927 h 414642"/>
              <a:gd name="connsiteX160" fmla="*/ 182271 w 607639"/>
              <a:gd name="connsiteY160" fmla="*/ 73890 h 414642"/>
              <a:gd name="connsiteX161" fmla="*/ 241194 w 607639"/>
              <a:gd name="connsiteY161" fmla="*/ 59511 h 414642"/>
              <a:gd name="connsiteX162" fmla="*/ 242600 w 607639"/>
              <a:gd name="connsiteY162" fmla="*/ 59798 h 414642"/>
              <a:gd name="connsiteX163" fmla="*/ 264684 w 607639"/>
              <a:gd name="connsiteY163" fmla="*/ 74721 h 414642"/>
              <a:gd name="connsiteX164" fmla="*/ 223078 w 607639"/>
              <a:gd name="connsiteY164" fmla="*/ 55812 h 414642"/>
              <a:gd name="connsiteX165" fmla="*/ 239895 w 607639"/>
              <a:gd name="connsiteY165" fmla="*/ 58670 h 414642"/>
              <a:gd name="connsiteX166" fmla="*/ 241194 w 607639"/>
              <a:gd name="connsiteY166" fmla="*/ 59511 h 414642"/>
              <a:gd name="connsiteX167" fmla="*/ 187739 w 607639"/>
              <a:gd name="connsiteY167" fmla="*/ 52590 h 414642"/>
              <a:gd name="connsiteX168" fmla="*/ 185298 w 607639"/>
              <a:gd name="connsiteY168" fmla="*/ 53626 h 414642"/>
              <a:gd name="connsiteX169" fmla="*/ 182271 w 607639"/>
              <a:gd name="connsiteY169" fmla="*/ 60736 h 414642"/>
              <a:gd name="connsiteX170" fmla="*/ 182271 w 607639"/>
              <a:gd name="connsiteY170" fmla="*/ 73890 h 414642"/>
              <a:gd name="connsiteX171" fmla="*/ 160258 w 607639"/>
              <a:gd name="connsiteY171" fmla="*/ 78395 h 414642"/>
              <a:gd name="connsiteX172" fmla="*/ 101303 w 607639"/>
              <a:gd name="connsiteY172" fmla="*/ 166842 h 414642"/>
              <a:gd name="connsiteX173" fmla="*/ 197522 w 607639"/>
              <a:gd name="connsiteY173" fmla="*/ 262915 h 414642"/>
              <a:gd name="connsiteX174" fmla="*/ 234749 w 607639"/>
              <a:gd name="connsiteY174" fmla="*/ 255302 h 414642"/>
              <a:gd name="connsiteX175" fmla="*/ 250836 w 607639"/>
              <a:gd name="connsiteY175" fmla="*/ 244426 h 414642"/>
              <a:gd name="connsiteX176" fmla="*/ 260268 w 607639"/>
              <a:gd name="connsiteY176" fmla="*/ 253836 h 414642"/>
              <a:gd name="connsiteX177" fmla="*/ 267391 w 607639"/>
              <a:gd name="connsiteY177" fmla="*/ 256857 h 414642"/>
              <a:gd name="connsiteX178" fmla="*/ 268732 w 607639"/>
              <a:gd name="connsiteY178" fmla="*/ 256281 h 414642"/>
              <a:gd name="connsiteX179" fmla="*/ 242600 w 607639"/>
              <a:gd name="connsiteY179" fmla="*/ 273962 h 414642"/>
              <a:gd name="connsiteX180" fmla="*/ 197522 w 607639"/>
              <a:gd name="connsiteY180" fmla="*/ 283178 h 414642"/>
              <a:gd name="connsiteX181" fmla="*/ 81009 w 607639"/>
              <a:gd name="connsiteY181" fmla="*/ 166842 h 414642"/>
              <a:gd name="connsiteX182" fmla="*/ 152393 w 607639"/>
              <a:gd name="connsiteY182" fmla="*/ 59798 h 414642"/>
              <a:gd name="connsiteX183" fmla="*/ 192421 w 607639"/>
              <a:gd name="connsiteY183" fmla="*/ 50604 h 414642"/>
              <a:gd name="connsiteX184" fmla="*/ 195181 w 607639"/>
              <a:gd name="connsiteY184" fmla="*/ 51073 h 414642"/>
              <a:gd name="connsiteX185" fmla="*/ 187739 w 607639"/>
              <a:gd name="connsiteY185" fmla="*/ 52590 h 414642"/>
              <a:gd name="connsiteX186" fmla="*/ 197522 w 607639"/>
              <a:gd name="connsiteY186" fmla="*/ 50595 h 414642"/>
              <a:gd name="connsiteX187" fmla="*/ 223078 w 607639"/>
              <a:gd name="connsiteY187" fmla="*/ 55812 h 414642"/>
              <a:gd name="connsiteX188" fmla="*/ 195181 w 607639"/>
              <a:gd name="connsiteY188" fmla="*/ 51073 h 414642"/>
              <a:gd name="connsiteX189" fmla="*/ 449651 w 607639"/>
              <a:gd name="connsiteY189" fmla="*/ 41472 h 414642"/>
              <a:gd name="connsiteX190" fmla="*/ 452682 w 607639"/>
              <a:gd name="connsiteY190" fmla="*/ 43516 h 414642"/>
              <a:gd name="connsiteX191" fmla="*/ 455712 w 607639"/>
              <a:gd name="connsiteY191" fmla="*/ 50626 h 414642"/>
              <a:gd name="connsiteX192" fmla="*/ 452682 w 607639"/>
              <a:gd name="connsiteY192" fmla="*/ 57647 h 414642"/>
              <a:gd name="connsiteX193" fmla="*/ 445551 w 607639"/>
              <a:gd name="connsiteY193" fmla="*/ 60757 h 414642"/>
              <a:gd name="connsiteX194" fmla="*/ 438509 w 607639"/>
              <a:gd name="connsiteY194" fmla="*/ 57647 h 414642"/>
              <a:gd name="connsiteX195" fmla="*/ 435389 w 607639"/>
              <a:gd name="connsiteY195" fmla="*/ 50626 h 414642"/>
              <a:gd name="connsiteX196" fmla="*/ 438509 w 607639"/>
              <a:gd name="connsiteY196" fmla="*/ 43516 h 414642"/>
              <a:gd name="connsiteX197" fmla="*/ 449651 w 607639"/>
              <a:gd name="connsiteY197" fmla="*/ 41472 h 414642"/>
              <a:gd name="connsiteX198" fmla="*/ 486030 w 607639"/>
              <a:gd name="connsiteY198" fmla="*/ 40505 h 414642"/>
              <a:gd name="connsiteX199" fmla="*/ 516494 w 607639"/>
              <a:gd name="connsiteY199" fmla="*/ 40505 h 414642"/>
              <a:gd name="connsiteX200" fmla="*/ 526559 w 607639"/>
              <a:gd name="connsiteY200" fmla="*/ 50631 h 414642"/>
              <a:gd name="connsiteX201" fmla="*/ 516494 w 607639"/>
              <a:gd name="connsiteY201" fmla="*/ 60757 h 414642"/>
              <a:gd name="connsiteX202" fmla="*/ 486030 w 607639"/>
              <a:gd name="connsiteY202" fmla="*/ 60757 h 414642"/>
              <a:gd name="connsiteX203" fmla="*/ 475964 w 607639"/>
              <a:gd name="connsiteY203" fmla="*/ 50631 h 414642"/>
              <a:gd name="connsiteX204" fmla="*/ 486030 w 607639"/>
              <a:gd name="connsiteY204" fmla="*/ 40505 h 414642"/>
              <a:gd name="connsiteX205" fmla="*/ 384851 w 607639"/>
              <a:gd name="connsiteY205" fmla="*/ 40505 h 414642"/>
              <a:gd name="connsiteX206" fmla="*/ 405059 w 607639"/>
              <a:gd name="connsiteY206" fmla="*/ 40505 h 414642"/>
              <a:gd name="connsiteX207" fmla="*/ 415207 w 607639"/>
              <a:gd name="connsiteY207" fmla="*/ 50631 h 414642"/>
              <a:gd name="connsiteX208" fmla="*/ 405059 w 607639"/>
              <a:gd name="connsiteY208" fmla="*/ 60757 h 414642"/>
              <a:gd name="connsiteX209" fmla="*/ 384851 w 607639"/>
              <a:gd name="connsiteY209" fmla="*/ 60757 h 414642"/>
              <a:gd name="connsiteX210" fmla="*/ 374702 w 607639"/>
              <a:gd name="connsiteY210" fmla="*/ 50631 h 414642"/>
              <a:gd name="connsiteX211" fmla="*/ 384851 w 607639"/>
              <a:gd name="connsiteY211" fmla="*/ 40505 h 414642"/>
              <a:gd name="connsiteX212" fmla="*/ 70855 w 607639"/>
              <a:gd name="connsiteY212" fmla="*/ 20176 h 414642"/>
              <a:gd name="connsiteX213" fmla="*/ 60798 w 607639"/>
              <a:gd name="connsiteY213" fmla="*/ 30308 h 414642"/>
              <a:gd name="connsiteX214" fmla="*/ 60798 w 607639"/>
              <a:gd name="connsiteY214" fmla="*/ 343788 h 414642"/>
              <a:gd name="connsiteX215" fmla="*/ 222783 w 607639"/>
              <a:gd name="connsiteY215" fmla="*/ 343788 h 414642"/>
              <a:gd name="connsiteX216" fmla="*/ 232929 w 607639"/>
              <a:gd name="connsiteY216" fmla="*/ 353920 h 414642"/>
              <a:gd name="connsiteX217" fmla="*/ 232929 w 607639"/>
              <a:gd name="connsiteY217" fmla="*/ 364052 h 414642"/>
              <a:gd name="connsiteX218" fmla="*/ 374711 w 607639"/>
              <a:gd name="connsiteY218" fmla="*/ 364052 h 414642"/>
              <a:gd name="connsiteX219" fmla="*/ 374711 w 607639"/>
              <a:gd name="connsiteY219" fmla="*/ 353920 h 414642"/>
              <a:gd name="connsiteX220" fmla="*/ 384857 w 607639"/>
              <a:gd name="connsiteY220" fmla="*/ 343788 h 414642"/>
              <a:gd name="connsiteX221" fmla="*/ 546843 w 607639"/>
              <a:gd name="connsiteY221" fmla="*/ 343788 h 414642"/>
              <a:gd name="connsiteX222" fmla="*/ 546843 w 607639"/>
              <a:gd name="connsiteY222" fmla="*/ 30308 h 414642"/>
              <a:gd name="connsiteX223" fmla="*/ 536696 w 607639"/>
              <a:gd name="connsiteY223" fmla="*/ 20176 h 414642"/>
              <a:gd name="connsiteX224" fmla="*/ 70855 w 607639"/>
              <a:gd name="connsiteY224" fmla="*/ 0 h 414642"/>
              <a:gd name="connsiteX225" fmla="*/ 536696 w 607639"/>
              <a:gd name="connsiteY225" fmla="*/ 0 h 414642"/>
              <a:gd name="connsiteX226" fmla="*/ 567135 w 607639"/>
              <a:gd name="connsiteY226" fmla="*/ 30308 h 414642"/>
              <a:gd name="connsiteX227" fmla="*/ 567135 w 607639"/>
              <a:gd name="connsiteY227" fmla="*/ 343794 h 414642"/>
              <a:gd name="connsiteX228" fmla="*/ 384859 w 607639"/>
              <a:gd name="connsiteY228" fmla="*/ 343794 h 414642"/>
              <a:gd name="connsiteX229" fmla="*/ 374712 w 607639"/>
              <a:gd name="connsiteY229" fmla="*/ 353928 h 414642"/>
              <a:gd name="connsiteX230" fmla="*/ 374712 w 607639"/>
              <a:gd name="connsiteY230" fmla="*/ 364062 h 414642"/>
              <a:gd name="connsiteX231" fmla="*/ 232927 w 607639"/>
              <a:gd name="connsiteY231" fmla="*/ 364062 h 414642"/>
              <a:gd name="connsiteX232" fmla="*/ 232927 w 607639"/>
              <a:gd name="connsiteY232" fmla="*/ 353928 h 414642"/>
              <a:gd name="connsiteX233" fmla="*/ 222780 w 607639"/>
              <a:gd name="connsiteY233" fmla="*/ 343794 h 414642"/>
              <a:gd name="connsiteX234" fmla="*/ 40505 w 607639"/>
              <a:gd name="connsiteY234" fmla="*/ 343794 h 414642"/>
              <a:gd name="connsiteX235" fmla="*/ 40505 w 607639"/>
              <a:gd name="connsiteY235" fmla="*/ 30308 h 414642"/>
              <a:gd name="connsiteX236" fmla="*/ 70855 w 607639"/>
              <a:gd name="connsiteY236" fmla="*/ 0 h 41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</a:cxnLst>
            <a:rect l="l" t="t" r="r" b="b"/>
            <a:pathLst>
              <a:path w="607639" h="414642">
                <a:moveTo>
                  <a:pt x="20293" y="364062"/>
                </a:moveTo>
                <a:lnTo>
                  <a:pt x="20293" y="384241"/>
                </a:lnTo>
                <a:cubicBezTo>
                  <a:pt x="20293" y="390374"/>
                  <a:pt x="24298" y="394374"/>
                  <a:pt x="30351" y="394374"/>
                </a:cubicBezTo>
                <a:lnTo>
                  <a:pt x="577199" y="394374"/>
                </a:lnTo>
                <a:cubicBezTo>
                  <a:pt x="583341" y="394374"/>
                  <a:pt x="587346" y="390374"/>
                  <a:pt x="587346" y="384241"/>
                </a:cubicBezTo>
                <a:lnTo>
                  <a:pt x="587346" y="364062"/>
                </a:lnTo>
                <a:lnTo>
                  <a:pt x="394917" y="364062"/>
                </a:lnTo>
                <a:lnTo>
                  <a:pt x="394917" y="374196"/>
                </a:lnTo>
                <a:cubicBezTo>
                  <a:pt x="394917" y="380240"/>
                  <a:pt x="390911" y="384241"/>
                  <a:pt x="384859" y="384241"/>
                </a:cubicBezTo>
                <a:lnTo>
                  <a:pt x="222780" y="384241"/>
                </a:lnTo>
                <a:cubicBezTo>
                  <a:pt x="216728" y="384241"/>
                  <a:pt x="212634" y="380240"/>
                  <a:pt x="212634" y="374196"/>
                </a:cubicBezTo>
                <a:lnTo>
                  <a:pt x="212634" y="364062"/>
                </a:lnTo>
                <a:close/>
                <a:moveTo>
                  <a:pt x="10146" y="343794"/>
                </a:moveTo>
                <a:lnTo>
                  <a:pt x="40505" y="343794"/>
                </a:lnTo>
                <a:lnTo>
                  <a:pt x="40505" y="353920"/>
                </a:lnTo>
                <a:cubicBezTo>
                  <a:pt x="40505" y="359964"/>
                  <a:pt x="44599" y="364052"/>
                  <a:pt x="50652" y="364052"/>
                </a:cubicBezTo>
                <a:lnTo>
                  <a:pt x="212637" y="364052"/>
                </a:lnTo>
                <a:lnTo>
                  <a:pt x="212637" y="374185"/>
                </a:lnTo>
                <a:cubicBezTo>
                  <a:pt x="212637" y="380229"/>
                  <a:pt x="216731" y="384228"/>
                  <a:pt x="222783" y="384228"/>
                </a:cubicBezTo>
                <a:lnTo>
                  <a:pt x="384857" y="384228"/>
                </a:lnTo>
                <a:cubicBezTo>
                  <a:pt x="390910" y="384228"/>
                  <a:pt x="394915" y="380229"/>
                  <a:pt x="394915" y="374185"/>
                </a:cubicBezTo>
                <a:lnTo>
                  <a:pt x="394915" y="364052"/>
                </a:lnTo>
                <a:lnTo>
                  <a:pt x="556989" y="364052"/>
                </a:lnTo>
                <a:cubicBezTo>
                  <a:pt x="563041" y="364052"/>
                  <a:pt x="567135" y="359964"/>
                  <a:pt x="567135" y="353920"/>
                </a:cubicBezTo>
                <a:lnTo>
                  <a:pt x="567135" y="343794"/>
                </a:lnTo>
                <a:lnTo>
                  <a:pt x="597493" y="343794"/>
                </a:lnTo>
                <a:cubicBezTo>
                  <a:pt x="603545" y="343794"/>
                  <a:pt x="607639" y="347883"/>
                  <a:pt x="607639" y="353928"/>
                </a:cubicBezTo>
                <a:lnTo>
                  <a:pt x="607639" y="384241"/>
                </a:lnTo>
                <a:cubicBezTo>
                  <a:pt x="607639" y="401486"/>
                  <a:pt x="594466" y="414642"/>
                  <a:pt x="577199" y="414642"/>
                </a:cubicBezTo>
                <a:lnTo>
                  <a:pt x="30351" y="414642"/>
                </a:lnTo>
                <a:cubicBezTo>
                  <a:pt x="13173" y="414642"/>
                  <a:pt x="0" y="401486"/>
                  <a:pt x="0" y="384241"/>
                </a:cubicBezTo>
                <a:lnTo>
                  <a:pt x="0" y="353928"/>
                </a:lnTo>
                <a:cubicBezTo>
                  <a:pt x="0" y="347883"/>
                  <a:pt x="4094" y="343794"/>
                  <a:pt x="10146" y="343794"/>
                </a:cubicBezTo>
                <a:close/>
                <a:moveTo>
                  <a:pt x="354415" y="262926"/>
                </a:moveTo>
                <a:cubicBezTo>
                  <a:pt x="360455" y="262926"/>
                  <a:pt x="364541" y="267016"/>
                  <a:pt x="364541" y="273063"/>
                </a:cubicBezTo>
                <a:lnTo>
                  <a:pt x="364541" y="303384"/>
                </a:lnTo>
                <a:cubicBezTo>
                  <a:pt x="364541" y="309431"/>
                  <a:pt x="360455" y="313521"/>
                  <a:pt x="354415" y="313521"/>
                </a:cubicBezTo>
                <a:cubicBezTo>
                  <a:pt x="348375" y="313521"/>
                  <a:pt x="344289" y="309431"/>
                  <a:pt x="344289" y="303384"/>
                </a:cubicBezTo>
                <a:lnTo>
                  <a:pt x="344289" y="273063"/>
                </a:lnTo>
                <a:cubicBezTo>
                  <a:pt x="344289" y="267016"/>
                  <a:pt x="348375" y="262926"/>
                  <a:pt x="354415" y="262926"/>
                </a:cubicBezTo>
                <a:close/>
                <a:moveTo>
                  <a:pt x="274426" y="252429"/>
                </a:moveTo>
                <a:lnTo>
                  <a:pt x="274426" y="253836"/>
                </a:lnTo>
                <a:lnTo>
                  <a:pt x="268732" y="256281"/>
                </a:lnTo>
                <a:close/>
                <a:moveTo>
                  <a:pt x="435415" y="242745"/>
                </a:moveTo>
                <a:cubicBezTo>
                  <a:pt x="441549" y="242745"/>
                  <a:pt x="445550" y="246746"/>
                  <a:pt x="445550" y="252793"/>
                </a:cubicBezTo>
                <a:lnTo>
                  <a:pt x="445550" y="303386"/>
                </a:lnTo>
                <a:cubicBezTo>
                  <a:pt x="445550" y="309432"/>
                  <a:pt x="441549" y="313522"/>
                  <a:pt x="435415" y="313522"/>
                </a:cubicBezTo>
                <a:cubicBezTo>
                  <a:pt x="429369" y="313522"/>
                  <a:pt x="425368" y="309432"/>
                  <a:pt x="425368" y="303386"/>
                </a:cubicBezTo>
                <a:lnTo>
                  <a:pt x="425368" y="252793"/>
                </a:lnTo>
                <a:cubicBezTo>
                  <a:pt x="425368" y="246746"/>
                  <a:pt x="429369" y="242745"/>
                  <a:pt x="435415" y="242745"/>
                </a:cubicBezTo>
                <a:close/>
                <a:moveTo>
                  <a:pt x="394911" y="222493"/>
                </a:moveTo>
                <a:cubicBezTo>
                  <a:pt x="401045" y="222493"/>
                  <a:pt x="405046" y="226582"/>
                  <a:pt x="405046" y="232627"/>
                </a:cubicBezTo>
                <a:lnTo>
                  <a:pt x="405046" y="303388"/>
                </a:lnTo>
                <a:cubicBezTo>
                  <a:pt x="405046" y="309433"/>
                  <a:pt x="401045" y="313522"/>
                  <a:pt x="394911" y="313522"/>
                </a:cubicBezTo>
                <a:cubicBezTo>
                  <a:pt x="388865" y="313522"/>
                  <a:pt x="384864" y="309433"/>
                  <a:pt x="384864" y="303388"/>
                </a:cubicBezTo>
                <a:lnTo>
                  <a:pt x="384864" y="232627"/>
                </a:lnTo>
                <a:cubicBezTo>
                  <a:pt x="384864" y="226582"/>
                  <a:pt x="388865" y="222493"/>
                  <a:pt x="394911" y="222493"/>
                </a:cubicBezTo>
                <a:close/>
                <a:moveTo>
                  <a:pt x="516514" y="212331"/>
                </a:moveTo>
                <a:cubicBezTo>
                  <a:pt x="522559" y="212331"/>
                  <a:pt x="526560" y="216421"/>
                  <a:pt x="526560" y="222468"/>
                </a:cubicBezTo>
                <a:lnTo>
                  <a:pt x="526560" y="303385"/>
                </a:lnTo>
                <a:cubicBezTo>
                  <a:pt x="526560" y="309432"/>
                  <a:pt x="522559" y="313522"/>
                  <a:pt x="516514" y="313522"/>
                </a:cubicBezTo>
                <a:cubicBezTo>
                  <a:pt x="510379" y="313522"/>
                  <a:pt x="506378" y="309432"/>
                  <a:pt x="506378" y="303385"/>
                </a:cubicBezTo>
                <a:lnTo>
                  <a:pt x="506378" y="222468"/>
                </a:lnTo>
                <a:cubicBezTo>
                  <a:pt x="506378" y="216421"/>
                  <a:pt x="510379" y="212331"/>
                  <a:pt x="516514" y="212331"/>
                </a:cubicBezTo>
                <a:close/>
                <a:moveTo>
                  <a:pt x="311213" y="180188"/>
                </a:moveTo>
                <a:lnTo>
                  <a:pt x="304717" y="211903"/>
                </a:lnTo>
                <a:cubicBezTo>
                  <a:pt x="298781" y="225796"/>
                  <a:pt x="290203" y="238347"/>
                  <a:pt x="279633" y="248906"/>
                </a:cubicBezTo>
                <a:lnTo>
                  <a:pt x="274426" y="252429"/>
                </a:lnTo>
                <a:lnTo>
                  <a:pt x="274426" y="239622"/>
                </a:lnTo>
                <a:lnTo>
                  <a:pt x="266991" y="232204"/>
                </a:lnTo>
                <a:lnTo>
                  <a:pt x="286105" y="204050"/>
                </a:lnTo>
                <a:lnTo>
                  <a:pt x="290618" y="182059"/>
                </a:lnTo>
                <a:lnTo>
                  <a:pt x="303796" y="182059"/>
                </a:lnTo>
                <a:close/>
                <a:moveTo>
                  <a:pt x="185290" y="178985"/>
                </a:moveTo>
                <a:lnTo>
                  <a:pt x="192421" y="182059"/>
                </a:lnTo>
                <a:lnTo>
                  <a:pt x="216731" y="182059"/>
                </a:lnTo>
                <a:lnTo>
                  <a:pt x="266991" y="232204"/>
                </a:lnTo>
                <a:lnTo>
                  <a:pt x="265358" y="234609"/>
                </a:lnTo>
                <a:lnTo>
                  <a:pt x="250836" y="244426"/>
                </a:lnTo>
                <a:lnTo>
                  <a:pt x="185290" y="179031"/>
                </a:lnTo>
                <a:close/>
                <a:moveTo>
                  <a:pt x="476009" y="171897"/>
                </a:moveTo>
                <a:cubicBezTo>
                  <a:pt x="482054" y="171897"/>
                  <a:pt x="486055" y="175987"/>
                  <a:pt x="486055" y="182032"/>
                </a:cubicBezTo>
                <a:lnTo>
                  <a:pt x="486055" y="303387"/>
                </a:lnTo>
                <a:cubicBezTo>
                  <a:pt x="486055" y="309433"/>
                  <a:pt x="482054" y="313522"/>
                  <a:pt x="476009" y="313522"/>
                </a:cubicBezTo>
                <a:cubicBezTo>
                  <a:pt x="469874" y="313522"/>
                  <a:pt x="465873" y="309433"/>
                  <a:pt x="465873" y="303387"/>
                </a:cubicBezTo>
                <a:lnTo>
                  <a:pt x="465873" y="182032"/>
                </a:lnTo>
                <a:cubicBezTo>
                  <a:pt x="465873" y="175987"/>
                  <a:pt x="469874" y="171897"/>
                  <a:pt x="476009" y="171897"/>
                </a:cubicBezTo>
                <a:close/>
                <a:moveTo>
                  <a:pt x="313921" y="166965"/>
                </a:moveTo>
                <a:lnTo>
                  <a:pt x="314925" y="172904"/>
                </a:lnTo>
                <a:cubicBezTo>
                  <a:pt x="314925" y="176015"/>
                  <a:pt x="313946" y="177971"/>
                  <a:pt x="311898" y="180015"/>
                </a:cubicBezTo>
                <a:lnTo>
                  <a:pt x="311213" y="180188"/>
                </a:lnTo>
                <a:close/>
                <a:moveTo>
                  <a:pt x="313685" y="165567"/>
                </a:moveTo>
                <a:lnTo>
                  <a:pt x="313946" y="166842"/>
                </a:lnTo>
                <a:lnTo>
                  <a:pt x="313921" y="166965"/>
                </a:lnTo>
                <a:close/>
                <a:moveTo>
                  <a:pt x="286557" y="131875"/>
                </a:moveTo>
                <a:lnTo>
                  <a:pt x="293736" y="161794"/>
                </a:lnTo>
                <a:lnTo>
                  <a:pt x="292704" y="161794"/>
                </a:lnTo>
                <a:close/>
                <a:moveTo>
                  <a:pt x="285987" y="129499"/>
                </a:moveTo>
                <a:lnTo>
                  <a:pt x="286105" y="129672"/>
                </a:lnTo>
                <a:lnTo>
                  <a:pt x="286557" y="131875"/>
                </a:lnTo>
                <a:close/>
                <a:moveTo>
                  <a:pt x="304744" y="121927"/>
                </a:moveTo>
                <a:lnTo>
                  <a:pt x="306857" y="125153"/>
                </a:lnTo>
                <a:lnTo>
                  <a:pt x="313685" y="165567"/>
                </a:lnTo>
                <a:close/>
                <a:moveTo>
                  <a:pt x="303006" y="119273"/>
                </a:moveTo>
                <a:lnTo>
                  <a:pt x="304717" y="121796"/>
                </a:lnTo>
                <a:lnTo>
                  <a:pt x="304744" y="121927"/>
                </a:lnTo>
                <a:close/>
                <a:moveTo>
                  <a:pt x="266335" y="100547"/>
                </a:moveTo>
                <a:lnTo>
                  <a:pt x="285579" y="127797"/>
                </a:lnTo>
                <a:lnTo>
                  <a:pt x="285987" y="129499"/>
                </a:lnTo>
                <a:close/>
                <a:moveTo>
                  <a:pt x="263955" y="98160"/>
                </a:moveTo>
                <a:lnTo>
                  <a:pt x="265358" y="99109"/>
                </a:lnTo>
                <a:lnTo>
                  <a:pt x="266335" y="100547"/>
                </a:lnTo>
                <a:lnTo>
                  <a:pt x="265336" y="99133"/>
                </a:lnTo>
                <a:close/>
                <a:moveTo>
                  <a:pt x="518470" y="91029"/>
                </a:moveTo>
                <a:cubicBezTo>
                  <a:pt x="519537" y="91029"/>
                  <a:pt x="519537" y="91029"/>
                  <a:pt x="520515" y="92007"/>
                </a:cubicBezTo>
                <a:cubicBezTo>
                  <a:pt x="521581" y="92007"/>
                  <a:pt x="521581" y="93074"/>
                  <a:pt x="522559" y="93074"/>
                </a:cubicBezTo>
                <a:cubicBezTo>
                  <a:pt x="523537" y="93074"/>
                  <a:pt x="523537" y="94052"/>
                  <a:pt x="524604" y="94052"/>
                </a:cubicBezTo>
                <a:cubicBezTo>
                  <a:pt x="525582" y="96097"/>
                  <a:pt x="526560" y="98142"/>
                  <a:pt x="526560" y="101165"/>
                </a:cubicBezTo>
                <a:cubicBezTo>
                  <a:pt x="526560" y="104187"/>
                  <a:pt x="525582" y="106232"/>
                  <a:pt x="523537" y="108188"/>
                </a:cubicBezTo>
                <a:cubicBezTo>
                  <a:pt x="523537" y="108188"/>
                  <a:pt x="522559" y="109255"/>
                  <a:pt x="521581" y="109255"/>
                </a:cubicBezTo>
                <a:cubicBezTo>
                  <a:pt x="521581" y="109255"/>
                  <a:pt x="520515" y="110233"/>
                  <a:pt x="519537" y="110233"/>
                </a:cubicBezTo>
                <a:cubicBezTo>
                  <a:pt x="518470" y="110233"/>
                  <a:pt x="518470" y="110233"/>
                  <a:pt x="517492" y="111211"/>
                </a:cubicBezTo>
                <a:lnTo>
                  <a:pt x="516514" y="111211"/>
                </a:lnTo>
                <a:cubicBezTo>
                  <a:pt x="513491" y="111211"/>
                  <a:pt x="511446" y="110233"/>
                  <a:pt x="509401" y="108188"/>
                </a:cubicBezTo>
                <a:cubicBezTo>
                  <a:pt x="508423" y="107210"/>
                  <a:pt x="507356" y="106232"/>
                  <a:pt x="507356" y="105165"/>
                </a:cubicBezTo>
                <a:cubicBezTo>
                  <a:pt x="507356" y="104187"/>
                  <a:pt x="506378" y="103121"/>
                  <a:pt x="506378" y="101165"/>
                </a:cubicBezTo>
                <a:cubicBezTo>
                  <a:pt x="506378" y="98142"/>
                  <a:pt x="507356" y="96097"/>
                  <a:pt x="509401" y="94052"/>
                </a:cubicBezTo>
                <a:cubicBezTo>
                  <a:pt x="511446" y="92007"/>
                  <a:pt x="515447" y="91029"/>
                  <a:pt x="518470" y="91029"/>
                </a:cubicBezTo>
                <a:close/>
                <a:moveTo>
                  <a:pt x="384846" y="91029"/>
                </a:moveTo>
                <a:lnTo>
                  <a:pt x="465819" y="91029"/>
                </a:lnTo>
                <a:cubicBezTo>
                  <a:pt x="471870" y="91029"/>
                  <a:pt x="475963" y="95030"/>
                  <a:pt x="475963" y="101165"/>
                </a:cubicBezTo>
                <a:cubicBezTo>
                  <a:pt x="475963" y="107210"/>
                  <a:pt x="471870" y="111211"/>
                  <a:pt x="465819" y="111211"/>
                </a:cubicBezTo>
                <a:lnTo>
                  <a:pt x="384846" y="111211"/>
                </a:lnTo>
                <a:cubicBezTo>
                  <a:pt x="378706" y="111211"/>
                  <a:pt x="374702" y="107210"/>
                  <a:pt x="374702" y="101165"/>
                </a:cubicBezTo>
                <a:cubicBezTo>
                  <a:pt x="374702" y="95030"/>
                  <a:pt x="378706" y="91029"/>
                  <a:pt x="384846" y="91029"/>
                </a:cubicBezTo>
                <a:close/>
                <a:moveTo>
                  <a:pt x="234861" y="78470"/>
                </a:moveTo>
                <a:lnTo>
                  <a:pt x="236624" y="78890"/>
                </a:lnTo>
                <a:lnTo>
                  <a:pt x="263955" y="98160"/>
                </a:lnTo>
                <a:close/>
                <a:moveTo>
                  <a:pt x="233277" y="78093"/>
                </a:moveTo>
                <a:lnTo>
                  <a:pt x="234749" y="78395"/>
                </a:lnTo>
                <a:lnTo>
                  <a:pt x="234861" y="78470"/>
                </a:lnTo>
                <a:close/>
                <a:moveTo>
                  <a:pt x="264684" y="74721"/>
                </a:moveTo>
                <a:lnTo>
                  <a:pt x="280560" y="85001"/>
                </a:lnTo>
                <a:lnTo>
                  <a:pt x="303006" y="119273"/>
                </a:lnTo>
                <a:lnTo>
                  <a:pt x="279633" y="84823"/>
                </a:lnTo>
                <a:close/>
                <a:moveTo>
                  <a:pt x="202570" y="70780"/>
                </a:moveTo>
                <a:lnTo>
                  <a:pt x="233277" y="78093"/>
                </a:lnTo>
                <a:lnTo>
                  <a:pt x="202570" y="71804"/>
                </a:lnTo>
                <a:close/>
                <a:moveTo>
                  <a:pt x="197522" y="70770"/>
                </a:moveTo>
                <a:lnTo>
                  <a:pt x="202570" y="71804"/>
                </a:lnTo>
                <a:lnTo>
                  <a:pt x="202570" y="161794"/>
                </a:lnTo>
                <a:lnTo>
                  <a:pt x="292704" y="161794"/>
                </a:lnTo>
                <a:lnTo>
                  <a:pt x="293741" y="166842"/>
                </a:lnTo>
                <a:lnTo>
                  <a:pt x="290618" y="182059"/>
                </a:lnTo>
                <a:lnTo>
                  <a:pt x="216731" y="182059"/>
                </a:lnTo>
                <a:lnTo>
                  <a:pt x="199449" y="164816"/>
                </a:lnTo>
                <a:cubicBezTo>
                  <a:pt x="195442" y="160818"/>
                  <a:pt x="189386" y="160818"/>
                  <a:pt x="185290" y="164816"/>
                </a:cubicBezTo>
                <a:lnTo>
                  <a:pt x="185290" y="178985"/>
                </a:lnTo>
                <a:lnTo>
                  <a:pt x="185076" y="178893"/>
                </a:lnTo>
                <a:cubicBezTo>
                  <a:pt x="183295" y="176993"/>
                  <a:pt x="182271" y="174460"/>
                  <a:pt x="182271" y="171927"/>
                </a:cubicBezTo>
                <a:lnTo>
                  <a:pt x="182271" y="73890"/>
                </a:lnTo>
                <a:close/>
                <a:moveTo>
                  <a:pt x="241194" y="59511"/>
                </a:moveTo>
                <a:lnTo>
                  <a:pt x="242600" y="59798"/>
                </a:lnTo>
                <a:lnTo>
                  <a:pt x="264684" y="74721"/>
                </a:lnTo>
                <a:close/>
                <a:moveTo>
                  <a:pt x="223078" y="55812"/>
                </a:moveTo>
                <a:lnTo>
                  <a:pt x="239895" y="58670"/>
                </a:lnTo>
                <a:lnTo>
                  <a:pt x="241194" y="59511"/>
                </a:lnTo>
                <a:close/>
                <a:moveTo>
                  <a:pt x="187739" y="52590"/>
                </a:moveTo>
                <a:lnTo>
                  <a:pt x="185298" y="53626"/>
                </a:lnTo>
                <a:cubicBezTo>
                  <a:pt x="183251" y="55670"/>
                  <a:pt x="182271" y="57625"/>
                  <a:pt x="182271" y="60736"/>
                </a:cubicBezTo>
                <a:lnTo>
                  <a:pt x="182271" y="73890"/>
                </a:lnTo>
                <a:lnTo>
                  <a:pt x="160258" y="78395"/>
                </a:lnTo>
                <a:cubicBezTo>
                  <a:pt x="125786" y="93105"/>
                  <a:pt x="101303" y="127449"/>
                  <a:pt x="101303" y="166842"/>
                </a:cubicBezTo>
                <a:cubicBezTo>
                  <a:pt x="101303" y="219456"/>
                  <a:pt x="144829" y="262915"/>
                  <a:pt x="197522" y="262915"/>
                </a:cubicBezTo>
                <a:cubicBezTo>
                  <a:pt x="210673" y="262915"/>
                  <a:pt x="223263" y="260199"/>
                  <a:pt x="234749" y="255302"/>
                </a:cubicBezTo>
                <a:lnTo>
                  <a:pt x="250836" y="244426"/>
                </a:lnTo>
                <a:lnTo>
                  <a:pt x="260268" y="253836"/>
                </a:lnTo>
                <a:cubicBezTo>
                  <a:pt x="262316" y="255791"/>
                  <a:pt x="264364" y="256857"/>
                  <a:pt x="267391" y="256857"/>
                </a:cubicBezTo>
                <a:lnTo>
                  <a:pt x="268732" y="256281"/>
                </a:lnTo>
                <a:lnTo>
                  <a:pt x="242600" y="273962"/>
                </a:lnTo>
                <a:cubicBezTo>
                  <a:pt x="228698" y="279890"/>
                  <a:pt x="213455" y="283178"/>
                  <a:pt x="197522" y="283178"/>
                </a:cubicBezTo>
                <a:cubicBezTo>
                  <a:pt x="133703" y="283178"/>
                  <a:pt x="81009" y="230565"/>
                  <a:pt x="81009" y="166842"/>
                </a:cubicBezTo>
                <a:cubicBezTo>
                  <a:pt x="81009" y="119050"/>
                  <a:pt x="110649" y="77557"/>
                  <a:pt x="152393" y="59798"/>
                </a:cubicBezTo>
                <a:close/>
                <a:moveTo>
                  <a:pt x="192421" y="50604"/>
                </a:moveTo>
                <a:lnTo>
                  <a:pt x="195181" y="51073"/>
                </a:lnTo>
                <a:lnTo>
                  <a:pt x="187739" y="52590"/>
                </a:lnTo>
                <a:close/>
                <a:moveTo>
                  <a:pt x="197522" y="50595"/>
                </a:moveTo>
                <a:lnTo>
                  <a:pt x="223078" y="55812"/>
                </a:lnTo>
                <a:lnTo>
                  <a:pt x="195181" y="51073"/>
                </a:lnTo>
                <a:close/>
                <a:moveTo>
                  <a:pt x="449651" y="41472"/>
                </a:moveTo>
                <a:cubicBezTo>
                  <a:pt x="450631" y="42539"/>
                  <a:pt x="451612" y="42539"/>
                  <a:pt x="452682" y="43516"/>
                </a:cubicBezTo>
                <a:cubicBezTo>
                  <a:pt x="454732" y="45560"/>
                  <a:pt x="455712" y="47604"/>
                  <a:pt x="455712" y="50626"/>
                </a:cubicBezTo>
                <a:cubicBezTo>
                  <a:pt x="455712" y="53648"/>
                  <a:pt x="454732" y="55692"/>
                  <a:pt x="452682" y="57647"/>
                </a:cubicBezTo>
                <a:cubicBezTo>
                  <a:pt x="450631" y="59691"/>
                  <a:pt x="448581" y="60757"/>
                  <a:pt x="445551" y="60757"/>
                </a:cubicBezTo>
                <a:cubicBezTo>
                  <a:pt x="442520" y="60757"/>
                  <a:pt x="440470" y="59691"/>
                  <a:pt x="438509" y="57647"/>
                </a:cubicBezTo>
                <a:cubicBezTo>
                  <a:pt x="436459" y="55692"/>
                  <a:pt x="435389" y="53648"/>
                  <a:pt x="435389" y="50626"/>
                </a:cubicBezTo>
                <a:cubicBezTo>
                  <a:pt x="435389" y="47604"/>
                  <a:pt x="436459" y="45560"/>
                  <a:pt x="438509" y="43516"/>
                </a:cubicBezTo>
                <a:cubicBezTo>
                  <a:pt x="441540" y="40495"/>
                  <a:pt x="445551" y="39517"/>
                  <a:pt x="449651" y="41472"/>
                </a:cubicBezTo>
                <a:close/>
                <a:moveTo>
                  <a:pt x="486030" y="40505"/>
                </a:moveTo>
                <a:lnTo>
                  <a:pt x="516494" y="40505"/>
                </a:lnTo>
                <a:cubicBezTo>
                  <a:pt x="522551" y="40505"/>
                  <a:pt x="526559" y="44591"/>
                  <a:pt x="526559" y="50631"/>
                </a:cubicBezTo>
                <a:cubicBezTo>
                  <a:pt x="526559" y="56671"/>
                  <a:pt x="522551" y="60757"/>
                  <a:pt x="516494" y="60757"/>
                </a:cubicBezTo>
                <a:lnTo>
                  <a:pt x="486030" y="60757"/>
                </a:lnTo>
                <a:cubicBezTo>
                  <a:pt x="479973" y="60757"/>
                  <a:pt x="475964" y="56671"/>
                  <a:pt x="475964" y="50631"/>
                </a:cubicBezTo>
                <a:cubicBezTo>
                  <a:pt x="475964" y="44591"/>
                  <a:pt x="479973" y="40505"/>
                  <a:pt x="486030" y="40505"/>
                </a:cubicBezTo>
                <a:close/>
                <a:moveTo>
                  <a:pt x="384851" y="40505"/>
                </a:moveTo>
                <a:lnTo>
                  <a:pt x="405059" y="40505"/>
                </a:lnTo>
                <a:cubicBezTo>
                  <a:pt x="411112" y="40505"/>
                  <a:pt x="415207" y="44591"/>
                  <a:pt x="415207" y="50631"/>
                </a:cubicBezTo>
                <a:cubicBezTo>
                  <a:pt x="415207" y="56671"/>
                  <a:pt x="411112" y="60757"/>
                  <a:pt x="405059" y="60757"/>
                </a:cubicBezTo>
                <a:lnTo>
                  <a:pt x="384851" y="60757"/>
                </a:lnTo>
                <a:cubicBezTo>
                  <a:pt x="378708" y="60757"/>
                  <a:pt x="374702" y="56671"/>
                  <a:pt x="374702" y="50631"/>
                </a:cubicBezTo>
                <a:cubicBezTo>
                  <a:pt x="374702" y="44591"/>
                  <a:pt x="378708" y="40505"/>
                  <a:pt x="384851" y="40505"/>
                </a:cubicBezTo>
                <a:close/>
                <a:moveTo>
                  <a:pt x="70855" y="20176"/>
                </a:moveTo>
                <a:cubicBezTo>
                  <a:pt x="64803" y="20176"/>
                  <a:pt x="60798" y="24264"/>
                  <a:pt x="60798" y="30308"/>
                </a:cubicBezTo>
                <a:lnTo>
                  <a:pt x="60798" y="343788"/>
                </a:lnTo>
                <a:lnTo>
                  <a:pt x="222783" y="343788"/>
                </a:lnTo>
                <a:cubicBezTo>
                  <a:pt x="228835" y="343788"/>
                  <a:pt x="232929" y="347876"/>
                  <a:pt x="232929" y="353920"/>
                </a:cubicBezTo>
                <a:lnTo>
                  <a:pt x="232929" y="364052"/>
                </a:lnTo>
                <a:lnTo>
                  <a:pt x="374711" y="364052"/>
                </a:lnTo>
                <a:lnTo>
                  <a:pt x="374711" y="353920"/>
                </a:lnTo>
                <a:cubicBezTo>
                  <a:pt x="374711" y="347876"/>
                  <a:pt x="378716" y="343788"/>
                  <a:pt x="384857" y="343788"/>
                </a:cubicBezTo>
                <a:lnTo>
                  <a:pt x="546843" y="343788"/>
                </a:lnTo>
                <a:lnTo>
                  <a:pt x="546843" y="30308"/>
                </a:lnTo>
                <a:cubicBezTo>
                  <a:pt x="546843" y="24264"/>
                  <a:pt x="542748" y="20176"/>
                  <a:pt x="536696" y="20176"/>
                </a:cubicBezTo>
                <a:close/>
                <a:moveTo>
                  <a:pt x="70855" y="0"/>
                </a:moveTo>
                <a:lnTo>
                  <a:pt x="536696" y="0"/>
                </a:lnTo>
                <a:cubicBezTo>
                  <a:pt x="553963" y="0"/>
                  <a:pt x="567135" y="13154"/>
                  <a:pt x="567135" y="30308"/>
                </a:cubicBezTo>
                <a:lnTo>
                  <a:pt x="567135" y="343794"/>
                </a:lnTo>
                <a:lnTo>
                  <a:pt x="384859" y="343794"/>
                </a:lnTo>
                <a:cubicBezTo>
                  <a:pt x="378718" y="343794"/>
                  <a:pt x="374712" y="347883"/>
                  <a:pt x="374712" y="353928"/>
                </a:cubicBezTo>
                <a:lnTo>
                  <a:pt x="374712" y="364062"/>
                </a:lnTo>
                <a:lnTo>
                  <a:pt x="232927" y="364062"/>
                </a:lnTo>
                <a:lnTo>
                  <a:pt x="232927" y="353928"/>
                </a:lnTo>
                <a:cubicBezTo>
                  <a:pt x="232927" y="347883"/>
                  <a:pt x="228833" y="343794"/>
                  <a:pt x="222780" y="343794"/>
                </a:cubicBezTo>
                <a:lnTo>
                  <a:pt x="40505" y="343794"/>
                </a:lnTo>
                <a:lnTo>
                  <a:pt x="40505" y="30308"/>
                </a:lnTo>
                <a:cubicBezTo>
                  <a:pt x="40505" y="13154"/>
                  <a:pt x="53678" y="0"/>
                  <a:pt x="70855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anchor="ctr"/>
          <a:lstStyle/>
          <a:p>
            <a:pPr algn="ctr"/>
            <a:endParaRPr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9AB0CE81-0144-4E98-A1E8-4B0EC186AB81}"/>
              </a:ext>
            </a:extLst>
          </p:cNvPr>
          <p:cNvCxnSpPr/>
          <p:nvPr/>
        </p:nvCxnSpPr>
        <p:spPr>
          <a:xfrm>
            <a:off x="8184232" y="2441865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4D673E7-7DE9-4387-A34A-3E458F72FA8B}"/>
              </a:ext>
            </a:extLst>
          </p:cNvPr>
          <p:cNvCxnSpPr/>
          <p:nvPr/>
        </p:nvCxnSpPr>
        <p:spPr>
          <a:xfrm>
            <a:off x="8184232" y="3717032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BB9FACF4-B8E5-4078-95D7-0106866854CF}"/>
              </a:ext>
            </a:extLst>
          </p:cNvPr>
          <p:cNvCxnSpPr/>
          <p:nvPr/>
        </p:nvCxnSpPr>
        <p:spPr>
          <a:xfrm>
            <a:off x="8184232" y="5013176"/>
            <a:ext cx="2890182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7120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1284" y="2419538"/>
            <a:ext cx="5013901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accent1"/>
                </a:solidFill>
              </a:rPr>
              <a:t>研究思路与研究方法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00" y="3314888"/>
            <a:ext cx="5013901" cy="1015623"/>
          </a:xfrm>
        </p:spPr>
        <p:txBody>
          <a:bodyPr/>
          <a:lstStyle/>
          <a:p>
            <a:r>
              <a:rPr lang="zh-CN" altLang="en-US"/>
              <a:t>本章节内容介绍文字</a:t>
            </a:r>
            <a:endParaRPr lang="en-US" altLang="zh-CN"/>
          </a:p>
          <a:p>
            <a:r>
              <a:rPr lang="en-US" altLang="zh-CN"/>
              <a:t>PPT</a:t>
            </a:r>
            <a:r>
              <a:rPr lang="zh-CN" altLang="en-US"/>
              <a:t>中的节标题可以帮助观众更有效的阅读和理解报告内容</a:t>
            </a:r>
            <a:endParaRPr lang="en-US" altLang="zh-CN"/>
          </a:p>
          <a:p>
            <a:r>
              <a:rPr lang="zh-CN" altLang="en-US"/>
              <a:t>您可以在幻灯片母版中对本页样式进行修改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500168" y="1918433"/>
            <a:ext cx="1803488" cy="80415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r>
              <a:rPr lang="zh-CN" altLang="en-US" sz="2800" b="1" dirty="0">
                <a:solidFill>
                  <a:schemeClr val="accent2"/>
                </a:solidFill>
              </a:rPr>
              <a:t>第二章</a:t>
            </a:r>
            <a:endParaRPr lang="en-US" altLang="zh-CN" sz="2800" b="1" dirty="0">
              <a:solidFill>
                <a:schemeClr val="accent2"/>
              </a:solidFill>
            </a:endParaRPr>
          </a:p>
          <a:p>
            <a:r>
              <a:rPr lang="en-US" altLang="zh-CN" sz="1100" b="1" dirty="0">
                <a:solidFill>
                  <a:schemeClr val="accent2"/>
                </a:solidFill>
              </a:rPr>
              <a:t>The fist chapter</a:t>
            </a:r>
            <a:endParaRPr lang="zh-CN" altLang="en-US" sz="1100" b="1" dirty="0">
              <a:solidFill>
                <a:schemeClr val="accent2"/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D359F57-F914-445A-B752-CBD4C3D34405}"/>
              </a:ext>
            </a:extLst>
          </p:cNvPr>
          <p:cNvCxnSpPr>
            <a:cxnSpLocks/>
          </p:cNvCxnSpPr>
          <p:nvPr/>
        </p:nvCxnSpPr>
        <p:spPr>
          <a:xfrm>
            <a:off x="6599209" y="2765585"/>
            <a:ext cx="4915976" cy="0"/>
          </a:xfrm>
          <a:prstGeom prst="line">
            <a:avLst/>
          </a:prstGeom>
          <a:ln>
            <a:solidFill>
              <a:schemeClr val="accent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A576D917-B5FE-4697-8A81-22B09D3F4165}"/>
              </a:ext>
            </a:extLst>
          </p:cNvPr>
          <p:cNvSpPr>
            <a:spLocks/>
          </p:cNvSpPr>
          <p:nvPr/>
        </p:nvSpPr>
        <p:spPr>
          <a:xfrm>
            <a:off x="0" y="0"/>
            <a:ext cx="6093767" cy="6858000"/>
          </a:xfrm>
          <a:prstGeom prst="rect">
            <a:avLst/>
          </a:prstGeom>
          <a:blipFill>
            <a:blip r:embed="rId2"/>
            <a:srcRect/>
            <a:stretch>
              <a:fillRect l="-20506" r="-2050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ṧļïḋê">
            <a:extLst>
              <a:ext uri="{FF2B5EF4-FFF2-40B4-BE49-F238E27FC236}">
                <a16:creationId xmlns:a16="http://schemas.microsoft.com/office/drawing/2014/main" id="{742A6018-840A-47FD-80B0-2D92C6808D4E}"/>
              </a:ext>
            </a:extLst>
          </p:cNvPr>
          <p:cNvSpPr>
            <a:spLocks/>
          </p:cNvSpPr>
          <p:nvPr/>
        </p:nvSpPr>
        <p:spPr>
          <a:xfrm>
            <a:off x="1" y="0"/>
            <a:ext cx="6093767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8603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9CD0FD-9937-46B6-876E-1DADA7DFD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B5C3C2-8F66-42DB-8114-359D13F77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7F7314-9E6D-4EC8-AEE0-B26F9EFE1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6" name="ïŝliḓe">
            <a:extLst>
              <a:ext uri="{FF2B5EF4-FFF2-40B4-BE49-F238E27FC236}">
                <a16:creationId xmlns:a16="http://schemas.microsoft.com/office/drawing/2014/main" id="{312DE305-90AF-43DF-979A-F79A80A7B596}"/>
              </a:ext>
            </a:extLst>
          </p:cNvPr>
          <p:cNvSpPr/>
          <p:nvPr/>
        </p:nvSpPr>
        <p:spPr>
          <a:xfrm>
            <a:off x="8001978" y="1646519"/>
            <a:ext cx="3954041" cy="3952422"/>
          </a:xfrm>
          <a:custGeom>
            <a:avLst/>
            <a:gdLst>
              <a:gd name="connsiteX0" fmla="*/ 168274 w 3954041"/>
              <a:gd name="connsiteY0" fmla="*/ 2026841 h 3952422"/>
              <a:gd name="connsiteX1" fmla="*/ 1047917 w 3954041"/>
              <a:gd name="connsiteY1" fmla="*/ 2026841 h 3952422"/>
              <a:gd name="connsiteX2" fmla="*/ 1060725 w 3954041"/>
              <a:gd name="connsiteY2" fmla="*/ 2045207 h 3952422"/>
              <a:gd name="connsiteX3" fmla="*/ 1128500 w 3954041"/>
              <a:gd name="connsiteY3" fmla="*/ 2125188 h 3952422"/>
              <a:gd name="connsiteX4" fmla="*/ 1162090 w 3954041"/>
              <a:gd name="connsiteY4" fmla="*/ 2156940 h 3952422"/>
              <a:gd name="connsiteX5" fmla="*/ 1915952 w 3954041"/>
              <a:gd name="connsiteY5" fmla="*/ 2884240 h 3952422"/>
              <a:gd name="connsiteX6" fmla="*/ 1915952 w 3954041"/>
              <a:gd name="connsiteY6" fmla="*/ 3774521 h 3952422"/>
              <a:gd name="connsiteX7" fmla="*/ 1801423 w 3954041"/>
              <a:gd name="connsiteY7" fmla="*/ 3947305 h 3952422"/>
              <a:gd name="connsiteX8" fmla="*/ 1778321 w 3954041"/>
              <a:gd name="connsiteY8" fmla="*/ 3951969 h 3952422"/>
              <a:gd name="connsiteX9" fmla="*/ 1774789 w 3954041"/>
              <a:gd name="connsiteY9" fmla="*/ 3951791 h 3952422"/>
              <a:gd name="connsiteX10" fmla="*/ 2252 w 3954041"/>
              <a:gd name="connsiteY10" fmla="*/ 2179251 h 3952422"/>
              <a:gd name="connsiteX11" fmla="*/ 0 w 3954041"/>
              <a:gd name="connsiteY11" fmla="*/ 2134680 h 3952422"/>
              <a:gd name="connsiteX12" fmla="*/ 35678 w 3954041"/>
              <a:gd name="connsiteY12" fmla="*/ 2081765 h 3952422"/>
              <a:gd name="connsiteX13" fmla="*/ 168274 w 3954041"/>
              <a:gd name="connsiteY13" fmla="*/ 2026841 h 3952422"/>
              <a:gd name="connsiteX14" fmla="*/ 2908835 w 3954041"/>
              <a:gd name="connsiteY14" fmla="*/ 2026839 h 3952422"/>
              <a:gd name="connsiteX15" fmla="*/ 3776140 w 3954041"/>
              <a:gd name="connsiteY15" fmla="*/ 2026839 h 3952422"/>
              <a:gd name="connsiteX16" fmla="*/ 3948924 w 3954041"/>
              <a:gd name="connsiteY16" fmla="*/ 2141368 h 3952422"/>
              <a:gd name="connsiteX17" fmla="*/ 3954041 w 3954041"/>
              <a:gd name="connsiteY17" fmla="*/ 2166711 h 3952422"/>
              <a:gd name="connsiteX18" fmla="*/ 3953408 w 3954041"/>
              <a:gd name="connsiteY18" fmla="*/ 2179249 h 3952422"/>
              <a:gd name="connsiteX19" fmla="*/ 2180869 w 3954041"/>
              <a:gd name="connsiteY19" fmla="*/ 3951789 h 3952422"/>
              <a:gd name="connsiteX20" fmla="*/ 2168343 w 3954041"/>
              <a:gd name="connsiteY20" fmla="*/ 3952422 h 3952422"/>
              <a:gd name="connsiteX21" fmla="*/ 2142991 w 3954041"/>
              <a:gd name="connsiteY21" fmla="*/ 3947303 h 3952422"/>
              <a:gd name="connsiteX22" fmla="*/ 2028462 w 3954041"/>
              <a:gd name="connsiteY22" fmla="*/ 3774519 h 3952422"/>
              <a:gd name="connsiteX23" fmla="*/ 2028462 w 3954041"/>
              <a:gd name="connsiteY23" fmla="*/ 2893360 h 3952422"/>
              <a:gd name="connsiteX24" fmla="*/ 2031560 w 3954041"/>
              <a:gd name="connsiteY24" fmla="*/ 2892092 h 3952422"/>
              <a:gd name="connsiteX25" fmla="*/ 2792349 w 3954041"/>
              <a:gd name="connsiteY25" fmla="*/ 2159380 h 3952422"/>
              <a:gd name="connsiteX26" fmla="*/ 1778330 w 3954041"/>
              <a:gd name="connsiteY26" fmla="*/ 453 h 3952422"/>
              <a:gd name="connsiteX27" fmla="*/ 1801423 w 3954041"/>
              <a:gd name="connsiteY27" fmla="*/ 5116 h 3952422"/>
              <a:gd name="connsiteX28" fmla="*/ 1915952 w 3954041"/>
              <a:gd name="connsiteY28" fmla="*/ 177899 h 3952422"/>
              <a:gd name="connsiteX29" fmla="*/ 1915952 w 3954041"/>
              <a:gd name="connsiteY29" fmla="*/ 1246760 h 3952422"/>
              <a:gd name="connsiteX30" fmla="*/ 1885017 w 3954041"/>
              <a:gd name="connsiteY30" fmla="*/ 1219082 h 3952422"/>
              <a:gd name="connsiteX31" fmla="*/ 1768402 w 3954041"/>
              <a:gd name="connsiteY31" fmla="*/ 1135425 h 3952422"/>
              <a:gd name="connsiteX32" fmla="*/ 1621852 w 3954041"/>
              <a:gd name="connsiteY32" fmla="*/ 1064605 h 3952422"/>
              <a:gd name="connsiteX33" fmla="*/ 1467377 w 3954041"/>
              <a:gd name="connsiteY33" fmla="*/ 1038347 h 3952422"/>
              <a:gd name="connsiteX34" fmla="*/ 1038745 w 3954041"/>
              <a:gd name="connsiteY34" fmla="*/ 1189771 h 3952422"/>
              <a:gd name="connsiteX35" fmla="*/ 883656 w 3954041"/>
              <a:gd name="connsiteY35" fmla="*/ 1609853 h 3952422"/>
              <a:gd name="connsiteX36" fmla="*/ 912356 w 3954041"/>
              <a:gd name="connsiteY36" fmla="*/ 1778373 h 3952422"/>
              <a:gd name="connsiteX37" fmla="*/ 977442 w 3954041"/>
              <a:gd name="connsiteY37" fmla="*/ 1925578 h 3952422"/>
              <a:gd name="connsiteX38" fmla="*/ 168274 w 3954041"/>
              <a:gd name="connsiteY38" fmla="*/ 1925578 h 3952422"/>
              <a:gd name="connsiteX39" fmla="*/ 35678 w 3954041"/>
              <a:gd name="connsiteY39" fmla="*/ 1870654 h 3952422"/>
              <a:gd name="connsiteX40" fmla="*/ 0 w 3954041"/>
              <a:gd name="connsiteY40" fmla="*/ 1817739 h 3952422"/>
              <a:gd name="connsiteX41" fmla="*/ 2252 w 3954041"/>
              <a:gd name="connsiteY41" fmla="*/ 1773171 h 3952422"/>
              <a:gd name="connsiteX42" fmla="*/ 1774789 w 3954041"/>
              <a:gd name="connsiteY42" fmla="*/ 633 h 3952422"/>
              <a:gd name="connsiteX43" fmla="*/ 2168334 w 3954041"/>
              <a:gd name="connsiteY43" fmla="*/ 0 h 3952422"/>
              <a:gd name="connsiteX44" fmla="*/ 2180869 w 3954041"/>
              <a:gd name="connsiteY44" fmla="*/ 635 h 3952422"/>
              <a:gd name="connsiteX45" fmla="*/ 3953408 w 3954041"/>
              <a:gd name="connsiteY45" fmla="*/ 1773174 h 3952422"/>
              <a:gd name="connsiteX46" fmla="*/ 3954041 w 3954041"/>
              <a:gd name="connsiteY46" fmla="*/ 1785709 h 3952422"/>
              <a:gd name="connsiteX47" fmla="*/ 3948924 w 3954041"/>
              <a:gd name="connsiteY47" fmla="*/ 1811052 h 3952422"/>
              <a:gd name="connsiteX48" fmla="*/ 3776140 w 3954041"/>
              <a:gd name="connsiteY48" fmla="*/ 1925581 h 3952422"/>
              <a:gd name="connsiteX49" fmla="*/ 2974601 w 3954041"/>
              <a:gd name="connsiteY49" fmla="*/ 1925581 h 3952422"/>
              <a:gd name="connsiteX50" fmla="*/ 3002088 w 3954041"/>
              <a:gd name="connsiteY50" fmla="*/ 1882179 h 3952422"/>
              <a:gd name="connsiteX51" fmla="*/ 3071998 w 3954041"/>
              <a:gd name="connsiteY51" fmla="*/ 1609856 h 3952422"/>
              <a:gd name="connsiteX52" fmla="*/ 2916909 w 3954041"/>
              <a:gd name="connsiteY52" fmla="*/ 1189774 h 3952422"/>
              <a:gd name="connsiteX53" fmla="*/ 2488279 w 3954041"/>
              <a:gd name="connsiteY53" fmla="*/ 1038350 h 3952422"/>
              <a:gd name="connsiteX54" fmla="*/ 2333802 w 3954041"/>
              <a:gd name="connsiteY54" fmla="*/ 1064608 h 3952422"/>
              <a:gd name="connsiteX55" fmla="*/ 2187263 w 3954041"/>
              <a:gd name="connsiteY55" fmla="*/ 1135427 h 3952422"/>
              <a:gd name="connsiteX56" fmla="*/ 2070637 w 3954041"/>
              <a:gd name="connsiteY56" fmla="*/ 1219085 h 3952422"/>
              <a:gd name="connsiteX57" fmla="*/ 2028462 w 3954041"/>
              <a:gd name="connsiteY57" fmla="*/ 1256820 h 3952422"/>
              <a:gd name="connsiteX58" fmla="*/ 2028462 w 3954041"/>
              <a:gd name="connsiteY58" fmla="*/ 177901 h 3952422"/>
              <a:gd name="connsiteX59" fmla="*/ 2142991 w 3954041"/>
              <a:gd name="connsiteY59" fmla="*/ 5118 h 3952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954041" h="3952422">
                <a:moveTo>
                  <a:pt x="168274" y="2026841"/>
                </a:moveTo>
                <a:lnTo>
                  <a:pt x="1047917" y="2026841"/>
                </a:lnTo>
                <a:lnTo>
                  <a:pt x="1060725" y="2045207"/>
                </a:lnTo>
                <a:cubicBezTo>
                  <a:pt x="1091664" y="2083871"/>
                  <a:pt x="1114256" y="2110541"/>
                  <a:pt x="1128500" y="2125188"/>
                </a:cubicBezTo>
                <a:cubicBezTo>
                  <a:pt x="1142753" y="2139844"/>
                  <a:pt x="1153944" y="2150430"/>
                  <a:pt x="1162090" y="2156940"/>
                </a:cubicBezTo>
                <a:lnTo>
                  <a:pt x="1915952" y="2884240"/>
                </a:lnTo>
                <a:lnTo>
                  <a:pt x="1915952" y="3774521"/>
                </a:lnTo>
                <a:cubicBezTo>
                  <a:pt x="1915952" y="3852193"/>
                  <a:pt x="1868728" y="3918838"/>
                  <a:pt x="1801423" y="3947305"/>
                </a:cubicBezTo>
                <a:lnTo>
                  <a:pt x="1778321" y="3951969"/>
                </a:lnTo>
                <a:lnTo>
                  <a:pt x="1774789" y="3951791"/>
                </a:lnTo>
                <a:cubicBezTo>
                  <a:pt x="840180" y="3856877"/>
                  <a:pt x="97166" y="3113861"/>
                  <a:pt x="2252" y="2179251"/>
                </a:cubicBezTo>
                <a:lnTo>
                  <a:pt x="0" y="2134680"/>
                </a:lnTo>
                <a:lnTo>
                  <a:pt x="35678" y="2081765"/>
                </a:lnTo>
                <a:cubicBezTo>
                  <a:pt x="69614" y="2047831"/>
                  <a:pt x="116493" y="2026841"/>
                  <a:pt x="168274" y="2026841"/>
                </a:cubicBezTo>
                <a:close/>
                <a:moveTo>
                  <a:pt x="2908835" y="2026839"/>
                </a:moveTo>
                <a:lnTo>
                  <a:pt x="3776140" y="2026839"/>
                </a:lnTo>
                <a:cubicBezTo>
                  <a:pt x="3853812" y="2026839"/>
                  <a:pt x="3920456" y="2074064"/>
                  <a:pt x="3948924" y="2141368"/>
                </a:cubicBezTo>
                <a:lnTo>
                  <a:pt x="3954041" y="2166711"/>
                </a:lnTo>
                <a:lnTo>
                  <a:pt x="3953408" y="2179249"/>
                </a:lnTo>
                <a:cubicBezTo>
                  <a:pt x="3858494" y="3113859"/>
                  <a:pt x="3115478" y="3856875"/>
                  <a:pt x="2180869" y="3951789"/>
                </a:cubicBezTo>
                <a:lnTo>
                  <a:pt x="2168343" y="3952422"/>
                </a:lnTo>
                <a:lnTo>
                  <a:pt x="2142991" y="3947303"/>
                </a:lnTo>
                <a:cubicBezTo>
                  <a:pt x="2075689" y="3918836"/>
                  <a:pt x="2028462" y="3852191"/>
                  <a:pt x="2028462" y="3774519"/>
                </a:cubicBezTo>
                <a:lnTo>
                  <a:pt x="2028462" y="2893360"/>
                </a:lnTo>
                <a:lnTo>
                  <a:pt x="2031560" y="2892092"/>
                </a:lnTo>
                <a:lnTo>
                  <a:pt x="2792349" y="2159380"/>
                </a:lnTo>
                <a:close/>
                <a:moveTo>
                  <a:pt x="1778330" y="453"/>
                </a:moveTo>
                <a:lnTo>
                  <a:pt x="1801423" y="5116"/>
                </a:lnTo>
                <a:cubicBezTo>
                  <a:pt x="1868728" y="33583"/>
                  <a:pt x="1915952" y="100227"/>
                  <a:pt x="1915952" y="177899"/>
                </a:cubicBezTo>
                <a:lnTo>
                  <a:pt x="1915952" y="1246760"/>
                </a:lnTo>
                <a:lnTo>
                  <a:pt x="1885017" y="1219082"/>
                </a:lnTo>
                <a:cubicBezTo>
                  <a:pt x="1852451" y="1193026"/>
                  <a:pt x="1813577" y="1165149"/>
                  <a:pt x="1768402" y="1135425"/>
                </a:cubicBezTo>
                <a:cubicBezTo>
                  <a:pt x="1723220" y="1105711"/>
                  <a:pt x="1674370" y="1082105"/>
                  <a:pt x="1621852" y="1064605"/>
                </a:cubicBezTo>
                <a:cubicBezTo>
                  <a:pt x="1569345" y="1047096"/>
                  <a:pt x="1517854" y="1038347"/>
                  <a:pt x="1467377" y="1038347"/>
                </a:cubicBezTo>
                <a:cubicBezTo>
                  <a:pt x="1285015" y="1038347"/>
                  <a:pt x="1142142" y="1088825"/>
                  <a:pt x="1038745" y="1189771"/>
                </a:cubicBezTo>
                <a:cubicBezTo>
                  <a:pt x="935358" y="1290725"/>
                  <a:pt x="883656" y="1430746"/>
                  <a:pt x="883656" y="1609853"/>
                </a:cubicBezTo>
                <a:cubicBezTo>
                  <a:pt x="883656" y="1664400"/>
                  <a:pt x="893228" y="1720573"/>
                  <a:pt x="912356" y="1778373"/>
                </a:cubicBezTo>
                <a:lnTo>
                  <a:pt x="977442" y="1925578"/>
                </a:lnTo>
                <a:lnTo>
                  <a:pt x="168274" y="1925578"/>
                </a:lnTo>
                <a:cubicBezTo>
                  <a:pt x="116493" y="1925578"/>
                  <a:pt x="69614" y="1904590"/>
                  <a:pt x="35678" y="1870654"/>
                </a:cubicBezTo>
                <a:lnTo>
                  <a:pt x="0" y="1817739"/>
                </a:lnTo>
                <a:lnTo>
                  <a:pt x="2252" y="1773171"/>
                </a:lnTo>
                <a:cubicBezTo>
                  <a:pt x="97166" y="838561"/>
                  <a:pt x="840180" y="95547"/>
                  <a:pt x="1774789" y="633"/>
                </a:cubicBezTo>
                <a:close/>
                <a:moveTo>
                  <a:pt x="2168334" y="0"/>
                </a:moveTo>
                <a:lnTo>
                  <a:pt x="2180869" y="635"/>
                </a:lnTo>
                <a:cubicBezTo>
                  <a:pt x="3115478" y="95550"/>
                  <a:pt x="3858494" y="838563"/>
                  <a:pt x="3953408" y="1773174"/>
                </a:cubicBezTo>
                <a:lnTo>
                  <a:pt x="3954041" y="1785709"/>
                </a:lnTo>
                <a:lnTo>
                  <a:pt x="3948924" y="1811052"/>
                </a:lnTo>
                <a:cubicBezTo>
                  <a:pt x="3920456" y="1878357"/>
                  <a:pt x="3853812" y="1925581"/>
                  <a:pt x="3776140" y="1925581"/>
                </a:cubicBezTo>
                <a:lnTo>
                  <a:pt x="2974601" y="1925581"/>
                </a:lnTo>
                <a:lnTo>
                  <a:pt x="3002088" y="1882179"/>
                </a:lnTo>
                <a:cubicBezTo>
                  <a:pt x="3048697" y="1790591"/>
                  <a:pt x="3071998" y="1699816"/>
                  <a:pt x="3071998" y="1609856"/>
                </a:cubicBezTo>
                <a:cubicBezTo>
                  <a:pt x="3071998" y="1430749"/>
                  <a:pt x="3020306" y="1290728"/>
                  <a:pt x="2916909" y="1189774"/>
                </a:cubicBezTo>
                <a:cubicBezTo>
                  <a:pt x="2813523" y="1088827"/>
                  <a:pt x="2670639" y="1038350"/>
                  <a:pt x="2488279" y="1038350"/>
                </a:cubicBezTo>
                <a:cubicBezTo>
                  <a:pt x="2437802" y="1038350"/>
                  <a:pt x="2386309" y="1047099"/>
                  <a:pt x="2333802" y="1064608"/>
                </a:cubicBezTo>
                <a:cubicBezTo>
                  <a:pt x="2281295" y="1082108"/>
                  <a:pt x="2232445" y="1105714"/>
                  <a:pt x="2187263" y="1135427"/>
                </a:cubicBezTo>
                <a:cubicBezTo>
                  <a:pt x="2142079" y="1165152"/>
                  <a:pt x="2103203" y="1193028"/>
                  <a:pt x="2070637" y="1219085"/>
                </a:cubicBezTo>
                <a:lnTo>
                  <a:pt x="2028462" y="1256820"/>
                </a:lnTo>
                <a:lnTo>
                  <a:pt x="2028462" y="177901"/>
                </a:lnTo>
                <a:cubicBezTo>
                  <a:pt x="2028462" y="100229"/>
                  <a:pt x="2075689" y="33585"/>
                  <a:pt x="2142991" y="5118"/>
                </a:cubicBezTo>
                <a:close/>
              </a:path>
            </a:pathLst>
          </a:custGeom>
          <a:blipFill>
            <a:blip r:embed="rId3"/>
            <a:srcRect/>
            <a:stretch>
              <a:fillRect l="-40372" r="-4037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/>
            <a:endParaRPr dirty="0">
              <a:solidFill>
                <a:schemeClr val="lt1"/>
              </a:solidFill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130B233-1AC1-4156-A183-AB614499AB5B}"/>
              </a:ext>
            </a:extLst>
          </p:cNvPr>
          <p:cNvCxnSpPr>
            <a:cxnSpLocks/>
          </p:cNvCxnSpPr>
          <p:nvPr/>
        </p:nvCxnSpPr>
        <p:spPr>
          <a:xfrm>
            <a:off x="800100" y="2546752"/>
            <a:ext cx="6808067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S1îďe">
            <a:extLst>
              <a:ext uri="{FF2B5EF4-FFF2-40B4-BE49-F238E27FC236}">
                <a16:creationId xmlns:a16="http://schemas.microsoft.com/office/drawing/2014/main" id="{D1506C79-C920-4D24-BA39-B9989552D1F5}"/>
              </a:ext>
            </a:extLst>
          </p:cNvPr>
          <p:cNvSpPr/>
          <p:nvPr/>
        </p:nvSpPr>
        <p:spPr bwMode="auto">
          <a:xfrm>
            <a:off x="800101" y="3219979"/>
            <a:ext cx="2010899" cy="36348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 fontScale="92500" lnSpcReduction="20000"/>
          </a:bodyPr>
          <a:lstStyle/>
          <a:p>
            <a:r>
              <a:rPr lang="en-US" altLang="zh-CN" sz="1400" b="1" dirty="0">
                <a:solidFill>
                  <a:schemeClr val="bg1"/>
                </a:solidFill>
              </a:rPr>
              <a:t>Text here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0" name="îşliḓé">
            <a:extLst>
              <a:ext uri="{FF2B5EF4-FFF2-40B4-BE49-F238E27FC236}">
                <a16:creationId xmlns:a16="http://schemas.microsoft.com/office/drawing/2014/main" id="{1C256177-AEC1-4B6D-83C2-6430E4BFCD98}"/>
              </a:ext>
            </a:extLst>
          </p:cNvPr>
          <p:cNvSpPr/>
          <p:nvPr/>
        </p:nvSpPr>
        <p:spPr>
          <a:xfrm>
            <a:off x="800100" y="3622731"/>
            <a:ext cx="3389923" cy="825443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 fontScale="92500"/>
          </a:bodyPr>
          <a:lstStyle/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/>
              <a:t>You can use the icon library in iSlide  (www.islide.cc) to filter and replace existing icon elements with one click.</a:t>
            </a:r>
            <a:endParaRPr lang="zh-CN" altLang="en-US" sz="1000" dirty="0"/>
          </a:p>
        </p:txBody>
      </p:sp>
      <p:sp>
        <p:nvSpPr>
          <p:cNvPr id="17" name="ïṣḻiḓe">
            <a:extLst>
              <a:ext uri="{FF2B5EF4-FFF2-40B4-BE49-F238E27FC236}">
                <a16:creationId xmlns:a16="http://schemas.microsoft.com/office/drawing/2014/main" id="{DAE76DDB-1CF0-45EB-A3A7-B876E0581CB5}"/>
              </a:ext>
            </a:extLst>
          </p:cNvPr>
          <p:cNvSpPr/>
          <p:nvPr/>
        </p:nvSpPr>
        <p:spPr bwMode="auto">
          <a:xfrm>
            <a:off x="4499547" y="3219979"/>
            <a:ext cx="2010899" cy="363483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 fontScale="92500" lnSpcReduction="20000"/>
          </a:bodyPr>
          <a:lstStyle/>
          <a:p>
            <a:r>
              <a:rPr lang="en-US" altLang="zh-CN" sz="1400" b="1" dirty="0">
                <a:solidFill>
                  <a:schemeClr val="bg1"/>
                </a:solidFill>
              </a:rPr>
              <a:t>Text here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îsḷïḑê">
            <a:extLst>
              <a:ext uri="{FF2B5EF4-FFF2-40B4-BE49-F238E27FC236}">
                <a16:creationId xmlns:a16="http://schemas.microsoft.com/office/drawing/2014/main" id="{2151E958-D7C4-4BD6-A14D-8F6DBD9D52DA}"/>
              </a:ext>
            </a:extLst>
          </p:cNvPr>
          <p:cNvSpPr/>
          <p:nvPr/>
        </p:nvSpPr>
        <p:spPr>
          <a:xfrm>
            <a:off x="4499546" y="3622731"/>
            <a:ext cx="3389923" cy="825434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You can use the icon library in iSlide  (www.islide.cc) to filter and replace existing icon elements with one click.</a:t>
            </a:r>
            <a:endParaRPr lang="zh-CN" altLang="en-US" sz="900" dirty="0"/>
          </a:p>
        </p:txBody>
      </p:sp>
      <p:sp>
        <p:nvSpPr>
          <p:cNvPr id="15" name="îṡḷîdê">
            <a:extLst>
              <a:ext uri="{FF2B5EF4-FFF2-40B4-BE49-F238E27FC236}">
                <a16:creationId xmlns:a16="http://schemas.microsoft.com/office/drawing/2014/main" id="{70D0E4D0-B2E4-4ADE-BD21-AE5B3F2D453F}"/>
              </a:ext>
            </a:extLst>
          </p:cNvPr>
          <p:cNvSpPr/>
          <p:nvPr/>
        </p:nvSpPr>
        <p:spPr bwMode="auto">
          <a:xfrm>
            <a:off x="800101" y="4723323"/>
            <a:ext cx="2010899" cy="363483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 fontScale="92500" lnSpcReduction="20000"/>
          </a:bodyPr>
          <a:lstStyle/>
          <a:p>
            <a:r>
              <a:rPr lang="en-US" altLang="zh-CN" sz="1400" b="1" dirty="0">
                <a:solidFill>
                  <a:schemeClr val="bg1"/>
                </a:solidFill>
              </a:rPr>
              <a:t>Text here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íṣḷiḑe">
            <a:extLst>
              <a:ext uri="{FF2B5EF4-FFF2-40B4-BE49-F238E27FC236}">
                <a16:creationId xmlns:a16="http://schemas.microsoft.com/office/drawing/2014/main" id="{6591980A-CDE8-45DE-BDBB-FF7B92A02FFE}"/>
              </a:ext>
            </a:extLst>
          </p:cNvPr>
          <p:cNvSpPr/>
          <p:nvPr/>
        </p:nvSpPr>
        <p:spPr>
          <a:xfrm>
            <a:off x="800100" y="5126075"/>
            <a:ext cx="3389923" cy="825443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You can use the icon library in iSlide  (www.islide.cc) to filter and replace existing icon elements with one click.</a:t>
            </a:r>
            <a:endParaRPr lang="zh-CN" altLang="en-US" sz="900" dirty="0"/>
          </a:p>
        </p:txBody>
      </p:sp>
      <p:sp>
        <p:nvSpPr>
          <p:cNvPr id="13" name="íšlïďè">
            <a:extLst>
              <a:ext uri="{FF2B5EF4-FFF2-40B4-BE49-F238E27FC236}">
                <a16:creationId xmlns:a16="http://schemas.microsoft.com/office/drawing/2014/main" id="{63CCE70A-0EDC-45BB-B086-0911BE3FF528}"/>
              </a:ext>
            </a:extLst>
          </p:cNvPr>
          <p:cNvSpPr/>
          <p:nvPr/>
        </p:nvSpPr>
        <p:spPr bwMode="auto">
          <a:xfrm>
            <a:off x="4499547" y="4723323"/>
            <a:ext cx="2010899" cy="363483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 fontScale="92500" lnSpcReduction="20000"/>
          </a:bodyPr>
          <a:lstStyle/>
          <a:p>
            <a:r>
              <a:rPr lang="en-US" altLang="zh-CN" sz="1400" b="1" dirty="0">
                <a:solidFill>
                  <a:schemeClr val="bg1"/>
                </a:solidFill>
              </a:rPr>
              <a:t>Text here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iṩḻïdè">
            <a:extLst>
              <a:ext uri="{FF2B5EF4-FFF2-40B4-BE49-F238E27FC236}">
                <a16:creationId xmlns:a16="http://schemas.microsoft.com/office/drawing/2014/main" id="{10D0AFF2-973D-4E53-9449-93C46EC949BE}"/>
              </a:ext>
            </a:extLst>
          </p:cNvPr>
          <p:cNvSpPr/>
          <p:nvPr/>
        </p:nvSpPr>
        <p:spPr>
          <a:xfrm>
            <a:off x="4499546" y="5126075"/>
            <a:ext cx="3389923" cy="825434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228600" indent="-2286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You can use the icon library in iSlide  (www.islide.cc) to filter and replace existing icon elements with one click.</a:t>
            </a:r>
            <a:endParaRPr lang="zh-CN" altLang="en-US" sz="900" dirty="0"/>
          </a:p>
        </p:txBody>
      </p:sp>
      <p:sp>
        <p:nvSpPr>
          <p:cNvPr id="12" name="išḻiḑé">
            <a:extLst>
              <a:ext uri="{FF2B5EF4-FFF2-40B4-BE49-F238E27FC236}">
                <a16:creationId xmlns:a16="http://schemas.microsoft.com/office/drawing/2014/main" id="{5B09C726-D827-4363-9215-105455281201}"/>
              </a:ext>
            </a:extLst>
          </p:cNvPr>
          <p:cNvSpPr txBox="1"/>
          <p:nvPr/>
        </p:nvSpPr>
        <p:spPr>
          <a:xfrm>
            <a:off x="800100" y="1412323"/>
            <a:ext cx="5295900" cy="1134429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 fontScale="92500"/>
          </a:bodyPr>
          <a:lstStyle/>
          <a:p>
            <a:pPr defTabSz="914377">
              <a:lnSpc>
                <a:spcPct val="150000"/>
              </a:lnSpc>
            </a:pPr>
            <a:r>
              <a:rPr lang="en-US" altLang="zh-CN" sz="1100" dirty="0">
                <a:solidFill>
                  <a:srgbClr val="000000"/>
                </a:solidFill>
              </a:rPr>
              <a:t>Unified fonts make reading more fluent.</a:t>
            </a:r>
          </a:p>
          <a:p>
            <a:pPr defTabSz="914377">
              <a:lnSpc>
                <a:spcPct val="150000"/>
              </a:lnSpc>
            </a:pPr>
            <a:r>
              <a:rPr lang="en-US" altLang="zh-CN" sz="1700" b="1" dirty="0">
                <a:solidFill>
                  <a:srgbClr val="000000"/>
                </a:solidFill>
              </a:rPr>
              <a:t>Theme color makes PPT more convenient to change.</a:t>
            </a:r>
          </a:p>
          <a:p>
            <a:pPr defTabSz="914377">
              <a:lnSpc>
                <a:spcPct val="150000"/>
              </a:lnSpc>
            </a:pPr>
            <a:r>
              <a:rPr lang="en-US" altLang="zh-CN" sz="1200" dirty="0">
                <a:solidFill>
                  <a:srgbClr val="000000"/>
                </a:solidFill>
              </a:rPr>
              <a:t>Adjust the spacing to adapt to Chinese typesetting, use the reference line in PPT.</a:t>
            </a:r>
            <a:endParaRPr lang="en-US" sz="1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7161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BB0C06-9108-4B96-A295-258A64F4D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B05CFEB-2107-4162-BCD5-7A8317F94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B595B51-851B-4B0D-B964-592F2C57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30D3AE7A-D514-4C8A-8152-39C861017DA5}"/>
              </a:ext>
            </a:extLst>
          </p:cNvPr>
          <p:cNvCxnSpPr>
            <a:cxnSpLocks/>
            <a:stCxn id="24" idx="4"/>
            <a:endCxn id="20" idx="0"/>
          </p:cNvCxnSpPr>
          <p:nvPr/>
        </p:nvCxnSpPr>
        <p:spPr>
          <a:xfrm>
            <a:off x="781520" y="3827568"/>
            <a:ext cx="0" cy="192143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ïṥḻiḓé">
            <a:extLst>
              <a:ext uri="{FF2B5EF4-FFF2-40B4-BE49-F238E27FC236}">
                <a16:creationId xmlns:a16="http://schemas.microsoft.com/office/drawing/2014/main" id="{6050709D-CAEC-4FFF-9F19-863E6AF702DD}"/>
              </a:ext>
            </a:extLst>
          </p:cNvPr>
          <p:cNvSpPr/>
          <p:nvPr/>
        </p:nvSpPr>
        <p:spPr bwMode="auto">
          <a:xfrm>
            <a:off x="10872117" y="3453657"/>
            <a:ext cx="264541" cy="171090"/>
          </a:xfrm>
          <a:custGeom>
            <a:avLst/>
            <a:gdLst>
              <a:gd name="T0" fmla="*/ 0 w 51"/>
              <a:gd name="T1" fmla="*/ 1 h 33"/>
              <a:gd name="T2" fmla="*/ 17 w 51"/>
              <a:gd name="T3" fmla="*/ 15 h 33"/>
              <a:gd name="T4" fmla="*/ 22 w 51"/>
              <a:gd name="T5" fmla="*/ 15 h 33"/>
              <a:gd name="T6" fmla="*/ 22 w 51"/>
              <a:gd name="T7" fmla="*/ 26 h 33"/>
              <a:gd name="T8" fmla="*/ 16 w 51"/>
              <a:gd name="T9" fmla="*/ 26 h 33"/>
              <a:gd name="T10" fmla="*/ 16 w 51"/>
              <a:gd name="T11" fmla="*/ 33 h 33"/>
              <a:gd name="T12" fmla="*/ 36 w 51"/>
              <a:gd name="T13" fmla="*/ 33 h 33"/>
              <a:gd name="T14" fmla="*/ 36 w 51"/>
              <a:gd name="T15" fmla="*/ 26 h 33"/>
              <a:gd name="T16" fmla="*/ 29 w 51"/>
              <a:gd name="T17" fmla="*/ 26 h 33"/>
              <a:gd name="T18" fmla="*/ 29 w 51"/>
              <a:gd name="T19" fmla="*/ 15 h 33"/>
              <a:gd name="T20" fmla="*/ 35 w 51"/>
              <a:gd name="T21" fmla="*/ 15 h 33"/>
              <a:gd name="T22" fmla="*/ 51 w 51"/>
              <a:gd name="T23" fmla="*/ 1 h 33"/>
              <a:gd name="T24" fmla="*/ 45 w 51"/>
              <a:gd name="T25" fmla="*/ 0 h 33"/>
              <a:gd name="T26" fmla="*/ 35 w 51"/>
              <a:gd name="T27" fmla="*/ 9 h 33"/>
              <a:gd name="T28" fmla="*/ 17 w 51"/>
              <a:gd name="T29" fmla="*/ 9 h 33"/>
              <a:gd name="T30" fmla="*/ 7 w 51"/>
              <a:gd name="T31" fmla="*/ 0 h 33"/>
              <a:gd name="T32" fmla="*/ 0 w 51"/>
              <a:gd name="T33" fmla="*/ 1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" h="33">
                <a:moveTo>
                  <a:pt x="0" y="1"/>
                </a:moveTo>
                <a:cubicBezTo>
                  <a:pt x="2" y="9"/>
                  <a:pt x="9" y="15"/>
                  <a:pt x="17" y="15"/>
                </a:cubicBezTo>
                <a:cubicBezTo>
                  <a:pt x="22" y="15"/>
                  <a:pt x="22" y="15"/>
                  <a:pt x="22" y="15"/>
                </a:cubicBezTo>
                <a:cubicBezTo>
                  <a:pt x="22" y="26"/>
                  <a:pt x="22" y="26"/>
                  <a:pt x="22" y="26"/>
                </a:cubicBezTo>
                <a:cubicBezTo>
                  <a:pt x="16" y="26"/>
                  <a:pt x="16" y="26"/>
                  <a:pt x="16" y="26"/>
                </a:cubicBezTo>
                <a:cubicBezTo>
                  <a:pt x="16" y="33"/>
                  <a:pt x="16" y="33"/>
                  <a:pt x="16" y="33"/>
                </a:cubicBezTo>
                <a:cubicBezTo>
                  <a:pt x="36" y="33"/>
                  <a:pt x="36" y="33"/>
                  <a:pt x="36" y="33"/>
                </a:cubicBezTo>
                <a:cubicBezTo>
                  <a:pt x="36" y="26"/>
                  <a:pt x="36" y="26"/>
                  <a:pt x="36" y="26"/>
                </a:cubicBezTo>
                <a:cubicBezTo>
                  <a:pt x="29" y="26"/>
                  <a:pt x="29" y="26"/>
                  <a:pt x="29" y="26"/>
                </a:cubicBezTo>
                <a:cubicBezTo>
                  <a:pt x="29" y="15"/>
                  <a:pt x="29" y="15"/>
                  <a:pt x="29" y="15"/>
                </a:cubicBezTo>
                <a:cubicBezTo>
                  <a:pt x="35" y="15"/>
                  <a:pt x="35" y="15"/>
                  <a:pt x="35" y="15"/>
                </a:cubicBezTo>
                <a:cubicBezTo>
                  <a:pt x="43" y="15"/>
                  <a:pt x="50" y="8"/>
                  <a:pt x="51" y="1"/>
                </a:cubicBezTo>
                <a:cubicBezTo>
                  <a:pt x="45" y="0"/>
                  <a:pt x="45" y="0"/>
                  <a:pt x="45" y="0"/>
                </a:cubicBezTo>
                <a:cubicBezTo>
                  <a:pt x="44" y="4"/>
                  <a:pt x="39" y="9"/>
                  <a:pt x="35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3" y="9"/>
                  <a:pt x="8" y="5"/>
                  <a:pt x="7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iś1iḑè">
            <a:extLst>
              <a:ext uri="{FF2B5EF4-FFF2-40B4-BE49-F238E27FC236}">
                <a16:creationId xmlns:a16="http://schemas.microsoft.com/office/drawing/2014/main" id="{84F4B130-A0D8-4518-BE71-936E470184CC}"/>
              </a:ext>
            </a:extLst>
          </p:cNvPr>
          <p:cNvSpPr/>
          <p:nvPr/>
        </p:nvSpPr>
        <p:spPr bwMode="auto">
          <a:xfrm>
            <a:off x="10748473" y="3266754"/>
            <a:ext cx="117894" cy="129395"/>
          </a:xfrm>
          <a:custGeom>
            <a:avLst/>
            <a:gdLst>
              <a:gd name="T0" fmla="*/ 19 w 23"/>
              <a:gd name="T1" fmla="*/ 17 h 25"/>
              <a:gd name="T2" fmla="*/ 20 w 23"/>
              <a:gd name="T3" fmla="*/ 16 h 25"/>
              <a:gd name="T4" fmla="*/ 22 w 23"/>
              <a:gd name="T5" fmla="*/ 16 h 25"/>
              <a:gd name="T6" fmla="*/ 23 w 23"/>
              <a:gd name="T7" fmla="*/ 13 h 25"/>
              <a:gd name="T8" fmla="*/ 22 w 23"/>
              <a:gd name="T9" fmla="*/ 7 h 25"/>
              <a:gd name="T10" fmla="*/ 17 w 23"/>
              <a:gd name="T11" fmla="*/ 12 h 25"/>
              <a:gd name="T12" fmla="*/ 15 w 23"/>
              <a:gd name="T13" fmla="*/ 14 h 25"/>
              <a:gd name="T14" fmla="*/ 15 w 23"/>
              <a:gd name="T15" fmla="*/ 12 h 25"/>
              <a:gd name="T16" fmla="*/ 17 w 23"/>
              <a:gd name="T17" fmla="*/ 8 h 25"/>
              <a:gd name="T18" fmla="*/ 15 w 23"/>
              <a:gd name="T19" fmla="*/ 5 h 25"/>
              <a:gd name="T20" fmla="*/ 11 w 23"/>
              <a:gd name="T21" fmla="*/ 0 h 25"/>
              <a:gd name="T22" fmla="*/ 11 w 23"/>
              <a:gd name="T23" fmla="*/ 0 h 25"/>
              <a:gd name="T24" fmla="*/ 11 w 23"/>
              <a:gd name="T25" fmla="*/ 0 h 25"/>
              <a:gd name="T26" fmla="*/ 11 w 23"/>
              <a:gd name="T27" fmla="*/ 0 h 25"/>
              <a:gd name="T28" fmla="*/ 11 w 23"/>
              <a:gd name="T29" fmla="*/ 0 h 25"/>
              <a:gd name="T30" fmla="*/ 7 w 23"/>
              <a:gd name="T31" fmla="*/ 5 h 25"/>
              <a:gd name="T32" fmla="*/ 5 w 23"/>
              <a:gd name="T33" fmla="*/ 8 h 25"/>
              <a:gd name="T34" fmla="*/ 7 w 23"/>
              <a:gd name="T35" fmla="*/ 12 h 25"/>
              <a:gd name="T36" fmla="*/ 7 w 23"/>
              <a:gd name="T37" fmla="*/ 14 h 25"/>
              <a:gd name="T38" fmla="*/ 5 w 23"/>
              <a:gd name="T39" fmla="*/ 12 h 25"/>
              <a:gd name="T40" fmla="*/ 0 w 23"/>
              <a:gd name="T41" fmla="*/ 7 h 25"/>
              <a:gd name="T42" fmla="*/ 0 w 23"/>
              <a:gd name="T43" fmla="*/ 13 h 25"/>
              <a:gd name="T44" fmla="*/ 0 w 23"/>
              <a:gd name="T45" fmla="*/ 16 h 25"/>
              <a:gd name="T46" fmla="*/ 2 w 23"/>
              <a:gd name="T47" fmla="*/ 16 h 25"/>
              <a:gd name="T48" fmla="*/ 4 w 23"/>
              <a:gd name="T49" fmla="*/ 17 h 25"/>
              <a:gd name="T50" fmla="*/ 3 w 23"/>
              <a:gd name="T51" fmla="*/ 18 h 25"/>
              <a:gd name="T52" fmla="*/ 0 w 23"/>
              <a:gd name="T53" fmla="*/ 17 h 25"/>
              <a:gd name="T54" fmla="*/ 5 w 23"/>
              <a:gd name="T55" fmla="*/ 24 h 25"/>
              <a:gd name="T56" fmla="*/ 7 w 23"/>
              <a:gd name="T57" fmla="*/ 24 h 25"/>
              <a:gd name="T58" fmla="*/ 10 w 23"/>
              <a:gd name="T59" fmla="*/ 22 h 25"/>
              <a:gd name="T60" fmla="*/ 11 w 23"/>
              <a:gd name="T61" fmla="*/ 22 h 25"/>
              <a:gd name="T62" fmla="*/ 11 w 23"/>
              <a:gd name="T63" fmla="*/ 21 h 25"/>
              <a:gd name="T64" fmla="*/ 11 w 23"/>
              <a:gd name="T65" fmla="*/ 11 h 25"/>
              <a:gd name="T66" fmla="*/ 12 w 23"/>
              <a:gd name="T67" fmla="*/ 21 h 25"/>
              <a:gd name="T68" fmla="*/ 12 w 23"/>
              <a:gd name="T69" fmla="*/ 22 h 25"/>
              <a:gd name="T70" fmla="*/ 12 w 23"/>
              <a:gd name="T71" fmla="*/ 22 h 25"/>
              <a:gd name="T72" fmla="*/ 15 w 23"/>
              <a:gd name="T73" fmla="*/ 24 h 25"/>
              <a:gd name="T74" fmla="*/ 17 w 23"/>
              <a:gd name="T75" fmla="*/ 24 h 25"/>
              <a:gd name="T76" fmla="*/ 23 w 23"/>
              <a:gd name="T77" fmla="*/ 17 h 25"/>
              <a:gd name="T78" fmla="*/ 19 w 23"/>
              <a:gd name="T79" fmla="*/ 18 h 25"/>
              <a:gd name="T80" fmla="*/ 19 w 23"/>
              <a:gd name="T81" fmla="*/ 1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3" h="25">
                <a:moveTo>
                  <a:pt x="19" y="17"/>
                </a:moveTo>
                <a:cubicBezTo>
                  <a:pt x="19" y="17"/>
                  <a:pt x="20" y="17"/>
                  <a:pt x="20" y="16"/>
                </a:cubicBezTo>
                <a:cubicBezTo>
                  <a:pt x="21" y="16"/>
                  <a:pt x="22" y="16"/>
                  <a:pt x="22" y="16"/>
                </a:cubicBezTo>
                <a:cubicBezTo>
                  <a:pt x="23" y="15"/>
                  <a:pt x="23" y="14"/>
                  <a:pt x="23" y="13"/>
                </a:cubicBezTo>
                <a:cubicBezTo>
                  <a:pt x="22" y="11"/>
                  <a:pt x="22" y="9"/>
                  <a:pt x="22" y="7"/>
                </a:cubicBezTo>
                <a:cubicBezTo>
                  <a:pt x="20" y="9"/>
                  <a:pt x="17" y="9"/>
                  <a:pt x="17" y="12"/>
                </a:cubicBezTo>
                <a:cubicBezTo>
                  <a:pt x="17" y="12"/>
                  <a:pt x="16" y="14"/>
                  <a:pt x="15" y="14"/>
                </a:cubicBezTo>
                <a:cubicBezTo>
                  <a:pt x="14" y="13"/>
                  <a:pt x="15" y="12"/>
                  <a:pt x="15" y="12"/>
                </a:cubicBezTo>
                <a:cubicBezTo>
                  <a:pt x="16" y="11"/>
                  <a:pt x="17" y="10"/>
                  <a:pt x="17" y="8"/>
                </a:cubicBezTo>
                <a:cubicBezTo>
                  <a:pt x="17" y="7"/>
                  <a:pt x="16" y="6"/>
                  <a:pt x="15" y="5"/>
                </a:cubicBezTo>
                <a:cubicBezTo>
                  <a:pt x="14" y="3"/>
                  <a:pt x="12" y="2"/>
                  <a:pt x="11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0" y="2"/>
                  <a:pt x="8" y="3"/>
                  <a:pt x="7" y="5"/>
                </a:cubicBezTo>
                <a:cubicBezTo>
                  <a:pt x="6" y="6"/>
                  <a:pt x="5" y="7"/>
                  <a:pt x="5" y="8"/>
                </a:cubicBezTo>
                <a:cubicBezTo>
                  <a:pt x="5" y="10"/>
                  <a:pt x="6" y="11"/>
                  <a:pt x="7" y="12"/>
                </a:cubicBezTo>
                <a:cubicBezTo>
                  <a:pt x="7" y="12"/>
                  <a:pt x="8" y="13"/>
                  <a:pt x="7" y="14"/>
                </a:cubicBezTo>
                <a:cubicBezTo>
                  <a:pt x="6" y="14"/>
                  <a:pt x="6" y="12"/>
                  <a:pt x="5" y="12"/>
                </a:cubicBezTo>
                <a:cubicBezTo>
                  <a:pt x="5" y="9"/>
                  <a:pt x="2" y="9"/>
                  <a:pt x="0" y="7"/>
                </a:cubicBezTo>
                <a:cubicBezTo>
                  <a:pt x="0" y="9"/>
                  <a:pt x="0" y="11"/>
                  <a:pt x="0" y="13"/>
                </a:cubicBezTo>
                <a:cubicBezTo>
                  <a:pt x="0" y="14"/>
                  <a:pt x="0" y="15"/>
                  <a:pt x="0" y="16"/>
                </a:cubicBezTo>
                <a:cubicBezTo>
                  <a:pt x="1" y="16"/>
                  <a:pt x="1" y="16"/>
                  <a:pt x="2" y="16"/>
                </a:cubicBezTo>
                <a:cubicBezTo>
                  <a:pt x="2" y="17"/>
                  <a:pt x="3" y="17"/>
                  <a:pt x="4" y="17"/>
                </a:cubicBezTo>
                <a:cubicBezTo>
                  <a:pt x="4" y="18"/>
                  <a:pt x="4" y="18"/>
                  <a:pt x="3" y="18"/>
                </a:cubicBezTo>
                <a:cubicBezTo>
                  <a:pt x="2" y="18"/>
                  <a:pt x="1" y="17"/>
                  <a:pt x="0" y="17"/>
                </a:cubicBezTo>
                <a:cubicBezTo>
                  <a:pt x="0" y="20"/>
                  <a:pt x="2" y="23"/>
                  <a:pt x="5" y="24"/>
                </a:cubicBezTo>
                <a:cubicBezTo>
                  <a:pt x="6" y="25"/>
                  <a:pt x="6" y="25"/>
                  <a:pt x="7" y="24"/>
                </a:cubicBezTo>
                <a:cubicBezTo>
                  <a:pt x="8" y="23"/>
                  <a:pt x="9" y="23"/>
                  <a:pt x="10" y="22"/>
                </a:cubicBezTo>
                <a:cubicBezTo>
                  <a:pt x="10" y="22"/>
                  <a:pt x="10" y="23"/>
                  <a:pt x="11" y="22"/>
                </a:cubicBezTo>
                <a:cubicBezTo>
                  <a:pt x="11" y="22"/>
                  <a:pt x="11" y="21"/>
                  <a:pt x="11" y="21"/>
                </a:cubicBezTo>
                <a:cubicBezTo>
                  <a:pt x="11" y="17"/>
                  <a:pt x="11" y="15"/>
                  <a:pt x="11" y="11"/>
                </a:cubicBezTo>
                <a:cubicBezTo>
                  <a:pt x="11" y="15"/>
                  <a:pt x="12" y="17"/>
                  <a:pt x="12" y="21"/>
                </a:cubicBezTo>
                <a:cubicBezTo>
                  <a:pt x="12" y="21"/>
                  <a:pt x="12" y="22"/>
                  <a:pt x="12" y="22"/>
                </a:cubicBezTo>
                <a:cubicBezTo>
                  <a:pt x="12" y="23"/>
                  <a:pt x="12" y="22"/>
                  <a:pt x="12" y="22"/>
                </a:cubicBezTo>
                <a:cubicBezTo>
                  <a:pt x="13" y="23"/>
                  <a:pt x="14" y="23"/>
                  <a:pt x="15" y="24"/>
                </a:cubicBezTo>
                <a:cubicBezTo>
                  <a:pt x="16" y="25"/>
                  <a:pt x="16" y="25"/>
                  <a:pt x="17" y="24"/>
                </a:cubicBezTo>
                <a:cubicBezTo>
                  <a:pt x="20" y="23"/>
                  <a:pt x="22" y="20"/>
                  <a:pt x="23" y="17"/>
                </a:cubicBezTo>
                <a:cubicBezTo>
                  <a:pt x="21" y="17"/>
                  <a:pt x="20" y="18"/>
                  <a:pt x="19" y="18"/>
                </a:cubicBezTo>
                <a:cubicBezTo>
                  <a:pt x="18" y="18"/>
                  <a:pt x="18" y="18"/>
                  <a:pt x="19" y="1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9" name="iṡľïdé">
            <a:extLst>
              <a:ext uri="{FF2B5EF4-FFF2-40B4-BE49-F238E27FC236}">
                <a16:creationId xmlns:a16="http://schemas.microsoft.com/office/drawing/2014/main" id="{F26A158D-B77B-4789-BD59-2EFC090A5159}"/>
              </a:ext>
            </a:extLst>
          </p:cNvPr>
          <p:cNvSpPr/>
          <p:nvPr/>
        </p:nvSpPr>
        <p:spPr bwMode="auto">
          <a:xfrm>
            <a:off x="10872122" y="4152391"/>
            <a:ext cx="352243" cy="353681"/>
          </a:xfrm>
          <a:custGeom>
            <a:avLst/>
            <a:gdLst>
              <a:gd name="T0" fmla="*/ 67 w 68"/>
              <a:gd name="T1" fmla="*/ 26 h 68"/>
              <a:gd name="T2" fmla="*/ 53 w 68"/>
              <a:gd name="T3" fmla="*/ 32 h 68"/>
              <a:gd name="T4" fmla="*/ 48 w 68"/>
              <a:gd name="T5" fmla="*/ 32 h 68"/>
              <a:gd name="T6" fmla="*/ 45 w 68"/>
              <a:gd name="T7" fmla="*/ 25 h 68"/>
              <a:gd name="T8" fmla="*/ 49 w 68"/>
              <a:gd name="T9" fmla="*/ 21 h 68"/>
              <a:gd name="T10" fmla="*/ 63 w 68"/>
              <a:gd name="T11" fmla="*/ 16 h 68"/>
              <a:gd name="T12" fmla="*/ 56 w 68"/>
              <a:gd name="T13" fmla="*/ 8 h 68"/>
              <a:gd name="T14" fmla="*/ 48 w 68"/>
              <a:gd name="T15" fmla="*/ 5 h 68"/>
              <a:gd name="T16" fmla="*/ 46 w 68"/>
              <a:gd name="T17" fmla="*/ 16 h 68"/>
              <a:gd name="T18" fmla="*/ 40 w 68"/>
              <a:gd name="T19" fmla="*/ 25 h 68"/>
              <a:gd name="T20" fmla="*/ 40 w 68"/>
              <a:gd name="T21" fmla="*/ 15 h 68"/>
              <a:gd name="T22" fmla="*/ 36 w 68"/>
              <a:gd name="T23" fmla="*/ 12 h 68"/>
              <a:gd name="T24" fmla="*/ 36 w 68"/>
              <a:gd name="T25" fmla="*/ 7 h 68"/>
              <a:gd name="T26" fmla="*/ 32 w 68"/>
              <a:gd name="T27" fmla="*/ 7 h 68"/>
              <a:gd name="T28" fmla="*/ 32 w 68"/>
              <a:gd name="T29" fmla="*/ 12 h 68"/>
              <a:gd name="T30" fmla="*/ 27 w 68"/>
              <a:gd name="T31" fmla="*/ 15 h 68"/>
              <a:gd name="T32" fmla="*/ 28 w 68"/>
              <a:gd name="T33" fmla="*/ 25 h 68"/>
              <a:gd name="T34" fmla="*/ 21 w 68"/>
              <a:gd name="T35" fmla="*/ 16 h 68"/>
              <a:gd name="T36" fmla="*/ 20 w 68"/>
              <a:gd name="T37" fmla="*/ 5 h 68"/>
              <a:gd name="T38" fmla="*/ 11 w 68"/>
              <a:gd name="T39" fmla="*/ 8 h 68"/>
              <a:gd name="T40" fmla="*/ 5 w 68"/>
              <a:gd name="T41" fmla="*/ 16 h 68"/>
              <a:gd name="T42" fmla="*/ 19 w 68"/>
              <a:gd name="T43" fmla="*/ 21 h 68"/>
              <a:gd name="T44" fmla="*/ 22 w 68"/>
              <a:gd name="T45" fmla="*/ 25 h 68"/>
              <a:gd name="T46" fmla="*/ 20 w 68"/>
              <a:gd name="T47" fmla="*/ 32 h 68"/>
              <a:gd name="T48" fmla="*/ 14 w 68"/>
              <a:gd name="T49" fmla="*/ 32 h 68"/>
              <a:gd name="T50" fmla="*/ 1 w 68"/>
              <a:gd name="T51" fmla="*/ 26 h 68"/>
              <a:gd name="T52" fmla="*/ 0 w 68"/>
              <a:gd name="T53" fmla="*/ 36 h 68"/>
              <a:gd name="T54" fmla="*/ 3 w 68"/>
              <a:gd name="T55" fmla="*/ 44 h 68"/>
              <a:gd name="T56" fmla="*/ 12 w 68"/>
              <a:gd name="T57" fmla="*/ 38 h 68"/>
              <a:gd name="T58" fmla="*/ 23 w 68"/>
              <a:gd name="T59" fmla="*/ 36 h 68"/>
              <a:gd name="T60" fmla="*/ 16 w 68"/>
              <a:gd name="T61" fmla="*/ 42 h 68"/>
              <a:gd name="T62" fmla="*/ 17 w 68"/>
              <a:gd name="T63" fmla="*/ 48 h 68"/>
              <a:gd name="T64" fmla="*/ 13 w 68"/>
              <a:gd name="T65" fmla="*/ 52 h 68"/>
              <a:gd name="T66" fmla="*/ 16 w 68"/>
              <a:gd name="T67" fmla="*/ 54 h 68"/>
              <a:gd name="T68" fmla="*/ 20 w 68"/>
              <a:gd name="T69" fmla="*/ 50 h 68"/>
              <a:gd name="T70" fmla="*/ 25 w 68"/>
              <a:gd name="T71" fmla="*/ 52 h 68"/>
              <a:gd name="T72" fmla="*/ 32 w 68"/>
              <a:gd name="T73" fmla="*/ 44 h 68"/>
              <a:gd name="T74" fmla="*/ 30 w 68"/>
              <a:gd name="T75" fmla="*/ 55 h 68"/>
              <a:gd name="T76" fmla="*/ 23 w 68"/>
              <a:gd name="T77" fmla="*/ 64 h 68"/>
              <a:gd name="T78" fmla="*/ 32 w 68"/>
              <a:gd name="T79" fmla="*/ 68 h 68"/>
              <a:gd name="T80" fmla="*/ 42 w 68"/>
              <a:gd name="T81" fmla="*/ 67 h 68"/>
              <a:gd name="T82" fmla="*/ 36 w 68"/>
              <a:gd name="T83" fmla="*/ 53 h 68"/>
              <a:gd name="T84" fmla="*/ 36 w 68"/>
              <a:gd name="T85" fmla="*/ 48 h 68"/>
              <a:gd name="T86" fmla="*/ 42 w 68"/>
              <a:gd name="T87" fmla="*/ 45 h 68"/>
              <a:gd name="T88" fmla="*/ 46 w 68"/>
              <a:gd name="T89" fmla="*/ 49 h 68"/>
              <a:gd name="T90" fmla="*/ 52 w 68"/>
              <a:gd name="T91" fmla="*/ 63 h 68"/>
              <a:gd name="T92" fmla="*/ 59 w 68"/>
              <a:gd name="T93" fmla="*/ 56 h 68"/>
              <a:gd name="T94" fmla="*/ 63 w 68"/>
              <a:gd name="T95" fmla="*/ 48 h 68"/>
              <a:gd name="T96" fmla="*/ 52 w 68"/>
              <a:gd name="T97" fmla="*/ 46 h 68"/>
              <a:gd name="T98" fmla="*/ 42 w 68"/>
              <a:gd name="T99" fmla="*/ 40 h 68"/>
              <a:gd name="T100" fmla="*/ 53 w 68"/>
              <a:gd name="T101" fmla="*/ 40 h 68"/>
              <a:gd name="T102" fmla="*/ 55 w 68"/>
              <a:gd name="T103" fmla="*/ 36 h 68"/>
              <a:gd name="T104" fmla="*/ 61 w 68"/>
              <a:gd name="T105" fmla="*/ 36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8" h="68">
                <a:moveTo>
                  <a:pt x="68" y="32"/>
                </a:moveTo>
                <a:cubicBezTo>
                  <a:pt x="61" y="32"/>
                  <a:pt x="61" y="32"/>
                  <a:pt x="61" y="32"/>
                </a:cubicBezTo>
                <a:cubicBezTo>
                  <a:pt x="67" y="26"/>
                  <a:pt x="67" y="26"/>
                  <a:pt x="67" y="26"/>
                </a:cubicBezTo>
                <a:cubicBezTo>
                  <a:pt x="64" y="23"/>
                  <a:pt x="64" y="23"/>
                  <a:pt x="64" y="23"/>
                </a:cubicBezTo>
                <a:cubicBezTo>
                  <a:pt x="55" y="32"/>
                  <a:pt x="55" y="32"/>
                  <a:pt x="55" y="32"/>
                </a:cubicBezTo>
                <a:cubicBezTo>
                  <a:pt x="53" y="32"/>
                  <a:pt x="53" y="32"/>
                  <a:pt x="53" y="32"/>
                </a:cubicBezTo>
                <a:cubicBezTo>
                  <a:pt x="55" y="30"/>
                  <a:pt x="55" y="30"/>
                  <a:pt x="55" y="30"/>
                </a:cubicBezTo>
                <a:cubicBezTo>
                  <a:pt x="53" y="27"/>
                  <a:pt x="53" y="27"/>
                  <a:pt x="53" y="27"/>
                </a:cubicBezTo>
                <a:cubicBezTo>
                  <a:pt x="48" y="32"/>
                  <a:pt x="48" y="32"/>
                  <a:pt x="48" y="32"/>
                </a:cubicBezTo>
                <a:cubicBezTo>
                  <a:pt x="44" y="32"/>
                  <a:pt x="44" y="32"/>
                  <a:pt x="44" y="32"/>
                </a:cubicBezTo>
                <a:cubicBezTo>
                  <a:pt x="44" y="30"/>
                  <a:pt x="43" y="29"/>
                  <a:pt x="42" y="28"/>
                </a:cubicBezTo>
                <a:cubicBezTo>
                  <a:pt x="45" y="25"/>
                  <a:pt x="45" y="25"/>
                  <a:pt x="45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2" y="21"/>
                  <a:pt x="52" y="21"/>
                  <a:pt x="52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0"/>
                  <a:pt x="50" y="20"/>
                  <a:pt x="50" y="20"/>
                </a:cubicBezTo>
                <a:cubicBezTo>
                  <a:pt x="63" y="20"/>
                  <a:pt x="63" y="20"/>
                  <a:pt x="63" y="20"/>
                </a:cubicBezTo>
                <a:cubicBezTo>
                  <a:pt x="63" y="16"/>
                  <a:pt x="63" y="16"/>
                  <a:pt x="63" y="16"/>
                </a:cubicBezTo>
                <a:cubicBezTo>
                  <a:pt x="54" y="16"/>
                  <a:pt x="54" y="16"/>
                  <a:pt x="54" y="16"/>
                </a:cubicBezTo>
                <a:cubicBezTo>
                  <a:pt x="59" y="11"/>
                  <a:pt x="59" y="11"/>
                  <a:pt x="59" y="11"/>
                </a:cubicBezTo>
                <a:cubicBezTo>
                  <a:pt x="56" y="8"/>
                  <a:pt x="56" y="8"/>
                  <a:pt x="56" y="8"/>
                </a:cubicBezTo>
                <a:cubicBezTo>
                  <a:pt x="52" y="13"/>
                  <a:pt x="52" y="13"/>
                  <a:pt x="52" y="13"/>
                </a:cubicBezTo>
                <a:cubicBezTo>
                  <a:pt x="52" y="5"/>
                  <a:pt x="52" y="5"/>
                  <a:pt x="52" y="5"/>
                </a:cubicBezTo>
                <a:cubicBezTo>
                  <a:pt x="48" y="5"/>
                  <a:pt x="48" y="5"/>
                  <a:pt x="48" y="5"/>
                </a:cubicBezTo>
                <a:cubicBezTo>
                  <a:pt x="48" y="17"/>
                  <a:pt x="48" y="17"/>
                  <a:pt x="48" y="17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6"/>
                  <a:pt x="46" y="16"/>
                  <a:pt x="46" y="16"/>
                </a:cubicBezTo>
                <a:cubicBezTo>
                  <a:pt x="42" y="16"/>
                  <a:pt x="42" y="16"/>
                  <a:pt x="42" y="16"/>
                </a:cubicBezTo>
                <a:cubicBezTo>
                  <a:pt x="42" y="22"/>
                  <a:pt x="42" y="22"/>
                  <a:pt x="42" y="22"/>
                </a:cubicBezTo>
                <a:cubicBezTo>
                  <a:pt x="40" y="25"/>
                  <a:pt x="40" y="25"/>
                  <a:pt x="40" y="25"/>
                </a:cubicBezTo>
                <a:cubicBezTo>
                  <a:pt x="38" y="24"/>
                  <a:pt x="37" y="24"/>
                  <a:pt x="36" y="23"/>
                </a:cubicBezTo>
                <a:cubicBezTo>
                  <a:pt x="36" y="20"/>
                  <a:pt x="36" y="20"/>
                  <a:pt x="36" y="20"/>
                </a:cubicBezTo>
                <a:cubicBezTo>
                  <a:pt x="40" y="15"/>
                  <a:pt x="40" y="15"/>
                  <a:pt x="40" y="15"/>
                </a:cubicBezTo>
                <a:cubicBezTo>
                  <a:pt x="38" y="12"/>
                  <a:pt x="38" y="12"/>
                  <a:pt x="38" y="12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2"/>
                  <a:pt x="36" y="12"/>
                  <a:pt x="36" y="12"/>
                </a:cubicBezTo>
                <a:cubicBezTo>
                  <a:pt x="44" y="3"/>
                  <a:pt x="44" y="3"/>
                  <a:pt x="44" y="3"/>
                </a:cubicBezTo>
                <a:cubicBezTo>
                  <a:pt x="42" y="1"/>
                  <a:pt x="42" y="1"/>
                  <a:pt x="42" y="1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7"/>
                  <a:pt x="32" y="7"/>
                  <a:pt x="32" y="7"/>
                </a:cubicBezTo>
                <a:cubicBezTo>
                  <a:pt x="26" y="1"/>
                  <a:pt x="26" y="1"/>
                  <a:pt x="26" y="1"/>
                </a:cubicBezTo>
                <a:cubicBezTo>
                  <a:pt x="23" y="3"/>
                  <a:pt x="23" y="3"/>
                  <a:pt x="23" y="3"/>
                </a:cubicBezTo>
                <a:cubicBezTo>
                  <a:pt x="32" y="12"/>
                  <a:pt x="32" y="12"/>
                  <a:pt x="32" y="12"/>
                </a:cubicBezTo>
                <a:cubicBezTo>
                  <a:pt x="32" y="14"/>
                  <a:pt x="32" y="14"/>
                  <a:pt x="32" y="14"/>
                </a:cubicBezTo>
                <a:cubicBezTo>
                  <a:pt x="30" y="12"/>
                  <a:pt x="30" y="12"/>
                  <a:pt x="30" y="12"/>
                </a:cubicBezTo>
                <a:cubicBezTo>
                  <a:pt x="27" y="15"/>
                  <a:pt x="27" y="15"/>
                  <a:pt x="27" y="15"/>
                </a:cubicBezTo>
                <a:cubicBezTo>
                  <a:pt x="32" y="20"/>
                  <a:pt x="32" y="20"/>
                  <a:pt x="32" y="20"/>
                </a:cubicBezTo>
                <a:cubicBezTo>
                  <a:pt x="32" y="23"/>
                  <a:pt x="32" y="23"/>
                  <a:pt x="32" y="23"/>
                </a:cubicBezTo>
                <a:cubicBezTo>
                  <a:pt x="30" y="24"/>
                  <a:pt x="29" y="24"/>
                  <a:pt x="28" y="25"/>
                </a:cubicBezTo>
                <a:cubicBezTo>
                  <a:pt x="25" y="22"/>
                  <a:pt x="25" y="22"/>
                  <a:pt x="25" y="22"/>
                </a:cubicBezTo>
                <a:cubicBezTo>
                  <a:pt x="25" y="16"/>
                  <a:pt x="25" y="16"/>
                  <a:pt x="25" y="16"/>
                </a:cubicBezTo>
                <a:cubicBezTo>
                  <a:pt x="21" y="16"/>
                  <a:pt x="21" y="16"/>
                  <a:pt x="21" y="16"/>
                </a:cubicBezTo>
                <a:cubicBezTo>
                  <a:pt x="21" y="19"/>
                  <a:pt x="21" y="19"/>
                  <a:pt x="21" y="19"/>
                </a:cubicBezTo>
                <a:cubicBezTo>
                  <a:pt x="20" y="17"/>
                  <a:pt x="20" y="17"/>
                  <a:pt x="20" y="17"/>
                </a:cubicBezTo>
                <a:cubicBezTo>
                  <a:pt x="20" y="5"/>
                  <a:pt x="20" y="5"/>
                  <a:pt x="20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13"/>
                  <a:pt x="16" y="13"/>
                  <a:pt x="16" y="13"/>
                </a:cubicBezTo>
                <a:cubicBezTo>
                  <a:pt x="11" y="8"/>
                  <a:pt x="11" y="8"/>
                  <a:pt x="11" y="8"/>
                </a:cubicBezTo>
                <a:cubicBezTo>
                  <a:pt x="8" y="11"/>
                  <a:pt x="8" y="11"/>
                  <a:pt x="8" y="11"/>
                </a:cubicBezTo>
                <a:cubicBezTo>
                  <a:pt x="13" y="16"/>
                  <a:pt x="13" y="16"/>
                  <a:pt x="13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20"/>
                  <a:pt x="5" y="20"/>
                  <a:pt x="5" y="20"/>
                </a:cubicBezTo>
                <a:cubicBezTo>
                  <a:pt x="17" y="20"/>
                  <a:pt x="17" y="20"/>
                  <a:pt x="17" y="20"/>
                </a:cubicBezTo>
                <a:cubicBezTo>
                  <a:pt x="19" y="21"/>
                  <a:pt x="19" y="21"/>
                  <a:pt x="19" y="21"/>
                </a:cubicBezTo>
                <a:cubicBezTo>
                  <a:pt x="16" y="21"/>
                  <a:pt x="16" y="21"/>
                  <a:pt x="16" y="21"/>
                </a:cubicBezTo>
                <a:cubicBezTo>
                  <a:pt x="16" y="25"/>
                  <a:pt x="16" y="25"/>
                  <a:pt x="16" y="25"/>
                </a:cubicBezTo>
                <a:cubicBezTo>
                  <a:pt x="22" y="25"/>
                  <a:pt x="22" y="25"/>
                  <a:pt x="22" y="25"/>
                </a:cubicBezTo>
                <a:cubicBezTo>
                  <a:pt x="25" y="28"/>
                  <a:pt x="25" y="28"/>
                  <a:pt x="25" y="28"/>
                </a:cubicBezTo>
                <a:cubicBezTo>
                  <a:pt x="24" y="29"/>
                  <a:pt x="24" y="30"/>
                  <a:pt x="23" y="32"/>
                </a:cubicBezTo>
                <a:cubicBezTo>
                  <a:pt x="20" y="32"/>
                  <a:pt x="20" y="32"/>
                  <a:pt x="20" y="32"/>
                </a:cubicBezTo>
                <a:cubicBezTo>
                  <a:pt x="15" y="27"/>
                  <a:pt x="15" y="27"/>
                  <a:pt x="15" y="27"/>
                </a:cubicBezTo>
                <a:cubicBezTo>
                  <a:pt x="12" y="30"/>
                  <a:pt x="12" y="30"/>
                  <a:pt x="12" y="30"/>
                </a:cubicBezTo>
                <a:cubicBezTo>
                  <a:pt x="14" y="32"/>
                  <a:pt x="14" y="32"/>
                  <a:pt x="14" y="32"/>
                </a:cubicBezTo>
                <a:cubicBezTo>
                  <a:pt x="12" y="32"/>
                  <a:pt x="12" y="32"/>
                  <a:pt x="12" y="32"/>
                </a:cubicBezTo>
                <a:cubicBezTo>
                  <a:pt x="3" y="23"/>
                  <a:pt x="3" y="23"/>
                  <a:pt x="3" y="23"/>
                </a:cubicBezTo>
                <a:cubicBezTo>
                  <a:pt x="1" y="26"/>
                  <a:pt x="1" y="26"/>
                  <a:pt x="1" y="26"/>
                </a:cubicBezTo>
                <a:cubicBezTo>
                  <a:pt x="7" y="32"/>
                  <a:pt x="7" y="32"/>
                  <a:pt x="7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6"/>
                  <a:pt x="0" y="36"/>
                  <a:pt x="0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1" y="42"/>
                  <a:pt x="1" y="42"/>
                  <a:pt x="1" y="42"/>
                </a:cubicBezTo>
                <a:cubicBezTo>
                  <a:pt x="3" y="44"/>
                  <a:pt x="3" y="44"/>
                  <a:pt x="3" y="44"/>
                </a:cubicBezTo>
                <a:cubicBezTo>
                  <a:pt x="12" y="36"/>
                  <a:pt x="12" y="36"/>
                  <a:pt x="12" y="36"/>
                </a:cubicBezTo>
                <a:cubicBezTo>
                  <a:pt x="14" y="36"/>
                  <a:pt x="14" y="36"/>
                  <a:pt x="14" y="36"/>
                </a:cubicBezTo>
                <a:cubicBezTo>
                  <a:pt x="12" y="38"/>
                  <a:pt x="12" y="38"/>
                  <a:pt x="12" y="38"/>
                </a:cubicBezTo>
                <a:cubicBezTo>
                  <a:pt x="15" y="40"/>
                  <a:pt x="15" y="40"/>
                  <a:pt x="15" y="40"/>
                </a:cubicBezTo>
                <a:cubicBezTo>
                  <a:pt x="20" y="36"/>
                  <a:pt x="20" y="36"/>
                  <a:pt x="20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4" y="37"/>
                  <a:pt x="24" y="38"/>
                  <a:pt x="25" y="40"/>
                </a:cubicBezTo>
                <a:cubicBezTo>
                  <a:pt x="22" y="42"/>
                  <a:pt x="22" y="42"/>
                  <a:pt x="22" y="42"/>
                </a:cubicBezTo>
                <a:cubicBezTo>
                  <a:pt x="16" y="42"/>
                  <a:pt x="16" y="42"/>
                  <a:pt x="16" y="42"/>
                </a:cubicBezTo>
                <a:cubicBezTo>
                  <a:pt x="16" y="46"/>
                  <a:pt x="16" y="46"/>
                  <a:pt x="16" y="46"/>
                </a:cubicBezTo>
                <a:cubicBezTo>
                  <a:pt x="19" y="46"/>
                  <a:pt x="19" y="46"/>
                  <a:pt x="19" y="46"/>
                </a:cubicBezTo>
                <a:cubicBezTo>
                  <a:pt x="17" y="48"/>
                  <a:pt x="17" y="48"/>
                  <a:pt x="17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5" y="52"/>
                  <a:pt x="5" y="52"/>
                  <a:pt x="5" y="52"/>
                </a:cubicBezTo>
                <a:cubicBezTo>
                  <a:pt x="13" y="52"/>
                  <a:pt x="13" y="52"/>
                  <a:pt x="13" y="52"/>
                </a:cubicBezTo>
                <a:cubicBezTo>
                  <a:pt x="8" y="56"/>
                  <a:pt x="8" y="56"/>
                  <a:pt x="8" y="56"/>
                </a:cubicBezTo>
                <a:cubicBezTo>
                  <a:pt x="11" y="59"/>
                  <a:pt x="11" y="59"/>
                  <a:pt x="11" y="59"/>
                </a:cubicBezTo>
                <a:cubicBezTo>
                  <a:pt x="16" y="54"/>
                  <a:pt x="16" y="54"/>
                  <a:pt x="16" y="54"/>
                </a:cubicBezTo>
                <a:cubicBezTo>
                  <a:pt x="16" y="63"/>
                  <a:pt x="16" y="63"/>
                  <a:pt x="16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20" y="50"/>
                  <a:pt x="20" y="50"/>
                  <a:pt x="20" y="50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52"/>
                  <a:pt x="21" y="52"/>
                  <a:pt x="21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45"/>
                  <a:pt x="25" y="45"/>
                  <a:pt x="25" y="45"/>
                </a:cubicBezTo>
                <a:cubicBezTo>
                  <a:pt x="28" y="42"/>
                  <a:pt x="28" y="42"/>
                  <a:pt x="28" y="42"/>
                </a:cubicBezTo>
                <a:cubicBezTo>
                  <a:pt x="29" y="43"/>
                  <a:pt x="30" y="44"/>
                  <a:pt x="32" y="44"/>
                </a:cubicBezTo>
                <a:cubicBezTo>
                  <a:pt x="32" y="48"/>
                  <a:pt x="32" y="48"/>
                  <a:pt x="32" y="48"/>
                </a:cubicBezTo>
                <a:cubicBezTo>
                  <a:pt x="27" y="53"/>
                  <a:pt x="27" y="53"/>
                  <a:pt x="27" y="53"/>
                </a:cubicBezTo>
                <a:cubicBezTo>
                  <a:pt x="30" y="55"/>
                  <a:pt x="30" y="55"/>
                  <a:pt x="30" y="55"/>
                </a:cubicBezTo>
                <a:cubicBezTo>
                  <a:pt x="32" y="53"/>
                  <a:pt x="32" y="53"/>
                  <a:pt x="32" y="53"/>
                </a:cubicBezTo>
                <a:cubicBezTo>
                  <a:pt x="32" y="55"/>
                  <a:pt x="32" y="55"/>
                  <a:pt x="32" y="55"/>
                </a:cubicBezTo>
                <a:cubicBezTo>
                  <a:pt x="23" y="64"/>
                  <a:pt x="23" y="64"/>
                  <a:pt x="23" y="64"/>
                </a:cubicBezTo>
                <a:cubicBezTo>
                  <a:pt x="26" y="67"/>
                  <a:pt x="26" y="67"/>
                  <a:pt x="26" y="67"/>
                </a:cubicBezTo>
                <a:cubicBezTo>
                  <a:pt x="32" y="61"/>
                  <a:pt x="32" y="61"/>
                  <a:pt x="32" y="61"/>
                </a:cubicBezTo>
                <a:cubicBezTo>
                  <a:pt x="32" y="68"/>
                  <a:pt x="32" y="68"/>
                  <a:pt x="32" y="68"/>
                </a:cubicBezTo>
                <a:cubicBezTo>
                  <a:pt x="36" y="68"/>
                  <a:pt x="36" y="68"/>
                  <a:pt x="36" y="68"/>
                </a:cubicBezTo>
                <a:cubicBezTo>
                  <a:pt x="36" y="61"/>
                  <a:pt x="36" y="61"/>
                  <a:pt x="36" y="61"/>
                </a:cubicBezTo>
                <a:cubicBezTo>
                  <a:pt x="42" y="67"/>
                  <a:pt x="42" y="67"/>
                  <a:pt x="42" y="67"/>
                </a:cubicBezTo>
                <a:cubicBezTo>
                  <a:pt x="44" y="64"/>
                  <a:pt x="44" y="64"/>
                  <a:pt x="44" y="64"/>
                </a:cubicBezTo>
                <a:cubicBezTo>
                  <a:pt x="36" y="55"/>
                  <a:pt x="36" y="55"/>
                  <a:pt x="36" y="55"/>
                </a:cubicBezTo>
                <a:cubicBezTo>
                  <a:pt x="36" y="53"/>
                  <a:pt x="36" y="53"/>
                  <a:pt x="36" y="53"/>
                </a:cubicBezTo>
                <a:cubicBezTo>
                  <a:pt x="38" y="55"/>
                  <a:pt x="38" y="55"/>
                  <a:pt x="38" y="55"/>
                </a:cubicBezTo>
                <a:cubicBezTo>
                  <a:pt x="40" y="53"/>
                  <a:pt x="40" y="53"/>
                  <a:pt x="40" y="53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4"/>
                  <a:pt x="36" y="44"/>
                  <a:pt x="36" y="44"/>
                </a:cubicBezTo>
                <a:cubicBezTo>
                  <a:pt x="37" y="44"/>
                  <a:pt x="38" y="43"/>
                  <a:pt x="40" y="42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52"/>
                  <a:pt x="42" y="52"/>
                  <a:pt x="42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63"/>
                  <a:pt x="48" y="63"/>
                  <a:pt x="48" y="63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54"/>
                  <a:pt x="52" y="54"/>
                  <a:pt x="52" y="54"/>
                </a:cubicBezTo>
                <a:cubicBezTo>
                  <a:pt x="56" y="59"/>
                  <a:pt x="56" y="59"/>
                  <a:pt x="56" y="59"/>
                </a:cubicBezTo>
                <a:cubicBezTo>
                  <a:pt x="59" y="56"/>
                  <a:pt x="59" y="56"/>
                  <a:pt x="59" y="56"/>
                </a:cubicBezTo>
                <a:cubicBezTo>
                  <a:pt x="54" y="52"/>
                  <a:pt x="54" y="52"/>
                  <a:pt x="54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3" y="48"/>
                  <a:pt x="63" y="48"/>
                  <a:pt x="63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49" y="46"/>
                  <a:pt x="49" y="46"/>
                  <a:pt x="49" y="46"/>
                </a:cubicBezTo>
                <a:cubicBezTo>
                  <a:pt x="52" y="46"/>
                  <a:pt x="52" y="46"/>
                  <a:pt x="52" y="46"/>
                </a:cubicBezTo>
                <a:cubicBezTo>
                  <a:pt x="52" y="42"/>
                  <a:pt x="52" y="42"/>
                  <a:pt x="52" y="42"/>
                </a:cubicBezTo>
                <a:cubicBezTo>
                  <a:pt x="45" y="42"/>
                  <a:pt x="45" y="42"/>
                  <a:pt x="45" y="42"/>
                </a:cubicBezTo>
                <a:cubicBezTo>
                  <a:pt x="42" y="40"/>
                  <a:pt x="42" y="40"/>
                  <a:pt x="42" y="40"/>
                </a:cubicBezTo>
                <a:cubicBezTo>
                  <a:pt x="43" y="38"/>
                  <a:pt x="44" y="37"/>
                  <a:pt x="44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53" y="40"/>
                  <a:pt x="53" y="40"/>
                  <a:pt x="53" y="40"/>
                </a:cubicBezTo>
                <a:cubicBezTo>
                  <a:pt x="55" y="38"/>
                  <a:pt x="55" y="38"/>
                  <a:pt x="55" y="38"/>
                </a:cubicBezTo>
                <a:cubicBezTo>
                  <a:pt x="53" y="36"/>
                  <a:pt x="53" y="36"/>
                  <a:pt x="53" y="36"/>
                </a:cubicBezTo>
                <a:cubicBezTo>
                  <a:pt x="55" y="36"/>
                  <a:pt x="55" y="36"/>
                  <a:pt x="55" y="36"/>
                </a:cubicBezTo>
                <a:cubicBezTo>
                  <a:pt x="64" y="44"/>
                  <a:pt x="64" y="44"/>
                  <a:pt x="64" y="44"/>
                </a:cubicBezTo>
                <a:cubicBezTo>
                  <a:pt x="67" y="42"/>
                  <a:pt x="67" y="42"/>
                  <a:pt x="67" y="42"/>
                </a:cubicBezTo>
                <a:cubicBezTo>
                  <a:pt x="61" y="36"/>
                  <a:pt x="61" y="36"/>
                  <a:pt x="61" y="36"/>
                </a:cubicBezTo>
                <a:cubicBezTo>
                  <a:pt x="68" y="36"/>
                  <a:pt x="68" y="36"/>
                  <a:pt x="68" y="36"/>
                </a:cubicBezTo>
                <a:lnTo>
                  <a:pt x="68" y="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0" name="îṥḻíḋè">
            <a:extLst>
              <a:ext uri="{FF2B5EF4-FFF2-40B4-BE49-F238E27FC236}">
                <a16:creationId xmlns:a16="http://schemas.microsoft.com/office/drawing/2014/main" id="{BBC89586-A23F-47E0-B1FD-FBFD90BE0117}"/>
              </a:ext>
            </a:extLst>
          </p:cNvPr>
          <p:cNvSpPr/>
          <p:nvPr/>
        </p:nvSpPr>
        <p:spPr bwMode="auto">
          <a:xfrm>
            <a:off x="6561817" y="3541358"/>
            <a:ext cx="404001" cy="471574"/>
          </a:xfrm>
          <a:custGeom>
            <a:avLst/>
            <a:gdLst>
              <a:gd name="T0" fmla="*/ 73 w 78"/>
              <a:gd name="T1" fmla="*/ 84 h 91"/>
              <a:gd name="T2" fmla="*/ 78 w 78"/>
              <a:gd name="T3" fmla="*/ 16 h 91"/>
              <a:gd name="T4" fmla="*/ 66 w 78"/>
              <a:gd name="T5" fmla="*/ 12 h 91"/>
              <a:gd name="T6" fmla="*/ 77 w 78"/>
              <a:gd name="T7" fmla="*/ 1 h 91"/>
              <a:gd name="T8" fmla="*/ 65 w 78"/>
              <a:gd name="T9" fmla="*/ 7 h 91"/>
              <a:gd name="T10" fmla="*/ 71 w 78"/>
              <a:gd name="T11" fmla="*/ 23 h 91"/>
              <a:gd name="T12" fmla="*/ 65 w 78"/>
              <a:gd name="T13" fmla="*/ 63 h 91"/>
              <a:gd name="T14" fmla="*/ 70 w 78"/>
              <a:gd name="T15" fmla="*/ 74 h 91"/>
              <a:gd name="T16" fmla="*/ 65 w 78"/>
              <a:gd name="T17" fmla="*/ 91 h 91"/>
              <a:gd name="T18" fmla="*/ 65 w 78"/>
              <a:gd name="T19" fmla="*/ 7 h 91"/>
              <a:gd name="T20" fmla="*/ 60 w 78"/>
              <a:gd name="T21" fmla="*/ 8 h 91"/>
              <a:gd name="T22" fmla="*/ 50 w 78"/>
              <a:gd name="T23" fmla="*/ 4 h 91"/>
              <a:gd name="T24" fmla="*/ 53 w 78"/>
              <a:gd name="T25" fmla="*/ 12 h 91"/>
              <a:gd name="T26" fmla="*/ 50 w 78"/>
              <a:gd name="T27" fmla="*/ 16 h 91"/>
              <a:gd name="T28" fmla="*/ 65 w 78"/>
              <a:gd name="T29" fmla="*/ 23 h 91"/>
              <a:gd name="T30" fmla="*/ 50 w 78"/>
              <a:gd name="T31" fmla="*/ 84 h 91"/>
              <a:gd name="T32" fmla="*/ 63 w 78"/>
              <a:gd name="T33" fmla="*/ 91 h 91"/>
              <a:gd name="T34" fmla="*/ 65 w 78"/>
              <a:gd name="T35" fmla="*/ 78 h 91"/>
              <a:gd name="T36" fmla="*/ 61 w 78"/>
              <a:gd name="T37" fmla="*/ 74 h 91"/>
              <a:gd name="T38" fmla="*/ 65 w 78"/>
              <a:gd name="T39" fmla="*/ 69 h 91"/>
              <a:gd name="T40" fmla="*/ 65 w 78"/>
              <a:gd name="T41" fmla="*/ 63 h 91"/>
              <a:gd name="T42" fmla="*/ 50 w 78"/>
              <a:gd name="T43" fmla="*/ 69 h 91"/>
              <a:gd name="T44" fmla="*/ 55 w 78"/>
              <a:gd name="T45" fmla="*/ 74 h 91"/>
              <a:gd name="T46" fmla="*/ 50 w 78"/>
              <a:gd name="T47" fmla="*/ 78 h 91"/>
              <a:gd name="T48" fmla="*/ 50 w 78"/>
              <a:gd name="T49" fmla="*/ 84 h 91"/>
              <a:gd name="T50" fmla="*/ 46 w 78"/>
              <a:gd name="T51" fmla="*/ 0 h 91"/>
              <a:gd name="T52" fmla="*/ 43 w 78"/>
              <a:gd name="T53" fmla="*/ 4 h 91"/>
              <a:gd name="T54" fmla="*/ 50 w 78"/>
              <a:gd name="T55" fmla="*/ 4 h 91"/>
              <a:gd name="T56" fmla="*/ 39 w 78"/>
              <a:gd name="T57" fmla="*/ 16 h 91"/>
              <a:gd name="T58" fmla="*/ 50 w 78"/>
              <a:gd name="T59" fmla="*/ 23 h 91"/>
              <a:gd name="T60" fmla="*/ 39 w 78"/>
              <a:gd name="T61" fmla="*/ 84 h 91"/>
              <a:gd name="T62" fmla="*/ 50 w 78"/>
              <a:gd name="T63" fmla="*/ 78 h 91"/>
              <a:gd name="T64" fmla="*/ 50 w 78"/>
              <a:gd name="T65" fmla="*/ 69 h 91"/>
              <a:gd name="T66" fmla="*/ 39 w 78"/>
              <a:gd name="T67" fmla="*/ 63 h 91"/>
              <a:gd name="T68" fmla="*/ 39 w 78"/>
              <a:gd name="T69" fmla="*/ 16 h 91"/>
              <a:gd name="T70" fmla="*/ 0 w 78"/>
              <a:gd name="T71" fmla="*/ 84 h 91"/>
              <a:gd name="T72" fmla="*/ 6 w 78"/>
              <a:gd name="T73" fmla="*/ 91 h 91"/>
              <a:gd name="T74" fmla="*/ 16 w 78"/>
              <a:gd name="T75" fmla="*/ 84 h 91"/>
              <a:gd name="T76" fmla="*/ 39 w 78"/>
              <a:gd name="T77" fmla="*/ 63 h 91"/>
              <a:gd name="T78" fmla="*/ 7 w 78"/>
              <a:gd name="T79" fmla="*/ 23 h 91"/>
              <a:gd name="T80" fmla="*/ 39 w 78"/>
              <a:gd name="T81" fmla="*/ 23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8" h="91">
                <a:moveTo>
                  <a:pt x="73" y="91"/>
                </a:moveTo>
                <a:cubicBezTo>
                  <a:pt x="73" y="84"/>
                  <a:pt x="73" y="84"/>
                  <a:pt x="73" y="84"/>
                </a:cubicBezTo>
                <a:cubicBezTo>
                  <a:pt x="78" y="84"/>
                  <a:pt x="78" y="84"/>
                  <a:pt x="78" y="84"/>
                </a:cubicBezTo>
                <a:cubicBezTo>
                  <a:pt x="78" y="16"/>
                  <a:pt x="78" y="16"/>
                  <a:pt x="78" y="16"/>
                </a:cubicBezTo>
                <a:cubicBezTo>
                  <a:pt x="67" y="16"/>
                  <a:pt x="67" y="16"/>
                  <a:pt x="67" y="16"/>
                </a:cubicBezTo>
                <a:cubicBezTo>
                  <a:pt x="67" y="15"/>
                  <a:pt x="67" y="13"/>
                  <a:pt x="66" y="12"/>
                </a:cubicBezTo>
                <a:cubicBezTo>
                  <a:pt x="77" y="4"/>
                  <a:pt x="77" y="4"/>
                  <a:pt x="77" y="4"/>
                </a:cubicBezTo>
                <a:cubicBezTo>
                  <a:pt x="78" y="3"/>
                  <a:pt x="78" y="2"/>
                  <a:pt x="77" y="1"/>
                </a:cubicBezTo>
                <a:cubicBezTo>
                  <a:pt x="76" y="0"/>
                  <a:pt x="75" y="0"/>
                  <a:pt x="74" y="0"/>
                </a:cubicBezTo>
                <a:cubicBezTo>
                  <a:pt x="65" y="7"/>
                  <a:pt x="65" y="7"/>
                  <a:pt x="65" y="7"/>
                </a:cubicBezTo>
                <a:cubicBezTo>
                  <a:pt x="65" y="23"/>
                  <a:pt x="65" y="23"/>
                  <a:pt x="65" y="23"/>
                </a:cubicBezTo>
                <a:cubicBezTo>
                  <a:pt x="71" y="23"/>
                  <a:pt x="71" y="23"/>
                  <a:pt x="71" y="23"/>
                </a:cubicBezTo>
                <a:cubicBezTo>
                  <a:pt x="71" y="63"/>
                  <a:pt x="71" y="63"/>
                  <a:pt x="71" y="63"/>
                </a:cubicBezTo>
                <a:cubicBezTo>
                  <a:pt x="65" y="63"/>
                  <a:pt x="65" y="63"/>
                  <a:pt x="65" y="63"/>
                </a:cubicBezTo>
                <a:cubicBezTo>
                  <a:pt x="65" y="69"/>
                  <a:pt x="65" y="69"/>
                  <a:pt x="65" y="69"/>
                </a:cubicBezTo>
                <a:cubicBezTo>
                  <a:pt x="68" y="69"/>
                  <a:pt x="70" y="71"/>
                  <a:pt x="70" y="74"/>
                </a:cubicBezTo>
                <a:cubicBezTo>
                  <a:pt x="70" y="76"/>
                  <a:pt x="68" y="78"/>
                  <a:pt x="65" y="78"/>
                </a:cubicBezTo>
                <a:cubicBezTo>
                  <a:pt x="65" y="91"/>
                  <a:pt x="65" y="91"/>
                  <a:pt x="65" y="91"/>
                </a:cubicBezTo>
                <a:lnTo>
                  <a:pt x="73" y="91"/>
                </a:lnTo>
                <a:close/>
                <a:moveTo>
                  <a:pt x="65" y="7"/>
                </a:moveTo>
                <a:cubicBezTo>
                  <a:pt x="63" y="9"/>
                  <a:pt x="63" y="9"/>
                  <a:pt x="63" y="9"/>
                </a:cubicBezTo>
                <a:cubicBezTo>
                  <a:pt x="62" y="9"/>
                  <a:pt x="61" y="8"/>
                  <a:pt x="60" y="8"/>
                </a:cubicBezTo>
                <a:cubicBezTo>
                  <a:pt x="59" y="8"/>
                  <a:pt x="58" y="9"/>
                  <a:pt x="57" y="9"/>
                </a:cubicBezTo>
                <a:cubicBezTo>
                  <a:pt x="50" y="4"/>
                  <a:pt x="50" y="4"/>
                  <a:pt x="50" y="4"/>
                </a:cubicBezTo>
                <a:cubicBezTo>
                  <a:pt x="50" y="10"/>
                  <a:pt x="50" y="10"/>
                  <a:pt x="50" y="10"/>
                </a:cubicBezTo>
                <a:cubicBezTo>
                  <a:pt x="53" y="12"/>
                  <a:pt x="53" y="12"/>
                  <a:pt x="53" y="12"/>
                </a:cubicBezTo>
                <a:cubicBezTo>
                  <a:pt x="52" y="13"/>
                  <a:pt x="52" y="15"/>
                  <a:pt x="52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0" y="23"/>
                  <a:pt x="50" y="23"/>
                  <a:pt x="50" y="23"/>
                </a:cubicBezTo>
                <a:cubicBezTo>
                  <a:pt x="65" y="23"/>
                  <a:pt x="65" y="23"/>
                  <a:pt x="65" y="23"/>
                </a:cubicBezTo>
                <a:cubicBezTo>
                  <a:pt x="65" y="7"/>
                  <a:pt x="65" y="7"/>
                  <a:pt x="65" y="7"/>
                </a:cubicBezTo>
                <a:close/>
                <a:moveTo>
                  <a:pt x="50" y="84"/>
                </a:moveTo>
                <a:cubicBezTo>
                  <a:pt x="63" y="84"/>
                  <a:pt x="63" y="84"/>
                  <a:pt x="63" y="84"/>
                </a:cubicBezTo>
                <a:cubicBezTo>
                  <a:pt x="63" y="91"/>
                  <a:pt x="63" y="91"/>
                  <a:pt x="63" y="91"/>
                </a:cubicBezTo>
                <a:cubicBezTo>
                  <a:pt x="65" y="91"/>
                  <a:pt x="65" y="91"/>
                  <a:pt x="65" y="91"/>
                </a:cubicBezTo>
                <a:cubicBezTo>
                  <a:pt x="65" y="78"/>
                  <a:pt x="65" y="78"/>
                  <a:pt x="65" y="78"/>
                </a:cubicBezTo>
                <a:cubicBezTo>
                  <a:pt x="65" y="78"/>
                  <a:pt x="65" y="78"/>
                  <a:pt x="65" y="78"/>
                </a:cubicBezTo>
                <a:cubicBezTo>
                  <a:pt x="63" y="78"/>
                  <a:pt x="61" y="76"/>
                  <a:pt x="61" y="74"/>
                </a:cubicBezTo>
                <a:cubicBezTo>
                  <a:pt x="61" y="74"/>
                  <a:pt x="61" y="74"/>
                  <a:pt x="61" y="74"/>
                </a:cubicBezTo>
                <a:cubicBezTo>
                  <a:pt x="61" y="71"/>
                  <a:pt x="63" y="69"/>
                  <a:pt x="65" y="69"/>
                </a:cubicBezTo>
                <a:cubicBezTo>
                  <a:pt x="65" y="69"/>
                  <a:pt x="65" y="69"/>
                  <a:pt x="65" y="69"/>
                </a:cubicBezTo>
                <a:cubicBezTo>
                  <a:pt x="65" y="63"/>
                  <a:pt x="65" y="63"/>
                  <a:pt x="65" y="63"/>
                </a:cubicBezTo>
                <a:cubicBezTo>
                  <a:pt x="50" y="63"/>
                  <a:pt x="50" y="63"/>
                  <a:pt x="50" y="63"/>
                </a:cubicBezTo>
                <a:cubicBezTo>
                  <a:pt x="50" y="69"/>
                  <a:pt x="50" y="69"/>
                  <a:pt x="50" y="69"/>
                </a:cubicBezTo>
                <a:cubicBezTo>
                  <a:pt x="50" y="69"/>
                  <a:pt x="50" y="69"/>
                  <a:pt x="50" y="69"/>
                </a:cubicBezTo>
                <a:cubicBezTo>
                  <a:pt x="53" y="69"/>
                  <a:pt x="55" y="71"/>
                  <a:pt x="55" y="74"/>
                </a:cubicBezTo>
                <a:cubicBezTo>
                  <a:pt x="55" y="76"/>
                  <a:pt x="53" y="78"/>
                  <a:pt x="50" y="78"/>
                </a:cubicBezTo>
                <a:cubicBezTo>
                  <a:pt x="50" y="78"/>
                  <a:pt x="50" y="78"/>
                  <a:pt x="50" y="78"/>
                </a:cubicBezTo>
                <a:cubicBezTo>
                  <a:pt x="50" y="78"/>
                  <a:pt x="50" y="78"/>
                  <a:pt x="50" y="78"/>
                </a:cubicBezTo>
                <a:lnTo>
                  <a:pt x="50" y="84"/>
                </a:lnTo>
                <a:close/>
                <a:moveTo>
                  <a:pt x="50" y="4"/>
                </a:moveTo>
                <a:cubicBezTo>
                  <a:pt x="46" y="0"/>
                  <a:pt x="46" y="0"/>
                  <a:pt x="46" y="0"/>
                </a:cubicBezTo>
                <a:cubicBezTo>
                  <a:pt x="45" y="0"/>
                  <a:pt x="43" y="0"/>
                  <a:pt x="42" y="1"/>
                </a:cubicBezTo>
                <a:cubicBezTo>
                  <a:pt x="42" y="2"/>
                  <a:pt x="42" y="3"/>
                  <a:pt x="43" y="4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4"/>
                  <a:pt x="50" y="4"/>
                  <a:pt x="50" y="4"/>
                </a:cubicBezTo>
                <a:close/>
                <a:moveTo>
                  <a:pt x="50" y="16"/>
                </a:moveTo>
                <a:cubicBezTo>
                  <a:pt x="39" y="16"/>
                  <a:pt x="39" y="16"/>
                  <a:pt x="39" y="16"/>
                </a:cubicBezTo>
                <a:cubicBezTo>
                  <a:pt x="39" y="23"/>
                  <a:pt x="39" y="23"/>
                  <a:pt x="39" y="23"/>
                </a:cubicBezTo>
                <a:cubicBezTo>
                  <a:pt x="50" y="23"/>
                  <a:pt x="50" y="23"/>
                  <a:pt x="50" y="23"/>
                </a:cubicBezTo>
                <a:cubicBezTo>
                  <a:pt x="50" y="16"/>
                  <a:pt x="50" y="16"/>
                  <a:pt x="50" y="16"/>
                </a:cubicBezTo>
                <a:close/>
                <a:moveTo>
                  <a:pt x="39" y="84"/>
                </a:moveTo>
                <a:cubicBezTo>
                  <a:pt x="50" y="84"/>
                  <a:pt x="50" y="84"/>
                  <a:pt x="50" y="84"/>
                </a:cubicBezTo>
                <a:cubicBezTo>
                  <a:pt x="50" y="78"/>
                  <a:pt x="50" y="78"/>
                  <a:pt x="50" y="78"/>
                </a:cubicBezTo>
                <a:cubicBezTo>
                  <a:pt x="48" y="78"/>
                  <a:pt x="46" y="76"/>
                  <a:pt x="46" y="74"/>
                </a:cubicBezTo>
                <a:cubicBezTo>
                  <a:pt x="46" y="71"/>
                  <a:pt x="48" y="69"/>
                  <a:pt x="50" y="69"/>
                </a:cubicBezTo>
                <a:cubicBezTo>
                  <a:pt x="50" y="63"/>
                  <a:pt x="50" y="63"/>
                  <a:pt x="50" y="63"/>
                </a:cubicBezTo>
                <a:cubicBezTo>
                  <a:pt x="39" y="63"/>
                  <a:pt x="39" y="63"/>
                  <a:pt x="39" y="63"/>
                </a:cubicBezTo>
                <a:lnTo>
                  <a:pt x="39" y="84"/>
                </a:lnTo>
                <a:close/>
                <a:moveTo>
                  <a:pt x="39" y="16"/>
                </a:moveTo>
                <a:cubicBezTo>
                  <a:pt x="0" y="16"/>
                  <a:pt x="0" y="16"/>
                  <a:pt x="0" y="16"/>
                </a:cubicBezTo>
                <a:cubicBezTo>
                  <a:pt x="0" y="84"/>
                  <a:pt x="0" y="84"/>
                  <a:pt x="0" y="84"/>
                </a:cubicBezTo>
                <a:cubicBezTo>
                  <a:pt x="6" y="84"/>
                  <a:pt x="6" y="84"/>
                  <a:pt x="6" y="84"/>
                </a:cubicBezTo>
                <a:cubicBezTo>
                  <a:pt x="6" y="91"/>
                  <a:pt x="6" y="91"/>
                  <a:pt x="6" y="91"/>
                </a:cubicBezTo>
                <a:cubicBezTo>
                  <a:pt x="16" y="91"/>
                  <a:pt x="16" y="91"/>
                  <a:pt x="16" y="91"/>
                </a:cubicBezTo>
                <a:cubicBezTo>
                  <a:pt x="16" y="84"/>
                  <a:pt x="16" y="84"/>
                  <a:pt x="16" y="84"/>
                </a:cubicBezTo>
                <a:cubicBezTo>
                  <a:pt x="39" y="84"/>
                  <a:pt x="39" y="84"/>
                  <a:pt x="39" y="84"/>
                </a:cubicBezTo>
                <a:cubicBezTo>
                  <a:pt x="39" y="63"/>
                  <a:pt x="39" y="63"/>
                  <a:pt x="39" y="63"/>
                </a:cubicBezTo>
                <a:cubicBezTo>
                  <a:pt x="7" y="63"/>
                  <a:pt x="7" y="63"/>
                  <a:pt x="7" y="63"/>
                </a:cubicBezTo>
                <a:cubicBezTo>
                  <a:pt x="7" y="23"/>
                  <a:pt x="7" y="23"/>
                  <a:pt x="7" y="23"/>
                </a:cubicBezTo>
                <a:cubicBezTo>
                  <a:pt x="7" y="23"/>
                  <a:pt x="7" y="23"/>
                  <a:pt x="7" y="23"/>
                </a:cubicBezTo>
                <a:cubicBezTo>
                  <a:pt x="39" y="23"/>
                  <a:pt x="39" y="23"/>
                  <a:pt x="39" y="23"/>
                </a:cubicBezTo>
                <a:lnTo>
                  <a:pt x="39" y="1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1" name="ïś1ídè">
            <a:extLst>
              <a:ext uri="{FF2B5EF4-FFF2-40B4-BE49-F238E27FC236}">
                <a16:creationId xmlns:a16="http://schemas.microsoft.com/office/drawing/2014/main" id="{5D6CC7C8-1441-4634-9FBD-43E1C9A95D0A}"/>
              </a:ext>
            </a:extLst>
          </p:cNvPr>
          <p:cNvSpPr/>
          <p:nvPr/>
        </p:nvSpPr>
        <p:spPr bwMode="auto">
          <a:xfrm>
            <a:off x="10701033" y="2987833"/>
            <a:ext cx="244414" cy="143772"/>
          </a:xfrm>
          <a:custGeom>
            <a:avLst/>
            <a:gdLst>
              <a:gd name="T0" fmla="*/ 170 w 170"/>
              <a:gd name="T1" fmla="*/ 0 h 100"/>
              <a:gd name="T2" fmla="*/ 11 w 170"/>
              <a:gd name="T3" fmla="*/ 0 h 100"/>
              <a:gd name="T4" fmla="*/ 11 w 170"/>
              <a:gd name="T5" fmla="*/ 28 h 100"/>
              <a:gd name="T6" fmla="*/ 0 w 170"/>
              <a:gd name="T7" fmla="*/ 28 h 100"/>
              <a:gd name="T8" fmla="*/ 0 w 170"/>
              <a:gd name="T9" fmla="*/ 72 h 100"/>
              <a:gd name="T10" fmla="*/ 11 w 170"/>
              <a:gd name="T11" fmla="*/ 72 h 100"/>
              <a:gd name="T12" fmla="*/ 11 w 170"/>
              <a:gd name="T13" fmla="*/ 100 h 100"/>
              <a:gd name="T14" fmla="*/ 170 w 170"/>
              <a:gd name="T15" fmla="*/ 100 h 100"/>
              <a:gd name="T16" fmla="*/ 170 w 170"/>
              <a:gd name="T17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0" h="100">
                <a:moveTo>
                  <a:pt x="170" y="0"/>
                </a:moveTo>
                <a:lnTo>
                  <a:pt x="11" y="0"/>
                </a:lnTo>
                <a:lnTo>
                  <a:pt x="11" y="28"/>
                </a:lnTo>
                <a:lnTo>
                  <a:pt x="0" y="28"/>
                </a:lnTo>
                <a:lnTo>
                  <a:pt x="0" y="72"/>
                </a:lnTo>
                <a:lnTo>
                  <a:pt x="11" y="72"/>
                </a:lnTo>
                <a:lnTo>
                  <a:pt x="11" y="100"/>
                </a:lnTo>
                <a:lnTo>
                  <a:pt x="170" y="100"/>
                </a:lnTo>
                <a:lnTo>
                  <a:pt x="17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2" name="ïṣḻiďé">
            <a:extLst>
              <a:ext uri="{FF2B5EF4-FFF2-40B4-BE49-F238E27FC236}">
                <a16:creationId xmlns:a16="http://schemas.microsoft.com/office/drawing/2014/main" id="{F3F37458-292A-424C-A59E-70323AB1A79F}"/>
              </a:ext>
            </a:extLst>
          </p:cNvPr>
          <p:cNvSpPr/>
          <p:nvPr/>
        </p:nvSpPr>
        <p:spPr bwMode="auto">
          <a:xfrm>
            <a:off x="10551509" y="3013712"/>
            <a:ext cx="77637" cy="7763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3" name="íṧḻïďé">
            <a:extLst>
              <a:ext uri="{FF2B5EF4-FFF2-40B4-BE49-F238E27FC236}">
                <a16:creationId xmlns:a16="http://schemas.microsoft.com/office/drawing/2014/main" id="{3664F8C3-1041-480A-B2C3-63F3903A6683}"/>
              </a:ext>
            </a:extLst>
          </p:cNvPr>
          <p:cNvSpPr/>
          <p:nvPr/>
        </p:nvSpPr>
        <p:spPr bwMode="auto">
          <a:xfrm>
            <a:off x="10483936" y="2956203"/>
            <a:ext cx="207032" cy="388185"/>
          </a:xfrm>
          <a:custGeom>
            <a:avLst/>
            <a:gdLst>
              <a:gd name="T0" fmla="*/ 20 w 40"/>
              <a:gd name="T1" fmla="*/ 75 h 75"/>
              <a:gd name="T2" fmla="*/ 40 w 40"/>
              <a:gd name="T3" fmla="*/ 75 h 75"/>
              <a:gd name="T4" fmla="*/ 40 w 40"/>
              <a:gd name="T5" fmla="*/ 26 h 75"/>
              <a:gd name="T6" fmla="*/ 40 w 40"/>
              <a:gd name="T7" fmla="*/ 14 h 75"/>
              <a:gd name="T8" fmla="*/ 40 w 40"/>
              <a:gd name="T9" fmla="*/ 0 h 75"/>
              <a:gd name="T10" fmla="*/ 20 w 40"/>
              <a:gd name="T11" fmla="*/ 0 h 75"/>
              <a:gd name="T12" fmla="*/ 20 w 40"/>
              <a:gd name="T13" fmla="*/ 4 h 75"/>
              <a:gd name="T14" fmla="*/ 35 w 40"/>
              <a:gd name="T15" fmla="*/ 19 h 75"/>
              <a:gd name="T16" fmla="*/ 20 w 40"/>
              <a:gd name="T17" fmla="*/ 33 h 75"/>
              <a:gd name="T18" fmla="*/ 20 w 40"/>
              <a:gd name="T19" fmla="*/ 75 h 75"/>
              <a:gd name="T20" fmla="*/ 0 w 40"/>
              <a:gd name="T21" fmla="*/ 75 h 75"/>
              <a:gd name="T22" fmla="*/ 20 w 40"/>
              <a:gd name="T23" fmla="*/ 75 h 75"/>
              <a:gd name="T24" fmla="*/ 20 w 40"/>
              <a:gd name="T25" fmla="*/ 33 h 75"/>
              <a:gd name="T26" fmla="*/ 20 w 40"/>
              <a:gd name="T27" fmla="*/ 33 h 75"/>
              <a:gd name="T28" fmla="*/ 5 w 40"/>
              <a:gd name="T29" fmla="*/ 19 h 75"/>
              <a:gd name="T30" fmla="*/ 20 w 40"/>
              <a:gd name="T31" fmla="*/ 4 h 75"/>
              <a:gd name="T32" fmla="*/ 20 w 40"/>
              <a:gd name="T33" fmla="*/ 4 h 75"/>
              <a:gd name="T34" fmla="*/ 20 w 40"/>
              <a:gd name="T35" fmla="*/ 4 h 75"/>
              <a:gd name="T36" fmla="*/ 20 w 40"/>
              <a:gd name="T37" fmla="*/ 0 h 75"/>
              <a:gd name="T38" fmla="*/ 0 w 40"/>
              <a:gd name="T39" fmla="*/ 0 h 75"/>
              <a:gd name="T40" fmla="*/ 0 w 40"/>
              <a:gd name="T41" fmla="*/ 7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" h="75">
                <a:moveTo>
                  <a:pt x="20" y="75"/>
                </a:moveTo>
                <a:cubicBezTo>
                  <a:pt x="40" y="75"/>
                  <a:pt x="40" y="75"/>
                  <a:pt x="40" y="75"/>
                </a:cubicBezTo>
                <a:cubicBezTo>
                  <a:pt x="40" y="26"/>
                  <a:pt x="40" y="26"/>
                  <a:pt x="40" y="26"/>
                </a:cubicBezTo>
                <a:cubicBezTo>
                  <a:pt x="40" y="14"/>
                  <a:pt x="40" y="14"/>
                  <a:pt x="40" y="14"/>
                </a:cubicBezTo>
                <a:cubicBezTo>
                  <a:pt x="40" y="0"/>
                  <a:pt x="40" y="0"/>
                  <a:pt x="40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4"/>
                  <a:pt x="20" y="4"/>
                  <a:pt x="20" y="4"/>
                </a:cubicBezTo>
                <a:cubicBezTo>
                  <a:pt x="28" y="4"/>
                  <a:pt x="35" y="10"/>
                  <a:pt x="35" y="19"/>
                </a:cubicBezTo>
                <a:cubicBezTo>
                  <a:pt x="35" y="27"/>
                  <a:pt x="28" y="33"/>
                  <a:pt x="20" y="33"/>
                </a:cubicBezTo>
                <a:lnTo>
                  <a:pt x="20" y="75"/>
                </a:lnTo>
                <a:close/>
                <a:moveTo>
                  <a:pt x="0" y="75"/>
                </a:moveTo>
                <a:cubicBezTo>
                  <a:pt x="20" y="75"/>
                  <a:pt x="20" y="75"/>
                  <a:pt x="20" y="75"/>
                </a:cubicBezTo>
                <a:cubicBezTo>
                  <a:pt x="20" y="33"/>
                  <a:pt x="20" y="33"/>
                  <a:pt x="20" y="33"/>
                </a:cubicBezTo>
                <a:cubicBezTo>
                  <a:pt x="20" y="33"/>
                  <a:pt x="20" y="33"/>
                  <a:pt x="20" y="33"/>
                </a:cubicBezTo>
                <a:cubicBezTo>
                  <a:pt x="12" y="33"/>
                  <a:pt x="5" y="27"/>
                  <a:pt x="5" y="19"/>
                </a:cubicBezTo>
                <a:cubicBezTo>
                  <a:pt x="5" y="10"/>
                  <a:pt x="12" y="4"/>
                  <a:pt x="20" y="4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0"/>
                  <a:pt x="20" y="0"/>
                  <a:pt x="20" y="0"/>
                </a:cubicBezTo>
                <a:cubicBezTo>
                  <a:pt x="0" y="0"/>
                  <a:pt x="0" y="0"/>
                  <a:pt x="0" y="0"/>
                </a:cubicBezTo>
                <a:lnTo>
                  <a:pt x="0" y="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4" name="ísḷidè">
            <a:extLst>
              <a:ext uri="{FF2B5EF4-FFF2-40B4-BE49-F238E27FC236}">
                <a16:creationId xmlns:a16="http://schemas.microsoft.com/office/drawing/2014/main" id="{087D5050-0B92-4E36-8DEE-2CB09BF48802}"/>
              </a:ext>
            </a:extLst>
          </p:cNvPr>
          <p:cNvSpPr/>
          <p:nvPr/>
        </p:nvSpPr>
        <p:spPr bwMode="auto">
          <a:xfrm>
            <a:off x="9821144" y="5899228"/>
            <a:ext cx="237225" cy="238663"/>
          </a:xfrm>
          <a:custGeom>
            <a:avLst/>
            <a:gdLst>
              <a:gd name="T0" fmla="*/ 41 w 46"/>
              <a:gd name="T1" fmla="*/ 32 h 46"/>
              <a:gd name="T2" fmla="*/ 43 w 46"/>
              <a:gd name="T3" fmla="*/ 34 h 46"/>
              <a:gd name="T4" fmla="*/ 38 w 46"/>
              <a:gd name="T5" fmla="*/ 41 h 46"/>
              <a:gd name="T6" fmla="*/ 35 w 46"/>
              <a:gd name="T7" fmla="*/ 38 h 46"/>
              <a:gd name="T8" fmla="*/ 29 w 46"/>
              <a:gd name="T9" fmla="*/ 42 h 46"/>
              <a:gd name="T10" fmla="*/ 29 w 46"/>
              <a:gd name="T11" fmla="*/ 45 h 46"/>
              <a:gd name="T12" fmla="*/ 23 w 46"/>
              <a:gd name="T13" fmla="*/ 45 h 46"/>
              <a:gd name="T14" fmla="*/ 23 w 46"/>
              <a:gd name="T15" fmla="*/ 36 h 46"/>
              <a:gd name="T16" fmla="*/ 33 w 46"/>
              <a:gd name="T17" fmla="*/ 31 h 46"/>
              <a:gd name="T18" fmla="*/ 32 w 46"/>
              <a:gd name="T19" fmla="*/ 13 h 46"/>
              <a:gd name="T20" fmla="*/ 32 w 46"/>
              <a:gd name="T21" fmla="*/ 13 h 46"/>
              <a:gd name="T22" fmla="*/ 27 w 46"/>
              <a:gd name="T23" fmla="*/ 10 h 46"/>
              <a:gd name="T24" fmla="*/ 23 w 46"/>
              <a:gd name="T25" fmla="*/ 10 h 46"/>
              <a:gd name="T26" fmla="*/ 23 w 46"/>
              <a:gd name="T27" fmla="*/ 0 h 46"/>
              <a:gd name="T28" fmla="*/ 26 w 46"/>
              <a:gd name="T29" fmla="*/ 0 h 46"/>
              <a:gd name="T30" fmla="*/ 26 w 46"/>
              <a:gd name="T31" fmla="*/ 3 h 46"/>
              <a:gd name="T32" fmla="*/ 32 w 46"/>
              <a:gd name="T33" fmla="*/ 5 h 46"/>
              <a:gd name="T34" fmla="*/ 35 w 46"/>
              <a:gd name="T35" fmla="*/ 3 h 46"/>
              <a:gd name="T36" fmla="*/ 41 w 46"/>
              <a:gd name="T37" fmla="*/ 8 h 46"/>
              <a:gd name="T38" fmla="*/ 39 w 46"/>
              <a:gd name="T39" fmla="*/ 11 h 46"/>
              <a:gd name="T40" fmla="*/ 42 w 46"/>
              <a:gd name="T41" fmla="*/ 17 h 46"/>
              <a:gd name="T42" fmla="*/ 45 w 46"/>
              <a:gd name="T43" fmla="*/ 17 h 46"/>
              <a:gd name="T44" fmla="*/ 46 w 46"/>
              <a:gd name="T45" fmla="*/ 25 h 46"/>
              <a:gd name="T46" fmla="*/ 43 w 46"/>
              <a:gd name="T47" fmla="*/ 25 h 46"/>
              <a:gd name="T48" fmla="*/ 41 w 46"/>
              <a:gd name="T49" fmla="*/ 32 h 46"/>
              <a:gd name="T50" fmla="*/ 23 w 46"/>
              <a:gd name="T51" fmla="*/ 45 h 46"/>
              <a:gd name="T52" fmla="*/ 21 w 46"/>
              <a:gd name="T53" fmla="*/ 46 h 46"/>
              <a:gd name="T54" fmla="*/ 21 w 46"/>
              <a:gd name="T55" fmla="*/ 42 h 46"/>
              <a:gd name="T56" fmla="*/ 14 w 46"/>
              <a:gd name="T57" fmla="*/ 40 h 46"/>
              <a:gd name="T58" fmla="*/ 12 w 46"/>
              <a:gd name="T59" fmla="*/ 43 h 46"/>
              <a:gd name="T60" fmla="*/ 6 w 46"/>
              <a:gd name="T61" fmla="*/ 37 h 46"/>
              <a:gd name="T62" fmla="*/ 8 w 46"/>
              <a:gd name="T63" fmla="*/ 35 h 46"/>
              <a:gd name="T64" fmla="*/ 5 w 46"/>
              <a:gd name="T65" fmla="*/ 29 h 46"/>
              <a:gd name="T66" fmla="*/ 1 w 46"/>
              <a:gd name="T67" fmla="*/ 29 h 46"/>
              <a:gd name="T68" fmla="*/ 0 w 46"/>
              <a:gd name="T69" fmla="*/ 21 h 46"/>
              <a:gd name="T70" fmla="*/ 4 w 46"/>
              <a:gd name="T71" fmla="*/ 20 h 46"/>
              <a:gd name="T72" fmla="*/ 6 w 46"/>
              <a:gd name="T73" fmla="*/ 14 h 46"/>
              <a:gd name="T74" fmla="*/ 3 w 46"/>
              <a:gd name="T75" fmla="*/ 12 h 46"/>
              <a:gd name="T76" fmla="*/ 9 w 46"/>
              <a:gd name="T77" fmla="*/ 5 h 46"/>
              <a:gd name="T78" fmla="*/ 11 w 46"/>
              <a:gd name="T79" fmla="*/ 7 h 46"/>
              <a:gd name="T80" fmla="*/ 17 w 46"/>
              <a:gd name="T81" fmla="*/ 4 h 46"/>
              <a:gd name="T82" fmla="*/ 17 w 46"/>
              <a:gd name="T83" fmla="*/ 1 h 46"/>
              <a:gd name="T84" fmla="*/ 23 w 46"/>
              <a:gd name="T85" fmla="*/ 0 h 46"/>
              <a:gd name="T86" fmla="*/ 23 w 46"/>
              <a:gd name="T87" fmla="*/ 10 h 46"/>
              <a:gd name="T88" fmla="*/ 13 w 46"/>
              <a:gd name="T89" fmla="*/ 14 h 46"/>
              <a:gd name="T90" fmla="*/ 15 w 46"/>
              <a:gd name="T91" fmla="*/ 33 h 46"/>
              <a:gd name="T92" fmla="*/ 19 w 46"/>
              <a:gd name="T93" fmla="*/ 35 h 46"/>
              <a:gd name="T94" fmla="*/ 23 w 46"/>
              <a:gd name="T95" fmla="*/ 36 h 46"/>
              <a:gd name="T96" fmla="*/ 23 w 46"/>
              <a:gd name="T97" fmla="*/ 45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6" h="46">
                <a:moveTo>
                  <a:pt x="41" y="32"/>
                </a:moveTo>
                <a:cubicBezTo>
                  <a:pt x="43" y="34"/>
                  <a:pt x="43" y="34"/>
                  <a:pt x="43" y="34"/>
                </a:cubicBezTo>
                <a:cubicBezTo>
                  <a:pt x="38" y="41"/>
                  <a:pt x="38" y="41"/>
                  <a:pt x="38" y="41"/>
                </a:cubicBezTo>
                <a:cubicBezTo>
                  <a:pt x="35" y="38"/>
                  <a:pt x="35" y="38"/>
                  <a:pt x="35" y="38"/>
                </a:cubicBezTo>
                <a:cubicBezTo>
                  <a:pt x="33" y="40"/>
                  <a:pt x="31" y="41"/>
                  <a:pt x="29" y="42"/>
                </a:cubicBezTo>
                <a:cubicBezTo>
                  <a:pt x="29" y="45"/>
                  <a:pt x="29" y="45"/>
                  <a:pt x="29" y="45"/>
                </a:cubicBezTo>
                <a:cubicBezTo>
                  <a:pt x="23" y="45"/>
                  <a:pt x="23" y="45"/>
                  <a:pt x="23" y="45"/>
                </a:cubicBezTo>
                <a:cubicBezTo>
                  <a:pt x="23" y="36"/>
                  <a:pt x="23" y="36"/>
                  <a:pt x="23" y="36"/>
                </a:cubicBezTo>
                <a:cubicBezTo>
                  <a:pt x="27" y="36"/>
                  <a:pt x="31" y="34"/>
                  <a:pt x="33" y="31"/>
                </a:cubicBezTo>
                <a:cubicBezTo>
                  <a:pt x="38" y="26"/>
                  <a:pt x="37" y="17"/>
                  <a:pt x="32" y="13"/>
                </a:cubicBezTo>
                <a:cubicBezTo>
                  <a:pt x="32" y="13"/>
                  <a:pt x="32" y="13"/>
                  <a:pt x="32" y="13"/>
                </a:cubicBezTo>
                <a:cubicBezTo>
                  <a:pt x="30" y="12"/>
                  <a:pt x="29" y="11"/>
                  <a:pt x="27" y="10"/>
                </a:cubicBezTo>
                <a:cubicBezTo>
                  <a:pt x="26" y="10"/>
                  <a:pt x="25" y="10"/>
                  <a:pt x="23" y="10"/>
                </a:cubicBezTo>
                <a:cubicBezTo>
                  <a:pt x="23" y="0"/>
                  <a:pt x="23" y="0"/>
                  <a:pt x="23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3"/>
                  <a:pt x="26" y="3"/>
                  <a:pt x="26" y="3"/>
                </a:cubicBezTo>
                <a:cubicBezTo>
                  <a:pt x="28" y="4"/>
                  <a:pt x="30" y="4"/>
                  <a:pt x="32" y="5"/>
                </a:cubicBezTo>
                <a:cubicBezTo>
                  <a:pt x="35" y="3"/>
                  <a:pt x="35" y="3"/>
                  <a:pt x="35" y="3"/>
                </a:cubicBezTo>
                <a:cubicBezTo>
                  <a:pt x="41" y="8"/>
                  <a:pt x="41" y="8"/>
                  <a:pt x="41" y="8"/>
                </a:cubicBezTo>
                <a:cubicBezTo>
                  <a:pt x="39" y="11"/>
                  <a:pt x="39" y="11"/>
                  <a:pt x="39" y="11"/>
                </a:cubicBezTo>
                <a:cubicBezTo>
                  <a:pt x="40" y="13"/>
                  <a:pt x="41" y="15"/>
                  <a:pt x="42" y="17"/>
                </a:cubicBezTo>
                <a:cubicBezTo>
                  <a:pt x="45" y="17"/>
                  <a:pt x="45" y="17"/>
                  <a:pt x="45" y="17"/>
                </a:cubicBezTo>
                <a:cubicBezTo>
                  <a:pt x="46" y="25"/>
                  <a:pt x="46" y="25"/>
                  <a:pt x="46" y="25"/>
                </a:cubicBezTo>
                <a:cubicBezTo>
                  <a:pt x="43" y="25"/>
                  <a:pt x="43" y="25"/>
                  <a:pt x="43" y="25"/>
                </a:cubicBezTo>
                <a:cubicBezTo>
                  <a:pt x="42" y="28"/>
                  <a:pt x="42" y="30"/>
                  <a:pt x="41" y="32"/>
                </a:cubicBezTo>
                <a:close/>
                <a:moveTo>
                  <a:pt x="23" y="45"/>
                </a:moveTo>
                <a:cubicBezTo>
                  <a:pt x="21" y="46"/>
                  <a:pt x="21" y="46"/>
                  <a:pt x="21" y="46"/>
                </a:cubicBezTo>
                <a:cubicBezTo>
                  <a:pt x="21" y="42"/>
                  <a:pt x="21" y="42"/>
                  <a:pt x="21" y="42"/>
                </a:cubicBezTo>
                <a:cubicBezTo>
                  <a:pt x="18" y="42"/>
                  <a:pt x="16" y="41"/>
                  <a:pt x="14" y="40"/>
                </a:cubicBezTo>
                <a:cubicBezTo>
                  <a:pt x="12" y="43"/>
                  <a:pt x="12" y="43"/>
                  <a:pt x="12" y="43"/>
                </a:cubicBezTo>
                <a:cubicBezTo>
                  <a:pt x="6" y="37"/>
                  <a:pt x="6" y="37"/>
                  <a:pt x="6" y="37"/>
                </a:cubicBezTo>
                <a:cubicBezTo>
                  <a:pt x="8" y="35"/>
                  <a:pt x="8" y="35"/>
                  <a:pt x="8" y="35"/>
                </a:cubicBezTo>
                <a:cubicBezTo>
                  <a:pt x="6" y="33"/>
                  <a:pt x="5" y="31"/>
                  <a:pt x="5" y="29"/>
                </a:cubicBezTo>
                <a:cubicBezTo>
                  <a:pt x="1" y="29"/>
                  <a:pt x="1" y="29"/>
                  <a:pt x="1" y="29"/>
                </a:cubicBezTo>
                <a:cubicBezTo>
                  <a:pt x="0" y="21"/>
                  <a:pt x="0" y="21"/>
                  <a:pt x="0" y="21"/>
                </a:cubicBezTo>
                <a:cubicBezTo>
                  <a:pt x="4" y="20"/>
                  <a:pt x="4" y="20"/>
                  <a:pt x="4" y="20"/>
                </a:cubicBezTo>
                <a:cubicBezTo>
                  <a:pt x="4" y="18"/>
                  <a:pt x="5" y="16"/>
                  <a:pt x="6" y="14"/>
                </a:cubicBezTo>
                <a:cubicBezTo>
                  <a:pt x="3" y="12"/>
                  <a:pt x="3" y="12"/>
                  <a:pt x="3" y="12"/>
                </a:cubicBezTo>
                <a:cubicBezTo>
                  <a:pt x="9" y="5"/>
                  <a:pt x="9" y="5"/>
                  <a:pt x="9" y="5"/>
                </a:cubicBezTo>
                <a:cubicBezTo>
                  <a:pt x="11" y="7"/>
                  <a:pt x="11" y="7"/>
                  <a:pt x="11" y="7"/>
                </a:cubicBezTo>
                <a:cubicBezTo>
                  <a:pt x="13" y="6"/>
                  <a:pt x="15" y="5"/>
                  <a:pt x="17" y="4"/>
                </a:cubicBezTo>
                <a:cubicBezTo>
                  <a:pt x="17" y="1"/>
                  <a:pt x="17" y="1"/>
                  <a:pt x="17" y="1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10"/>
                  <a:pt x="23" y="10"/>
                  <a:pt x="23" y="10"/>
                </a:cubicBezTo>
                <a:cubicBezTo>
                  <a:pt x="19" y="10"/>
                  <a:pt x="16" y="11"/>
                  <a:pt x="13" y="14"/>
                </a:cubicBezTo>
                <a:cubicBezTo>
                  <a:pt x="9" y="20"/>
                  <a:pt x="9" y="28"/>
                  <a:pt x="15" y="33"/>
                </a:cubicBezTo>
                <a:cubicBezTo>
                  <a:pt x="16" y="34"/>
                  <a:pt x="18" y="35"/>
                  <a:pt x="19" y="35"/>
                </a:cubicBezTo>
                <a:cubicBezTo>
                  <a:pt x="21" y="36"/>
                  <a:pt x="22" y="36"/>
                  <a:pt x="23" y="36"/>
                </a:cubicBezTo>
                <a:lnTo>
                  <a:pt x="23" y="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5" name="iṩlïďê">
            <a:extLst>
              <a:ext uri="{FF2B5EF4-FFF2-40B4-BE49-F238E27FC236}">
                <a16:creationId xmlns:a16="http://schemas.microsoft.com/office/drawing/2014/main" id="{F979EA9D-9626-4110-A73E-BB53B9C22886}"/>
              </a:ext>
            </a:extLst>
          </p:cNvPr>
          <p:cNvSpPr/>
          <p:nvPr/>
        </p:nvSpPr>
        <p:spPr bwMode="auto">
          <a:xfrm>
            <a:off x="10649275" y="4649844"/>
            <a:ext cx="244414" cy="467261"/>
          </a:xfrm>
          <a:custGeom>
            <a:avLst/>
            <a:gdLst>
              <a:gd name="T0" fmla="*/ 24 w 47"/>
              <a:gd name="T1" fmla="*/ 90 h 90"/>
              <a:gd name="T2" fmla="*/ 47 w 47"/>
              <a:gd name="T3" fmla="*/ 90 h 90"/>
              <a:gd name="T4" fmla="*/ 47 w 47"/>
              <a:gd name="T5" fmla="*/ 0 h 90"/>
              <a:gd name="T6" fmla="*/ 24 w 47"/>
              <a:gd name="T7" fmla="*/ 0 h 90"/>
              <a:gd name="T8" fmla="*/ 24 w 47"/>
              <a:gd name="T9" fmla="*/ 5 h 90"/>
              <a:gd name="T10" fmla="*/ 42 w 47"/>
              <a:gd name="T11" fmla="*/ 5 h 90"/>
              <a:gd name="T12" fmla="*/ 42 w 47"/>
              <a:gd name="T13" fmla="*/ 23 h 90"/>
              <a:gd name="T14" fmla="*/ 24 w 47"/>
              <a:gd name="T15" fmla="*/ 23 h 90"/>
              <a:gd name="T16" fmla="*/ 24 w 47"/>
              <a:gd name="T17" fmla="*/ 27 h 90"/>
              <a:gd name="T18" fmla="*/ 42 w 47"/>
              <a:gd name="T19" fmla="*/ 27 h 90"/>
              <a:gd name="T20" fmla="*/ 42 w 47"/>
              <a:gd name="T21" fmla="*/ 44 h 90"/>
              <a:gd name="T22" fmla="*/ 24 w 47"/>
              <a:gd name="T23" fmla="*/ 44 h 90"/>
              <a:gd name="T24" fmla="*/ 24 w 47"/>
              <a:gd name="T25" fmla="*/ 51 h 90"/>
              <a:gd name="T26" fmla="*/ 24 w 47"/>
              <a:gd name="T27" fmla="*/ 51 h 90"/>
              <a:gd name="T28" fmla="*/ 29 w 47"/>
              <a:gd name="T29" fmla="*/ 57 h 90"/>
              <a:gd name="T30" fmla="*/ 24 w 47"/>
              <a:gd name="T31" fmla="*/ 62 h 90"/>
              <a:gd name="T32" fmla="*/ 24 w 47"/>
              <a:gd name="T33" fmla="*/ 62 h 90"/>
              <a:gd name="T34" fmla="*/ 24 w 47"/>
              <a:gd name="T35" fmla="*/ 62 h 90"/>
              <a:gd name="T36" fmla="*/ 24 w 47"/>
              <a:gd name="T37" fmla="*/ 71 h 90"/>
              <a:gd name="T38" fmla="*/ 24 w 47"/>
              <a:gd name="T39" fmla="*/ 71 h 90"/>
              <a:gd name="T40" fmla="*/ 29 w 47"/>
              <a:gd name="T41" fmla="*/ 77 h 90"/>
              <a:gd name="T42" fmla="*/ 24 w 47"/>
              <a:gd name="T43" fmla="*/ 82 h 90"/>
              <a:gd name="T44" fmla="*/ 24 w 47"/>
              <a:gd name="T45" fmla="*/ 82 h 90"/>
              <a:gd name="T46" fmla="*/ 24 w 47"/>
              <a:gd name="T47" fmla="*/ 82 h 90"/>
              <a:gd name="T48" fmla="*/ 24 w 47"/>
              <a:gd name="T49" fmla="*/ 90 h 90"/>
              <a:gd name="T50" fmla="*/ 0 w 47"/>
              <a:gd name="T51" fmla="*/ 90 h 90"/>
              <a:gd name="T52" fmla="*/ 24 w 47"/>
              <a:gd name="T53" fmla="*/ 90 h 90"/>
              <a:gd name="T54" fmla="*/ 24 w 47"/>
              <a:gd name="T55" fmla="*/ 82 h 90"/>
              <a:gd name="T56" fmla="*/ 18 w 47"/>
              <a:gd name="T57" fmla="*/ 77 h 90"/>
              <a:gd name="T58" fmla="*/ 24 w 47"/>
              <a:gd name="T59" fmla="*/ 71 h 90"/>
              <a:gd name="T60" fmla="*/ 24 w 47"/>
              <a:gd name="T61" fmla="*/ 62 h 90"/>
              <a:gd name="T62" fmla="*/ 18 w 47"/>
              <a:gd name="T63" fmla="*/ 57 h 90"/>
              <a:gd name="T64" fmla="*/ 24 w 47"/>
              <a:gd name="T65" fmla="*/ 51 h 90"/>
              <a:gd name="T66" fmla="*/ 24 w 47"/>
              <a:gd name="T67" fmla="*/ 44 h 90"/>
              <a:gd name="T68" fmla="*/ 5 w 47"/>
              <a:gd name="T69" fmla="*/ 44 h 90"/>
              <a:gd name="T70" fmla="*/ 5 w 47"/>
              <a:gd name="T71" fmla="*/ 27 h 90"/>
              <a:gd name="T72" fmla="*/ 5 w 47"/>
              <a:gd name="T73" fmla="*/ 27 h 90"/>
              <a:gd name="T74" fmla="*/ 24 w 47"/>
              <a:gd name="T75" fmla="*/ 27 h 90"/>
              <a:gd name="T76" fmla="*/ 24 w 47"/>
              <a:gd name="T77" fmla="*/ 23 h 90"/>
              <a:gd name="T78" fmla="*/ 5 w 47"/>
              <a:gd name="T79" fmla="*/ 23 h 90"/>
              <a:gd name="T80" fmla="*/ 5 w 47"/>
              <a:gd name="T81" fmla="*/ 5 h 90"/>
              <a:gd name="T82" fmla="*/ 5 w 47"/>
              <a:gd name="T83" fmla="*/ 5 h 90"/>
              <a:gd name="T84" fmla="*/ 24 w 47"/>
              <a:gd name="T85" fmla="*/ 5 h 90"/>
              <a:gd name="T86" fmla="*/ 24 w 47"/>
              <a:gd name="T87" fmla="*/ 0 h 90"/>
              <a:gd name="T88" fmla="*/ 0 w 47"/>
              <a:gd name="T89" fmla="*/ 0 h 90"/>
              <a:gd name="T90" fmla="*/ 0 w 47"/>
              <a:gd name="T91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7" h="90">
                <a:moveTo>
                  <a:pt x="24" y="90"/>
                </a:moveTo>
                <a:cubicBezTo>
                  <a:pt x="47" y="90"/>
                  <a:pt x="47" y="90"/>
                  <a:pt x="47" y="90"/>
                </a:cubicBezTo>
                <a:cubicBezTo>
                  <a:pt x="47" y="0"/>
                  <a:pt x="47" y="0"/>
                  <a:pt x="47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5"/>
                  <a:pt x="24" y="5"/>
                  <a:pt x="24" y="5"/>
                </a:cubicBezTo>
                <a:cubicBezTo>
                  <a:pt x="42" y="5"/>
                  <a:pt x="42" y="5"/>
                  <a:pt x="42" y="5"/>
                </a:cubicBezTo>
                <a:cubicBezTo>
                  <a:pt x="42" y="23"/>
                  <a:pt x="42" y="23"/>
                  <a:pt x="42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24" y="27"/>
                  <a:pt x="24" y="27"/>
                  <a:pt x="24" y="27"/>
                </a:cubicBezTo>
                <a:cubicBezTo>
                  <a:pt x="42" y="27"/>
                  <a:pt x="42" y="27"/>
                  <a:pt x="42" y="27"/>
                </a:cubicBezTo>
                <a:cubicBezTo>
                  <a:pt x="42" y="44"/>
                  <a:pt x="42" y="44"/>
                  <a:pt x="42" y="44"/>
                </a:cubicBezTo>
                <a:cubicBezTo>
                  <a:pt x="24" y="44"/>
                  <a:pt x="24" y="44"/>
                  <a:pt x="24" y="44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7" y="51"/>
                  <a:pt x="29" y="54"/>
                  <a:pt x="29" y="57"/>
                </a:cubicBezTo>
                <a:cubicBezTo>
                  <a:pt x="29" y="60"/>
                  <a:pt x="27" y="62"/>
                  <a:pt x="24" y="62"/>
                </a:cubicBezTo>
                <a:cubicBezTo>
                  <a:pt x="24" y="62"/>
                  <a:pt x="24" y="62"/>
                  <a:pt x="24" y="62"/>
                </a:cubicBezTo>
                <a:cubicBezTo>
                  <a:pt x="24" y="62"/>
                  <a:pt x="24" y="62"/>
                  <a:pt x="24" y="62"/>
                </a:cubicBezTo>
                <a:cubicBezTo>
                  <a:pt x="24" y="71"/>
                  <a:pt x="24" y="71"/>
                  <a:pt x="24" y="71"/>
                </a:cubicBezTo>
                <a:cubicBezTo>
                  <a:pt x="24" y="71"/>
                  <a:pt x="24" y="71"/>
                  <a:pt x="24" y="71"/>
                </a:cubicBezTo>
                <a:cubicBezTo>
                  <a:pt x="27" y="71"/>
                  <a:pt x="29" y="74"/>
                  <a:pt x="29" y="77"/>
                </a:cubicBezTo>
                <a:cubicBezTo>
                  <a:pt x="29" y="80"/>
                  <a:pt x="27" y="82"/>
                  <a:pt x="24" y="82"/>
                </a:cubicBezTo>
                <a:cubicBezTo>
                  <a:pt x="24" y="82"/>
                  <a:pt x="24" y="82"/>
                  <a:pt x="24" y="82"/>
                </a:cubicBezTo>
                <a:cubicBezTo>
                  <a:pt x="24" y="82"/>
                  <a:pt x="24" y="82"/>
                  <a:pt x="24" y="82"/>
                </a:cubicBezTo>
                <a:lnTo>
                  <a:pt x="24" y="90"/>
                </a:lnTo>
                <a:close/>
                <a:moveTo>
                  <a:pt x="0" y="90"/>
                </a:moveTo>
                <a:cubicBezTo>
                  <a:pt x="24" y="90"/>
                  <a:pt x="24" y="90"/>
                  <a:pt x="24" y="90"/>
                </a:cubicBezTo>
                <a:cubicBezTo>
                  <a:pt x="24" y="82"/>
                  <a:pt x="24" y="82"/>
                  <a:pt x="24" y="82"/>
                </a:cubicBezTo>
                <a:cubicBezTo>
                  <a:pt x="21" y="82"/>
                  <a:pt x="18" y="80"/>
                  <a:pt x="18" y="77"/>
                </a:cubicBezTo>
                <a:cubicBezTo>
                  <a:pt x="18" y="74"/>
                  <a:pt x="21" y="71"/>
                  <a:pt x="24" y="71"/>
                </a:cubicBezTo>
                <a:cubicBezTo>
                  <a:pt x="24" y="62"/>
                  <a:pt x="24" y="62"/>
                  <a:pt x="24" y="62"/>
                </a:cubicBezTo>
                <a:cubicBezTo>
                  <a:pt x="21" y="62"/>
                  <a:pt x="18" y="60"/>
                  <a:pt x="18" y="57"/>
                </a:cubicBezTo>
                <a:cubicBezTo>
                  <a:pt x="18" y="54"/>
                  <a:pt x="21" y="51"/>
                  <a:pt x="24" y="51"/>
                </a:cubicBezTo>
                <a:cubicBezTo>
                  <a:pt x="24" y="44"/>
                  <a:pt x="24" y="44"/>
                  <a:pt x="24" y="44"/>
                </a:cubicBezTo>
                <a:cubicBezTo>
                  <a:pt x="5" y="44"/>
                  <a:pt x="5" y="44"/>
                  <a:pt x="5" y="44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7"/>
                  <a:pt x="5" y="27"/>
                  <a:pt x="5" y="27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23"/>
                  <a:pt x="24" y="23"/>
                  <a:pt x="24" y="23"/>
                </a:cubicBezTo>
                <a:cubicBezTo>
                  <a:pt x="5" y="23"/>
                  <a:pt x="5" y="23"/>
                  <a:pt x="5" y="23"/>
                </a:cubicBezTo>
                <a:cubicBezTo>
                  <a:pt x="5" y="5"/>
                  <a:pt x="5" y="5"/>
                  <a:pt x="5" y="5"/>
                </a:cubicBezTo>
                <a:cubicBezTo>
                  <a:pt x="5" y="5"/>
                  <a:pt x="5" y="5"/>
                  <a:pt x="5" y="5"/>
                </a:cubicBezTo>
                <a:cubicBezTo>
                  <a:pt x="24" y="5"/>
                  <a:pt x="24" y="5"/>
                  <a:pt x="24" y="5"/>
                </a:cubicBezTo>
                <a:cubicBezTo>
                  <a:pt x="24" y="0"/>
                  <a:pt x="24" y="0"/>
                  <a:pt x="24" y="0"/>
                </a:cubicBezTo>
                <a:cubicBezTo>
                  <a:pt x="0" y="0"/>
                  <a:pt x="0" y="0"/>
                  <a:pt x="0" y="0"/>
                </a:cubicBezTo>
                <a:lnTo>
                  <a:pt x="0" y="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6" name="íṩľíḋè">
            <a:extLst>
              <a:ext uri="{FF2B5EF4-FFF2-40B4-BE49-F238E27FC236}">
                <a16:creationId xmlns:a16="http://schemas.microsoft.com/office/drawing/2014/main" id="{B49FA90D-98B7-4814-B9E6-F3F7FA34A0C3}"/>
              </a:ext>
            </a:extLst>
          </p:cNvPr>
          <p:cNvSpPr/>
          <p:nvPr/>
        </p:nvSpPr>
        <p:spPr bwMode="auto">
          <a:xfrm>
            <a:off x="10913816" y="4649844"/>
            <a:ext cx="97765" cy="467261"/>
          </a:xfrm>
          <a:custGeom>
            <a:avLst/>
            <a:gdLst>
              <a:gd name="T0" fmla="*/ 68 w 68"/>
              <a:gd name="T1" fmla="*/ 307 h 325"/>
              <a:gd name="T2" fmla="*/ 68 w 68"/>
              <a:gd name="T3" fmla="*/ 55 h 325"/>
              <a:gd name="T4" fmla="*/ 0 w 68"/>
              <a:gd name="T5" fmla="*/ 0 h 325"/>
              <a:gd name="T6" fmla="*/ 0 w 68"/>
              <a:gd name="T7" fmla="*/ 325 h 325"/>
              <a:gd name="T8" fmla="*/ 68 w 68"/>
              <a:gd name="T9" fmla="*/ 307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" h="325">
                <a:moveTo>
                  <a:pt x="68" y="307"/>
                </a:moveTo>
                <a:lnTo>
                  <a:pt x="68" y="55"/>
                </a:lnTo>
                <a:lnTo>
                  <a:pt x="0" y="0"/>
                </a:lnTo>
                <a:lnTo>
                  <a:pt x="0" y="325"/>
                </a:lnTo>
                <a:lnTo>
                  <a:pt x="68" y="3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7" name="îšlïḋê">
            <a:extLst>
              <a:ext uri="{FF2B5EF4-FFF2-40B4-BE49-F238E27FC236}">
                <a16:creationId xmlns:a16="http://schemas.microsoft.com/office/drawing/2014/main" id="{343D36FA-0BE4-4DA7-85D7-39D70ED22DFB}"/>
              </a:ext>
            </a:extLst>
          </p:cNvPr>
          <p:cNvSpPr/>
          <p:nvPr/>
        </p:nvSpPr>
        <p:spPr bwMode="auto">
          <a:xfrm>
            <a:off x="10690969" y="4691538"/>
            <a:ext cx="165338" cy="632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8" name="íSľîḑe">
            <a:extLst>
              <a:ext uri="{FF2B5EF4-FFF2-40B4-BE49-F238E27FC236}">
                <a16:creationId xmlns:a16="http://schemas.microsoft.com/office/drawing/2014/main" id="{7D312BC0-8427-4E95-8726-C716C95B0F80}"/>
              </a:ext>
            </a:extLst>
          </p:cNvPr>
          <p:cNvSpPr/>
          <p:nvPr/>
        </p:nvSpPr>
        <p:spPr bwMode="auto">
          <a:xfrm>
            <a:off x="10690969" y="4800805"/>
            <a:ext cx="165338" cy="618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9" name="îşḷíďe">
            <a:extLst>
              <a:ext uri="{FF2B5EF4-FFF2-40B4-BE49-F238E27FC236}">
                <a16:creationId xmlns:a16="http://schemas.microsoft.com/office/drawing/2014/main" id="{7954C8F0-4A85-4B9E-84FE-ADC3ED9BBDF7}"/>
              </a:ext>
            </a:extLst>
          </p:cNvPr>
          <p:cNvSpPr/>
          <p:nvPr/>
        </p:nvSpPr>
        <p:spPr bwMode="auto">
          <a:xfrm>
            <a:off x="10923881" y="3204929"/>
            <a:ext cx="165338" cy="280356"/>
          </a:xfrm>
          <a:custGeom>
            <a:avLst/>
            <a:gdLst>
              <a:gd name="T0" fmla="*/ 0 w 32"/>
              <a:gd name="T1" fmla="*/ 37 h 54"/>
              <a:gd name="T2" fmla="*/ 0 w 32"/>
              <a:gd name="T3" fmla="*/ 45 h 54"/>
              <a:gd name="T4" fmla="*/ 9 w 32"/>
              <a:gd name="T5" fmla="*/ 54 h 54"/>
              <a:gd name="T6" fmla="*/ 23 w 32"/>
              <a:gd name="T7" fmla="*/ 54 h 54"/>
              <a:gd name="T8" fmla="*/ 32 w 32"/>
              <a:gd name="T9" fmla="*/ 45 h 54"/>
              <a:gd name="T10" fmla="*/ 32 w 32"/>
              <a:gd name="T11" fmla="*/ 37 h 54"/>
              <a:gd name="T12" fmla="*/ 20 w 32"/>
              <a:gd name="T13" fmla="*/ 37 h 54"/>
              <a:gd name="T14" fmla="*/ 20 w 32"/>
              <a:gd name="T15" fmla="*/ 30 h 54"/>
              <a:gd name="T16" fmla="*/ 32 w 32"/>
              <a:gd name="T17" fmla="*/ 30 h 54"/>
              <a:gd name="T18" fmla="*/ 32 w 32"/>
              <a:gd name="T19" fmla="*/ 20 h 54"/>
              <a:gd name="T20" fmla="*/ 20 w 32"/>
              <a:gd name="T21" fmla="*/ 20 h 54"/>
              <a:gd name="T22" fmla="*/ 20 w 32"/>
              <a:gd name="T23" fmla="*/ 13 h 54"/>
              <a:gd name="T24" fmla="*/ 32 w 32"/>
              <a:gd name="T25" fmla="*/ 13 h 54"/>
              <a:gd name="T26" fmla="*/ 32 w 32"/>
              <a:gd name="T27" fmla="*/ 9 h 54"/>
              <a:gd name="T28" fmla="*/ 23 w 32"/>
              <a:gd name="T29" fmla="*/ 0 h 54"/>
              <a:gd name="T30" fmla="*/ 9 w 32"/>
              <a:gd name="T31" fmla="*/ 0 h 54"/>
              <a:gd name="T32" fmla="*/ 0 w 32"/>
              <a:gd name="T33" fmla="*/ 9 h 54"/>
              <a:gd name="T34" fmla="*/ 0 w 32"/>
              <a:gd name="T35" fmla="*/ 13 h 54"/>
              <a:gd name="T36" fmla="*/ 11 w 32"/>
              <a:gd name="T37" fmla="*/ 13 h 54"/>
              <a:gd name="T38" fmla="*/ 11 w 32"/>
              <a:gd name="T39" fmla="*/ 20 h 54"/>
              <a:gd name="T40" fmla="*/ 0 w 32"/>
              <a:gd name="T41" fmla="*/ 20 h 54"/>
              <a:gd name="T42" fmla="*/ 0 w 32"/>
              <a:gd name="T43" fmla="*/ 30 h 54"/>
              <a:gd name="T44" fmla="*/ 11 w 32"/>
              <a:gd name="T45" fmla="*/ 30 h 54"/>
              <a:gd name="T46" fmla="*/ 11 w 32"/>
              <a:gd name="T47" fmla="*/ 37 h 54"/>
              <a:gd name="T48" fmla="*/ 0 w 32"/>
              <a:gd name="T49" fmla="*/ 37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" h="54">
                <a:moveTo>
                  <a:pt x="0" y="37"/>
                </a:moveTo>
                <a:cubicBezTo>
                  <a:pt x="0" y="45"/>
                  <a:pt x="0" y="45"/>
                  <a:pt x="0" y="45"/>
                </a:cubicBezTo>
                <a:cubicBezTo>
                  <a:pt x="0" y="50"/>
                  <a:pt x="4" y="54"/>
                  <a:pt x="9" y="54"/>
                </a:cubicBezTo>
                <a:cubicBezTo>
                  <a:pt x="23" y="54"/>
                  <a:pt x="23" y="54"/>
                  <a:pt x="23" y="54"/>
                </a:cubicBezTo>
                <a:cubicBezTo>
                  <a:pt x="28" y="54"/>
                  <a:pt x="32" y="50"/>
                  <a:pt x="32" y="45"/>
                </a:cubicBezTo>
                <a:cubicBezTo>
                  <a:pt x="32" y="37"/>
                  <a:pt x="32" y="37"/>
                  <a:pt x="32" y="37"/>
                </a:cubicBezTo>
                <a:cubicBezTo>
                  <a:pt x="20" y="37"/>
                  <a:pt x="20" y="37"/>
                  <a:pt x="20" y="37"/>
                </a:cubicBezTo>
                <a:cubicBezTo>
                  <a:pt x="20" y="30"/>
                  <a:pt x="20" y="30"/>
                  <a:pt x="20" y="30"/>
                </a:cubicBezTo>
                <a:cubicBezTo>
                  <a:pt x="32" y="30"/>
                  <a:pt x="32" y="30"/>
                  <a:pt x="32" y="30"/>
                </a:cubicBezTo>
                <a:cubicBezTo>
                  <a:pt x="32" y="20"/>
                  <a:pt x="32" y="20"/>
                  <a:pt x="32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3"/>
                  <a:pt x="20" y="13"/>
                  <a:pt x="20" y="13"/>
                </a:cubicBezTo>
                <a:cubicBezTo>
                  <a:pt x="32" y="13"/>
                  <a:pt x="32" y="13"/>
                  <a:pt x="32" y="13"/>
                </a:cubicBezTo>
                <a:cubicBezTo>
                  <a:pt x="32" y="9"/>
                  <a:pt x="32" y="9"/>
                  <a:pt x="32" y="9"/>
                </a:cubicBezTo>
                <a:cubicBezTo>
                  <a:pt x="32" y="4"/>
                  <a:pt x="28" y="0"/>
                  <a:pt x="23" y="0"/>
                </a:cubicBez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3"/>
                  <a:pt x="0" y="13"/>
                  <a:pt x="0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11" y="20"/>
                  <a:pt x="11" y="20"/>
                  <a:pt x="1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30"/>
                  <a:pt x="0" y="30"/>
                  <a:pt x="0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7"/>
                  <a:pt x="11" y="37"/>
                  <a:pt x="11" y="37"/>
                </a:cubicBezTo>
                <a:lnTo>
                  <a:pt x="0" y="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0" name="îṧ1ïdé">
            <a:extLst>
              <a:ext uri="{FF2B5EF4-FFF2-40B4-BE49-F238E27FC236}">
                <a16:creationId xmlns:a16="http://schemas.microsoft.com/office/drawing/2014/main" id="{784753EA-0395-4FA0-816F-2606EAF40D46}"/>
              </a:ext>
            </a:extLst>
          </p:cNvPr>
          <p:cNvSpPr/>
          <p:nvPr/>
        </p:nvSpPr>
        <p:spPr bwMode="auto">
          <a:xfrm>
            <a:off x="8462492" y="1806022"/>
            <a:ext cx="51758" cy="119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1" name="isḷiḓé">
            <a:extLst>
              <a:ext uri="{FF2B5EF4-FFF2-40B4-BE49-F238E27FC236}">
                <a16:creationId xmlns:a16="http://schemas.microsoft.com/office/drawing/2014/main" id="{335979DA-0BDF-4AF6-9A95-6C9C97017DC1}"/>
              </a:ext>
            </a:extLst>
          </p:cNvPr>
          <p:cNvSpPr/>
          <p:nvPr/>
        </p:nvSpPr>
        <p:spPr bwMode="auto">
          <a:xfrm>
            <a:off x="8462492" y="1987175"/>
            <a:ext cx="51758" cy="2127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2" name="íṧļîḋê">
            <a:extLst>
              <a:ext uri="{FF2B5EF4-FFF2-40B4-BE49-F238E27FC236}">
                <a16:creationId xmlns:a16="http://schemas.microsoft.com/office/drawing/2014/main" id="{DF861828-E534-4B23-8DCB-CFEE2E887807}"/>
              </a:ext>
            </a:extLst>
          </p:cNvPr>
          <p:cNvSpPr/>
          <p:nvPr/>
        </p:nvSpPr>
        <p:spPr bwMode="auto">
          <a:xfrm>
            <a:off x="8333096" y="1806022"/>
            <a:ext cx="57510" cy="2170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3" name="íṣḻîďe">
            <a:extLst>
              <a:ext uri="{FF2B5EF4-FFF2-40B4-BE49-F238E27FC236}">
                <a16:creationId xmlns:a16="http://schemas.microsoft.com/office/drawing/2014/main" id="{DBCB6E37-4B7C-40AC-9943-7B329F9A4145}"/>
              </a:ext>
            </a:extLst>
          </p:cNvPr>
          <p:cNvSpPr/>
          <p:nvPr/>
        </p:nvSpPr>
        <p:spPr bwMode="auto">
          <a:xfrm>
            <a:off x="8333096" y="2090692"/>
            <a:ext cx="57510" cy="109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4" name="ïṩḻïdê">
            <a:extLst>
              <a:ext uri="{FF2B5EF4-FFF2-40B4-BE49-F238E27FC236}">
                <a16:creationId xmlns:a16="http://schemas.microsoft.com/office/drawing/2014/main" id="{553C00D5-6091-401A-8F1F-A3E567B462BB}"/>
              </a:ext>
            </a:extLst>
          </p:cNvPr>
          <p:cNvSpPr/>
          <p:nvPr/>
        </p:nvSpPr>
        <p:spPr bwMode="auto">
          <a:xfrm>
            <a:off x="8209451" y="1806022"/>
            <a:ext cx="51758" cy="35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5" name="iSľíḓè">
            <a:extLst>
              <a:ext uri="{FF2B5EF4-FFF2-40B4-BE49-F238E27FC236}">
                <a16:creationId xmlns:a16="http://schemas.microsoft.com/office/drawing/2014/main" id="{903BCC98-4D37-4466-9A30-9D0F9735467D}"/>
              </a:ext>
            </a:extLst>
          </p:cNvPr>
          <p:cNvSpPr/>
          <p:nvPr/>
        </p:nvSpPr>
        <p:spPr bwMode="auto">
          <a:xfrm>
            <a:off x="8209451" y="1903787"/>
            <a:ext cx="51758" cy="2961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6" name="íŝḷîḓe">
            <a:extLst>
              <a:ext uri="{FF2B5EF4-FFF2-40B4-BE49-F238E27FC236}">
                <a16:creationId xmlns:a16="http://schemas.microsoft.com/office/drawing/2014/main" id="{D7F6A08F-DF5E-4F80-A92F-85A32511E817}"/>
              </a:ext>
            </a:extLst>
          </p:cNvPr>
          <p:cNvSpPr/>
          <p:nvPr/>
        </p:nvSpPr>
        <p:spPr bwMode="auto">
          <a:xfrm>
            <a:off x="8187886" y="1852030"/>
            <a:ext cx="93452" cy="41694"/>
          </a:xfrm>
          <a:custGeom>
            <a:avLst/>
            <a:gdLst>
              <a:gd name="T0" fmla="*/ 0 w 65"/>
              <a:gd name="T1" fmla="*/ 0 h 29"/>
              <a:gd name="T2" fmla="*/ 0 w 65"/>
              <a:gd name="T3" fmla="*/ 29 h 29"/>
              <a:gd name="T4" fmla="*/ 15 w 65"/>
              <a:gd name="T5" fmla="*/ 29 h 29"/>
              <a:gd name="T6" fmla="*/ 51 w 65"/>
              <a:gd name="T7" fmla="*/ 29 h 29"/>
              <a:gd name="T8" fmla="*/ 65 w 65"/>
              <a:gd name="T9" fmla="*/ 29 h 29"/>
              <a:gd name="T10" fmla="*/ 65 w 65"/>
              <a:gd name="T11" fmla="*/ 0 h 29"/>
              <a:gd name="T12" fmla="*/ 51 w 65"/>
              <a:gd name="T13" fmla="*/ 0 h 29"/>
              <a:gd name="T14" fmla="*/ 15 w 65"/>
              <a:gd name="T15" fmla="*/ 0 h 29"/>
              <a:gd name="T16" fmla="*/ 0 w 65"/>
              <a:gd name="T17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5" h="29">
                <a:moveTo>
                  <a:pt x="0" y="0"/>
                </a:moveTo>
                <a:lnTo>
                  <a:pt x="0" y="29"/>
                </a:lnTo>
                <a:lnTo>
                  <a:pt x="15" y="29"/>
                </a:lnTo>
                <a:lnTo>
                  <a:pt x="51" y="29"/>
                </a:lnTo>
                <a:lnTo>
                  <a:pt x="65" y="29"/>
                </a:lnTo>
                <a:lnTo>
                  <a:pt x="65" y="0"/>
                </a:lnTo>
                <a:lnTo>
                  <a:pt x="51" y="0"/>
                </a:lnTo>
                <a:lnTo>
                  <a:pt x="1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7" name="i$lïḋé">
            <a:extLst>
              <a:ext uri="{FF2B5EF4-FFF2-40B4-BE49-F238E27FC236}">
                <a16:creationId xmlns:a16="http://schemas.microsoft.com/office/drawing/2014/main" id="{BC0481F5-CB3C-4EC1-876A-DDCD8EC7B7E1}"/>
              </a:ext>
            </a:extLst>
          </p:cNvPr>
          <p:cNvSpPr/>
          <p:nvPr/>
        </p:nvSpPr>
        <p:spPr bwMode="auto">
          <a:xfrm>
            <a:off x="8312968" y="2033183"/>
            <a:ext cx="97765" cy="41694"/>
          </a:xfrm>
          <a:custGeom>
            <a:avLst/>
            <a:gdLst>
              <a:gd name="T0" fmla="*/ 0 w 68"/>
              <a:gd name="T1" fmla="*/ 0 h 29"/>
              <a:gd name="T2" fmla="*/ 0 w 68"/>
              <a:gd name="T3" fmla="*/ 29 h 29"/>
              <a:gd name="T4" fmla="*/ 14 w 68"/>
              <a:gd name="T5" fmla="*/ 29 h 29"/>
              <a:gd name="T6" fmla="*/ 54 w 68"/>
              <a:gd name="T7" fmla="*/ 29 h 29"/>
              <a:gd name="T8" fmla="*/ 68 w 68"/>
              <a:gd name="T9" fmla="*/ 29 h 29"/>
              <a:gd name="T10" fmla="*/ 68 w 68"/>
              <a:gd name="T11" fmla="*/ 0 h 29"/>
              <a:gd name="T12" fmla="*/ 54 w 68"/>
              <a:gd name="T13" fmla="*/ 0 h 29"/>
              <a:gd name="T14" fmla="*/ 14 w 68"/>
              <a:gd name="T15" fmla="*/ 0 h 29"/>
              <a:gd name="T16" fmla="*/ 0 w 68"/>
              <a:gd name="T17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">
                <a:moveTo>
                  <a:pt x="0" y="0"/>
                </a:moveTo>
                <a:lnTo>
                  <a:pt x="0" y="29"/>
                </a:lnTo>
                <a:lnTo>
                  <a:pt x="14" y="29"/>
                </a:lnTo>
                <a:lnTo>
                  <a:pt x="54" y="29"/>
                </a:lnTo>
                <a:lnTo>
                  <a:pt x="68" y="29"/>
                </a:lnTo>
                <a:lnTo>
                  <a:pt x="68" y="0"/>
                </a:lnTo>
                <a:lnTo>
                  <a:pt x="54" y="0"/>
                </a:lnTo>
                <a:lnTo>
                  <a:pt x="1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8" name="î$ḷîďè">
            <a:extLst>
              <a:ext uri="{FF2B5EF4-FFF2-40B4-BE49-F238E27FC236}">
                <a16:creationId xmlns:a16="http://schemas.microsoft.com/office/drawing/2014/main" id="{5AD1877F-F655-4D2B-8464-299C9D1975F5}"/>
              </a:ext>
            </a:extLst>
          </p:cNvPr>
          <p:cNvSpPr/>
          <p:nvPr/>
        </p:nvSpPr>
        <p:spPr bwMode="auto">
          <a:xfrm>
            <a:off x="8442363" y="1935418"/>
            <a:ext cx="97765" cy="41694"/>
          </a:xfrm>
          <a:custGeom>
            <a:avLst/>
            <a:gdLst>
              <a:gd name="T0" fmla="*/ 14 w 68"/>
              <a:gd name="T1" fmla="*/ 0 h 29"/>
              <a:gd name="T2" fmla="*/ 0 w 68"/>
              <a:gd name="T3" fmla="*/ 0 h 29"/>
              <a:gd name="T4" fmla="*/ 0 w 68"/>
              <a:gd name="T5" fmla="*/ 29 h 29"/>
              <a:gd name="T6" fmla="*/ 14 w 68"/>
              <a:gd name="T7" fmla="*/ 29 h 29"/>
              <a:gd name="T8" fmla="*/ 50 w 68"/>
              <a:gd name="T9" fmla="*/ 29 h 29"/>
              <a:gd name="T10" fmla="*/ 68 w 68"/>
              <a:gd name="T11" fmla="*/ 29 h 29"/>
              <a:gd name="T12" fmla="*/ 68 w 68"/>
              <a:gd name="T13" fmla="*/ 0 h 29"/>
              <a:gd name="T14" fmla="*/ 50 w 68"/>
              <a:gd name="T15" fmla="*/ 0 h 29"/>
              <a:gd name="T16" fmla="*/ 14 w 68"/>
              <a:gd name="T17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">
                <a:moveTo>
                  <a:pt x="14" y="0"/>
                </a:moveTo>
                <a:lnTo>
                  <a:pt x="0" y="0"/>
                </a:lnTo>
                <a:lnTo>
                  <a:pt x="0" y="29"/>
                </a:lnTo>
                <a:lnTo>
                  <a:pt x="14" y="29"/>
                </a:lnTo>
                <a:lnTo>
                  <a:pt x="50" y="29"/>
                </a:lnTo>
                <a:lnTo>
                  <a:pt x="68" y="29"/>
                </a:lnTo>
                <a:lnTo>
                  <a:pt x="68" y="0"/>
                </a:lnTo>
                <a:lnTo>
                  <a:pt x="50" y="0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9" name="işḻiďé">
            <a:extLst>
              <a:ext uri="{FF2B5EF4-FFF2-40B4-BE49-F238E27FC236}">
                <a16:creationId xmlns:a16="http://schemas.microsoft.com/office/drawing/2014/main" id="{428F5848-C0FC-4A73-A11D-737C77159B5B}"/>
              </a:ext>
            </a:extLst>
          </p:cNvPr>
          <p:cNvSpPr/>
          <p:nvPr/>
        </p:nvSpPr>
        <p:spPr bwMode="auto">
          <a:xfrm>
            <a:off x="8617766" y="1738449"/>
            <a:ext cx="519020" cy="404001"/>
          </a:xfrm>
          <a:custGeom>
            <a:avLst/>
            <a:gdLst>
              <a:gd name="T0" fmla="*/ 89 w 100"/>
              <a:gd name="T1" fmla="*/ 17 h 78"/>
              <a:gd name="T2" fmla="*/ 81 w 100"/>
              <a:gd name="T3" fmla="*/ 18 h 78"/>
              <a:gd name="T4" fmla="*/ 81 w 100"/>
              <a:gd name="T5" fmla="*/ 22 h 78"/>
              <a:gd name="T6" fmla="*/ 91 w 100"/>
              <a:gd name="T7" fmla="*/ 44 h 78"/>
              <a:gd name="T8" fmla="*/ 91 w 100"/>
              <a:gd name="T9" fmla="*/ 55 h 78"/>
              <a:gd name="T10" fmla="*/ 81 w 100"/>
              <a:gd name="T11" fmla="*/ 78 h 78"/>
              <a:gd name="T12" fmla="*/ 100 w 100"/>
              <a:gd name="T13" fmla="*/ 74 h 78"/>
              <a:gd name="T14" fmla="*/ 100 w 100"/>
              <a:gd name="T15" fmla="*/ 28 h 78"/>
              <a:gd name="T16" fmla="*/ 80 w 100"/>
              <a:gd name="T17" fmla="*/ 0 h 78"/>
              <a:gd name="T18" fmla="*/ 50 w 100"/>
              <a:gd name="T19" fmla="*/ 6 h 78"/>
              <a:gd name="T20" fmla="*/ 81 w 100"/>
              <a:gd name="T21" fmla="*/ 18 h 78"/>
              <a:gd name="T22" fmla="*/ 50 w 100"/>
              <a:gd name="T23" fmla="*/ 63 h 78"/>
              <a:gd name="T24" fmla="*/ 76 w 100"/>
              <a:gd name="T25" fmla="*/ 74 h 78"/>
              <a:gd name="T26" fmla="*/ 81 w 100"/>
              <a:gd name="T27" fmla="*/ 78 h 78"/>
              <a:gd name="T28" fmla="*/ 71 w 100"/>
              <a:gd name="T29" fmla="*/ 55 h 78"/>
              <a:gd name="T30" fmla="*/ 81 w 100"/>
              <a:gd name="T31" fmla="*/ 44 h 78"/>
              <a:gd name="T32" fmla="*/ 50 w 100"/>
              <a:gd name="T33" fmla="*/ 22 h 78"/>
              <a:gd name="T34" fmla="*/ 50 w 100"/>
              <a:gd name="T35" fmla="*/ 0 h 78"/>
              <a:gd name="T36" fmla="*/ 19 w 100"/>
              <a:gd name="T37" fmla="*/ 1 h 78"/>
              <a:gd name="T38" fmla="*/ 25 w 100"/>
              <a:gd name="T39" fmla="*/ 6 h 78"/>
              <a:gd name="T40" fmla="*/ 50 w 100"/>
              <a:gd name="T41" fmla="*/ 6 h 78"/>
              <a:gd name="T42" fmla="*/ 19 w 100"/>
              <a:gd name="T43" fmla="*/ 78 h 78"/>
              <a:gd name="T44" fmla="*/ 24 w 100"/>
              <a:gd name="T45" fmla="*/ 74 h 78"/>
              <a:gd name="T46" fmla="*/ 50 w 100"/>
              <a:gd name="T47" fmla="*/ 63 h 78"/>
              <a:gd name="T48" fmla="*/ 19 w 100"/>
              <a:gd name="T49" fmla="*/ 22 h 78"/>
              <a:gd name="T50" fmla="*/ 29 w 100"/>
              <a:gd name="T51" fmla="*/ 44 h 78"/>
              <a:gd name="T52" fmla="*/ 29 w 100"/>
              <a:gd name="T53" fmla="*/ 55 h 78"/>
              <a:gd name="T54" fmla="*/ 19 w 100"/>
              <a:gd name="T55" fmla="*/ 78 h 78"/>
              <a:gd name="T56" fmla="*/ 10 w 100"/>
              <a:gd name="T57" fmla="*/ 17 h 78"/>
              <a:gd name="T58" fmla="*/ 0 w 100"/>
              <a:gd name="T59" fmla="*/ 60 h 78"/>
              <a:gd name="T60" fmla="*/ 0 w 100"/>
              <a:gd name="T61" fmla="*/ 74 h 78"/>
              <a:gd name="T62" fmla="*/ 19 w 100"/>
              <a:gd name="T63" fmla="*/ 78 h 78"/>
              <a:gd name="T64" fmla="*/ 9 w 100"/>
              <a:gd name="T65" fmla="*/ 55 h 78"/>
              <a:gd name="T66" fmla="*/ 19 w 100"/>
              <a:gd name="T67" fmla="*/ 44 h 78"/>
              <a:gd name="T68" fmla="*/ 17 w 100"/>
              <a:gd name="T69" fmla="*/ 22 h 78"/>
              <a:gd name="T70" fmla="*/ 19 w 100"/>
              <a:gd name="T71" fmla="*/ 1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00" h="78">
                <a:moveTo>
                  <a:pt x="100" y="28"/>
                </a:moveTo>
                <a:cubicBezTo>
                  <a:pt x="89" y="17"/>
                  <a:pt x="89" y="17"/>
                  <a:pt x="89" y="17"/>
                </a:cubicBezTo>
                <a:cubicBezTo>
                  <a:pt x="81" y="1"/>
                  <a:pt x="81" y="1"/>
                  <a:pt x="81" y="1"/>
                </a:cubicBezTo>
                <a:cubicBezTo>
                  <a:pt x="81" y="18"/>
                  <a:pt x="81" y="18"/>
                  <a:pt x="81" y="18"/>
                </a:cubicBezTo>
                <a:cubicBezTo>
                  <a:pt x="83" y="22"/>
                  <a:pt x="83" y="22"/>
                  <a:pt x="83" y="22"/>
                </a:cubicBezTo>
                <a:cubicBezTo>
                  <a:pt x="81" y="22"/>
                  <a:pt x="81" y="22"/>
                  <a:pt x="81" y="22"/>
                </a:cubicBezTo>
                <a:cubicBezTo>
                  <a:pt x="81" y="44"/>
                  <a:pt x="81" y="44"/>
                  <a:pt x="81" y="44"/>
                </a:cubicBezTo>
                <a:cubicBezTo>
                  <a:pt x="91" y="44"/>
                  <a:pt x="91" y="44"/>
                  <a:pt x="91" y="44"/>
                </a:cubicBezTo>
                <a:cubicBezTo>
                  <a:pt x="91" y="55"/>
                  <a:pt x="91" y="55"/>
                  <a:pt x="91" y="55"/>
                </a:cubicBezTo>
                <a:cubicBezTo>
                  <a:pt x="91" y="55"/>
                  <a:pt x="91" y="55"/>
                  <a:pt x="91" y="55"/>
                </a:cubicBezTo>
                <a:cubicBezTo>
                  <a:pt x="81" y="55"/>
                  <a:pt x="81" y="55"/>
                  <a:pt x="81" y="55"/>
                </a:cubicBezTo>
                <a:cubicBezTo>
                  <a:pt x="81" y="78"/>
                  <a:pt x="81" y="78"/>
                  <a:pt x="81" y="78"/>
                </a:cubicBezTo>
                <a:cubicBezTo>
                  <a:pt x="95" y="78"/>
                  <a:pt x="95" y="78"/>
                  <a:pt x="95" y="78"/>
                </a:cubicBezTo>
                <a:cubicBezTo>
                  <a:pt x="97" y="78"/>
                  <a:pt x="100" y="76"/>
                  <a:pt x="100" y="74"/>
                </a:cubicBezTo>
                <a:cubicBezTo>
                  <a:pt x="100" y="63"/>
                  <a:pt x="100" y="63"/>
                  <a:pt x="100" y="63"/>
                </a:cubicBezTo>
                <a:lnTo>
                  <a:pt x="100" y="28"/>
                </a:lnTo>
                <a:close/>
                <a:moveTo>
                  <a:pt x="81" y="1"/>
                </a:moveTo>
                <a:cubicBezTo>
                  <a:pt x="80" y="0"/>
                  <a:pt x="80" y="0"/>
                  <a:pt x="8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6"/>
                  <a:pt x="50" y="6"/>
                  <a:pt x="50" y="6"/>
                </a:cubicBezTo>
                <a:cubicBezTo>
                  <a:pt x="75" y="6"/>
                  <a:pt x="75" y="6"/>
                  <a:pt x="75" y="6"/>
                </a:cubicBezTo>
                <a:cubicBezTo>
                  <a:pt x="81" y="18"/>
                  <a:pt x="81" y="18"/>
                  <a:pt x="81" y="18"/>
                </a:cubicBezTo>
                <a:cubicBezTo>
                  <a:pt x="81" y="1"/>
                  <a:pt x="81" y="1"/>
                  <a:pt x="81" y="1"/>
                </a:cubicBezTo>
                <a:close/>
                <a:moveTo>
                  <a:pt x="50" y="63"/>
                </a:moveTo>
                <a:cubicBezTo>
                  <a:pt x="76" y="63"/>
                  <a:pt x="76" y="63"/>
                  <a:pt x="76" y="63"/>
                </a:cubicBezTo>
                <a:cubicBezTo>
                  <a:pt x="76" y="74"/>
                  <a:pt x="76" y="74"/>
                  <a:pt x="76" y="74"/>
                </a:cubicBezTo>
                <a:cubicBezTo>
                  <a:pt x="76" y="76"/>
                  <a:pt x="78" y="78"/>
                  <a:pt x="80" y="78"/>
                </a:cubicBezTo>
                <a:cubicBezTo>
                  <a:pt x="81" y="78"/>
                  <a:pt x="81" y="78"/>
                  <a:pt x="81" y="78"/>
                </a:cubicBezTo>
                <a:cubicBezTo>
                  <a:pt x="81" y="55"/>
                  <a:pt x="81" y="55"/>
                  <a:pt x="81" y="55"/>
                </a:cubicBezTo>
                <a:cubicBezTo>
                  <a:pt x="71" y="55"/>
                  <a:pt x="71" y="55"/>
                  <a:pt x="71" y="55"/>
                </a:cubicBezTo>
                <a:cubicBezTo>
                  <a:pt x="71" y="44"/>
                  <a:pt x="71" y="44"/>
                  <a:pt x="71" y="44"/>
                </a:cubicBezTo>
                <a:cubicBezTo>
                  <a:pt x="81" y="44"/>
                  <a:pt x="81" y="44"/>
                  <a:pt x="81" y="44"/>
                </a:cubicBezTo>
                <a:cubicBezTo>
                  <a:pt x="81" y="22"/>
                  <a:pt x="81" y="22"/>
                  <a:pt x="81" y="22"/>
                </a:cubicBezTo>
                <a:cubicBezTo>
                  <a:pt x="50" y="22"/>
                  <a:pt x="50" y="22"/>
                  <a:pt x="50" y="22"/>
                </a:cubicBezTo>
                <a:lnTo>
                  <a:pt x="50" y="63"/>
                </a:lnTo>
                <a:close/>
                <a:moveTo>
                  <a:pt x="50" y="0"/>
                </a:moveTo>
                <a:cubicBezTo>
                  <a:pt x="20" y="0"/>
                  <a:pt x="20" y="0"/>
                  <a:pt x="20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18"/>
                  <a:pt x="19" y="18"/>
                  <a:pt x="19" y="18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6"/>
                  <a:pt x="25" y="6"/>
                  <a:pt x="25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0" y="0"/>
                  <a:pt x="50" y="0"/>
                  <a:pt x="50" y="0"/>
                </a:cubicBezTo>
                <a:close/>
                <a:moveTo>
                  <a:pt x="19" y="78"/>
                </a:moveTo>
                <a:cubicBezTo>
                  <a:pt x="19" y="78"/>
                  <a:pt x="19" y="78"/>
                  <a:pt x="19" y="78"/>
                </a:cubicBezTo>
                <a:cubicBezTo>
                  <a:pt x="22" y="78"/>
                  <a:pt x="24" y="76"/>
                  <a:pt x="24" y="74"/>
                </a:cubicBezTo>
                <a:cubicBezTo>
                  <a:pt x="24" y="63"/>
                  <a:pt x="24" y="63"/>
                  <a:pt x="24" y="63"/>
                </a:cubicBezTo>
                <a:cubicBezTo>
                  <a:pt x="50" y="63"/>
                  <a:pt x="50" y="63"/>
                  <a:pt x="50" y="63"/>
                </a:cubicBezTo>
                <a:cubicBezTo>
                  <a:pt x="50" y="22"/>
                  <a:pt x="50" y="22"/>
                  <a:pt x="50" y="22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44"/>
                  <a:pt x="19" y="44"/>
                  <a:pt x="19" y="44"/>
                </a:cubicBezTo>
                <a:cubicBezTo>
                  <a:pt x="29" y="44"/>
                  <a:pt x="29" y="44"/>
                  <a:pt x="29" y="44"/>
                </a:cubicBezTo>
                <a:cubicBezTo>
                  <a:pt x="29" y="55"/>
                  <a:pt x="29" y="55"/>
                  <a:pt x="29" y="55"/>
                </a:cubicBezTo>
                <a:cubicBezTo>
                  <a:pt x="29" y="55"/>
                  <a:pt x="29" y="55"/>
                  <a:pt x="29" y="55"/>
                </a:cubicBezTo>
                <a:cubicBezTo>
                  <a:pt x="19" y="55"/>
                  <a:pt x="19" y="55"/>
                  <a:pt x="19" y="55"/>
                </a:cubicBezTo>
                <a:lnTo>
                  <a:pt x="19" y="78"/>
                </a:lnTo>
                <a:close/>
                <a:moveTo>
                  <a:pt x="19" y="1"/>
                </a:moveTo>
                <a:cubicBezTo>
                  <a:pt x="10" y="17"/>
                  <a:pt x="10" y="17"/>
                  <a:pt x="10" y="17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6"/>
                  <a:pt x="2" y="78"/>
                  <a:pt x="5" y="78"/>
                </a:cubicBezTo>
                <a:cubicBezTo>
                  <a:pt x="19" y="78"/>
                  <a:pt x="19" y="78"/>
                  <a:pt x="19" y="78"/>
                </a:cubicBezTo>
                <a:cubicBezTo>
                  <a:pt x="19" y="55"/>
                  <a:pt x="19" y="55"/>
                  <a:pt x="19" y="55"/>
                </a:cubicBezTo>
                <a:cubicBezTo>
                  <a:pt x="9" y="55"/>
                  <a:pt x="9" y="55"/>
                  <a:pt x="9" y="55"/>
                </a:cubicBezTo>
                <a:cubicBezTo>
                  <a:pt x="9" y="44"/>
                  <a:pt x="9" y="44"/>
                  <a:pt x="9" y="44"/>
                </a:cubicBezTo>
                <a:cubicBezTo>
                  <a:pt x="19" y="44"/>
                  <a:pt x="19" y="44"/>
                  <a:pt x="19" y="44"/>
                </a:cubicBezTo>
                <a:cubicBezTo>
                  <a:pt x="19" y="22"/>
                  <a:pt x="19" y="22"/>
                  <a:pt x="19" y="22"/>
                </a:cubicBezTo>
                <a:cubicBezTo>
                  <a:pt x="17" y="22"/>
                  <a:pt x="17" y="22"/>
                  <a:pt x="17" y="22"/>
                </a:cubicBezTo>
                <a:cubicBezTo>
                  <a:pt x="19" y="18"/>
                  <a:pt x="19" y="18"/>
                  <a:pt x="19" y="18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0" name="îs1ïďé">
            <a:extLst>
              <a:ext uri="{FF2B5EF4-FFF2-40B4-BE49-F238E27FC236}">
                <a16:creationId xmlns:a16="http://schemas.microsoft.com/office/drawing/2014/main" id="{F56EE8C2-A6C5-4AD8-A1A1-73640A1712C9}"/>
              </a:ext>
            </a:extLst>
          </p:cNvPr>
          <p:cNvSpPr/>
          <p:nvPr/>
        </p:nvSpPr>
        <p:spPr bwMode="auto">
          <a:xfrm>
            <a:off x="6950002" y="5059595"/>
            <a:ext cx="439944" cy="445695"/>
          </a:xfrm>
          <a:custGeom>
            <a:avLst/>
            <a:gdLst>
              <a:gd name="T0" fmla="*/ 64 w 85"/>
              <a:gd name="T1" fmla="*/ 80 h 86"/>
              <a:gd name="T2" fmla="*/ 79 w 85"/>
              <a:gd name="T3" fmla="*/ 64 h 86"/>
              <a:gd name="T4" fmla="*/ 84 w 85"/>
              <a:gd name="T5" fmla="*/ 52 h 86"/>
              <a:gd name="T6" fmla="*/ 84 w 85"/>
              <a:gd name="T7" fmla="*/ 34 h 86"/>
              <a:gd name="T8" fmla="*/ 79 w 85"/>
              <a:gd name="T9" fmla="*/ 22 h 86"/>
              <a:gd name="T10" fmla="*/ 64 w 85"/>
              <a:gd name="T11" fmla="*/ 6 h 86"/>
              <a:gd name="T12" fmla="*/ 58 w 85"/>
              <a:gd name="T13" fmla="*/ 3 h 86"/>
              <a:gd name="T14" fmla="*/ 45 w 85"/>
              <a:gd name="T15" fmla="*/ 0 h 86"/>
              <a:gd name="T16" fmla="*/ 47 w 85"/>
              <a:gd name="T17" fmla="*/ 5 h 86"/>
              <a:gd name="T18" fmla="*/ 53 w 85"/>
              <a:gd name="T19" fmla="*/ 5 h 86"/>
              <a:gd name="T20" fmla="*/ 57 w 85"/>
              <a:gd name="T21" fmla="*/ 6 h 86"/>
              <a:gd name="T22" fmla="*/ 56 w 85"/>
              <a:gd name="T23" fmla="*/ 7 h 86"/>
              <a:gd name="T24" fmla="*/ 49 w 85"/>
              <a:gd name="T25" fmla="*/ 9 h 86"/>
              <a:gd name="T26" fmla="*/ 50 w 85"/>
              <a:gd name="T27" fmla="*/ 14 h 86"/>
              <a:gd name="T28" fmla="*/ 54 w 85"/>
              <a:gd name="T29" fmla="*/ 17 h 86"/>
              <a:gd name="T30" fmla="*/ 60 w 85"/>
              <a:gd name="T31" fmla="*/ 9 h 86"/>
              <a:gd name="T32" fmla="*/ 65 w 85"/>
              <a:gd name="T33" fmla="*/ 10 h 86"/>
              <a:gd name="T34" fmla="*/ 68 w 85"/>
              <a:gd name="T35" fmla="*/ 12 h 86"/>
              <a:gd name="T36" fmla="*/ 70 w 85"/>
              <a:gd name="T37" fmla="*/ 18 h 86"/>
              <a:gd name="T38" fmla="*/ 69 w 85"/>
              <a:gd name="T39" fmla="*/ 21 h 86"/>
              <a:gd name="T40" fmla="*/ 67 w 85"/>
              <a:gd name="T41" fmla="*/ 19 h 86"/>
              <a:gd name="T42" fmla="*/ 61 w 85"/>
              <a:gd name="T43" fmla="*/ 19 h 86"/>
              <a:gd name="T44" fmla="*/ 65 w 85"/>
              <a:gd name="T45" fmla="*/ 21 h 86"/>
              <a:gd name="T46" fmla="*/ 56 w 85"/>
              <a:gd name="T47" fmla="*/ 25 h 86"/>
              <a:gd name="T48" fmla="*/ 52 w 85"/>
              <a:gd name="T49" fmla="*/ 28 h 86"/>
              <a:gd name="T50" fmla="*/ 46 w 85"/>
              <a:gd name="T51" fmla="*/ 33 h 86"/>
              <a:gd name="T52" fmla="*/ 49 w 85"/>
              <a:gd name="T53" fmla="*/ 51 h 86"/>
              <a:gd name="T54" fmla="*/ 54 w 85"/>
              <a:gd name="T55" fmla="*/ 52 h 86"/>
              <a:gd name="T56" fmla="*/ 59 w 85"/>
              <a:gd name="T57" fmla="*/ 54 h 86"/>
              <a:gd name="T58" fmla="*/ 66 w 85"/>
              <a:gd name="T59" fmla="*/ 58 h 86"/>
              <a:gd name="T60" fmla="*/ 71 w 85"/>
              <a:gd name="T61" fmla="*/ 62 h 86"/>
              <a:gd name="T62" fmla="*/ 77 w 85"/>
              <a:gd name="T63" fmla="*/ 64 h 86"/>
              <a:gd name="T64" fmla="*/ 49 w 85"/>
              <a:gd name="T65" fmla="*/ 75 h 86"/>
              <a:gd name="T66" fmla="*/ 0 w 85"/>
              <a:gd name="T67" fmla="*/ 36 h 86"/>
              <a:gd name="T68" fmla="*/ 1 w 85"/>
              <a:gd name="T69" fmla="*/ 54 h 86"/>
              <a:gd name="T70" fmla="*/ 9 w 85"/>
              <a:gd name="T71" fmla="*/ 69 h 86"/>
              <a:gd name="T72" fmla="*/ 27 w 85"/>
              <a:gd name="T73" fmla="*/ 83 h 86"/>
              <a:gd name="T74" fmla="*/ 43 w 85"/>
              <a:gd name="T75" fmla="*/ 68 h 86"/>
              <a:gd name="T76" fmla="*/ 42 w 85"/>
              <a:gd name="T77" fmla="*/ 61 h 86"/>
              <a:gd name="T78" fmla="*/ 44 w 85"/>
              <a:gd name="T79" fmla="*/ 55 h 86"/>
              <a:gd name="T80" fmla="*/ 39 w 85"/>
              <a:gd name="T81" fmla="*/ 53 h 86"/>
              <a:gd name="T82" fmla="*/ 33 w 85"/>
              <a:gd name="T83" fmla="*/ 49 h 86"/>
              <a:gd name="T84" fmla="*/ 24 w 85"/>
              <a:gd name="T85" fmla="*/ 46 h 86"/>
              <a:gd name="T86" fmla="*/ 21 w 85"/>
              <a:gd name="T87" fmla="*/ 38 h 86"/>
              <a:gd name="T88" fmla="*/ 18 w 85"/>
              <a:gd name="T89" fmla="*/ 37 h 86"/>
              <a:gd name="T90" fmla="*/ 18 w 85"/>
              <a:gd name="T91" fmla="*/ 39 h 86"/>
              <a:gd name="T92" fmla="*/ 15 w 85"/>
              <a:gd name="T93" fmla="*/ 32 h 86"/>
              <a:gd name="T94" fmla="*/ 15 w 85"/>
              <a:gd name="T95" fmla="*/ 25 h 86"/>
              <a:gd name="T96" fmla="*/ 19 w 85"/>
              <a:gd name="T97" fmla="*/ 17 h 86"/>
              <a:gd name="T98" fmla="*/ 18 w 85"/>
              <a:gd name="T99" fmla="*/ 12 h 86"/>
              <a:gd name="T100" fmla="*/ 38 w 85"/>
              <a:gd name="T101" fmla="*/ 3 h 86"/>
              <a:gd name="T102" fmla="*/ 45 w 85"/>
              <a:gd name="T103" fmla="*/ 0 h 86"/>
              <a:gd name="T104" fmla="*/ 26 w 85"/>
              <a:gd name="T105" fmla="*/ 3 h 86"/>
              <a:gd name="T106" fmla="*/ 12 w 85"/>
              <a:gd name="T107" fmla="*/ 13 h 86"/>
              <a:gd name="T108" fmla="*/ 3 w 85"/>
              <a:gd name="T109" fmla="*/ 27 h 86"/>
              <a:gd name="T110" fmla="*/ 45 w 85"/>
              <a:gd name="T111" fmla="*/ 54 h 86"/>
              <a:gd name="T112" fmla="*/ 39 w 85"/>
              <a:gd name="T113" fmla="*/ 47 h 86"/>
              <a:gd name="T114" fmla="*/ 38 w 85"/>
              <a:gd name="T115" fmla="*/ 44 h 86"/>
              <a:gd name="T116" fmla="*/ 30 w 85"/>
              <a:gd name="T117" fmla="*/ 45 h 86"/>
              <a:gd name="T118" fmla="*/ 34 w 85"/>
              <a:gd name="T119" fmla="*/ 36 h 86"/>
              <a:gd name="T120" fmla="*/ 42 w 85"/>
              <a:gd name="T121" fmla="*/ 36 h 86"/>
              <a:gd name="T122" fmla="*/ 44 w 85"/>
              <a:gd name="T123" fmla="*/ 3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5" h="86">
                <a:moveTo>
                  <a:pt x="45" y="85"/>
                </a:moveTo>
                <a:cubicBezTo>
                  <a:pt x="48" y="85"/>
                  <a:pt x="50" y="85"/>
                  <a:pt x="52" y="84"/>
                </a:cubicBezTo>
                <a:cubicBezTo>
                  <a:pt x="53" y="84"/>
                  <a:pt x="55" y="84"/>
                  <a:pt x="56" y="83"/>
                </a:cubicBezTo>
                <a:cubicBezTo>
                  <a:pt x="57" y="83"/>
                  <a:pt x="57" y="83"/>
                  <a:pt x="58" y="83"/>
                </a:cubicBezTo>
                <a:cubicBezTo>
                  <a:pt x="59" y="82"/>
                  <a:pt x="61" y="82"/>
                  <a:pt x="62" y="81"/>
                </a:cubicBezTo>
                <a:cubicBezTo>
                  <a:pt x="63" y="81"/>
                  <a:pt x="63" y="80"/>
                  <a:pt x="64" y="80"/>
                </a:cubicBezTo>
                <a:cubicBezTo>
                  <a:pt x="66" y="78"/>
                  <a:pt x="69" y="77"/>
                  <a:pt x="71" y="74"/>
                </a:cubicBezTo>
                <a:cubicBezTo>
                  <a:pt x="72" y="74"/>
                  <a:pt x="72" y="74"/>
                  <a:pt x="73" y="73"/>
                </a:cubicBezTo>
                <a:cubicBezTo>
                  <a:pt x="73" y="73"/>
                  <a:pt x="74" y="72"/>
                  <a:pt x="74" y="72"/>
                </a:cubicBezTo>
                <a:cubicBezTo>
                  <a:pt x="75" y="71"/>
                  <a:pt x="75" y="70"/>
                  <a:pt x="76" y="69"/>
                </a:cubicBezTo>
                <a:cubicBezTo>
                  <a:pt x="77" y="68"/>
                  <a:pt x="78" y="67"/>
                  <a:pt x="79" y="65"/>
                </a:cubicBezTo>
                <a:cubicBezTo>
                  <a:pt x="79" y="65"/>
                  <a:pt x="79" y="65"/>
                  <a:pt x="79" y="64"/>
                </a:cubicBezTo>
                <a:cubicBezTo>
                  <a:pt x="80" y="64"/>
                  <a:pt x="80" y="63"/>
                  <a:pt x="80" y="62"/>
                </a:cubicBezTo>
                <a:cubicBezTo>
                  <a:pt x="81" y="62"/>
                  <a:pt x="81" y="62"/>
                  <a:pt x="81" y="61"/>
                </a:cubicBezTo>
                <a:cubicBezTo>
                  <a:pt x="81" y="61"/>
                  <a:pt x="82" y="60"/>
                  <a:pt x="82" y="60"/>
                </a:cubicBezTo>
                <a:cubicBezTo>
                  <a:pt x="82" y="59"/>
                  <a:pt x="82" y="58"/>
                  <a:pt x="83" y="58"/>
                </a:cubicBezTo>
                <a:cubicBezTo>
                  <a:pt x="83" y="56"/>
                  <a:pt x="83" y="55"/>
                  <a:pt x="84" y="54"/>
                </a:cubicBezTo>
                <a:cubicBezTo>
                  <a:pt x="84" y="53"/>
                  <a:pt x="84" y="52"/>
                  <a:pt x="84" y="52"/>
                </a:cubicBezTo>
                <a:cubicBezTo>
                  <a:pt x="84" y="51"/>
                  <a:pt x="85" y="50"/>
                  <a:pt x="85" y="49"/>
                </a:cubicBezTo>
                <a:cubicBezTo>
                  <a:pt x="85" y="49"/>
                  <a:pt x="85" y="48"/>
                  <a:pt x="85" y="47"/>
                </a:cubicBezTo>
                <a:cubicBezTo>
                  <a:pt x="85" y="46"/>
                  <a:pt x="85" y="44"/>
                  <a:pt x="85" y="43"/>
                </a:cubicBezTo>
                <a:cubicBezTo>
                  <a:pt x="85" y="41"/>
                  <a:pt x="85" y="40"/>
                  <a:pt x="85" y="39"/>
                </a:cubicBezTo>
                <a:cubicBezTo>
                  <a:pt x="85" y="38"/>
                  <a:pt x="85" y="37"/>
                  <a:pt x="85" y="36"/>
                </a:cubicBezTo>
                <a:cubicBezTo>
                  <a:pt x="85" y="36"/>
                  <a:pt x="84" y="35"/>
                  <a:pt x="84" y="34"/>
                </a:cubicBezTo>
                <a:cubicBezTo>
                  <a:pt x="84" y="34"/>
                  <a:pt x="84" y="33"/>
                  <a:pt x="84" y="32"/>
                </a:cubicBezTo>
                <a:cubicBezTo>
                  <a:pt x="83" y="31"/>
                  <a:pt x="83" y="30"/>
                  <a:pt x="83" y="28"/>
                </a:cubicBezTo>
                <a:cubicBezTo>
                  <a:pt x="82" y="28"/>
                  <a:pt x="82" y="28"/>
                  <a:pt x="82" y="27"/>
                </a:cubicBezTo>
                <a:cubicBezTo>
                  <a:pt x="82" y="26"/>
                  <a:pt x="81" y="25"/>
                  <a:pt x="81" y="24"/>
                </a:cubicBezTo>
                <a:cubicBezTo>
                  <a:pt x="81" y="24"/>
                  <a:pt x="81" y="24"/>
                  <a:pt x="80" y="23"/>
                </a:cubicBezTo>
                <a:cubicBezTo>
                  <a:pt x="80" y="23"/>
                  <a:pt x="80" y="22"/>
                  <a:pt x="79" y="22"/>
                </a:cubicBezTo>
                <a:cubicBezTo>
                  <a:pt x="78" y="20"/>
                  <a:pt x="77" y="18"/>
                  <a:pt x="76" y="17"/>
                </a:cubicBezTo>
                <a:cubicBezTo>
                  <a:pt x="75" y="16"/>
                  <a:pt x="75" y="15"/>
                  <a:pt x="74" y="14"/>
                </a:cubicBezTo>
                <a:cubicBezTo>
                  <a:pt x="74" y="14"/>
                  <a:pt x="73" y="13"/>
                  <a:pt x="73" y="13"/>
                </a:cubicBezTo>
                <a:cubicBezTo>
                  <a:pt x="72" y="12"/>
                  <a:pt x="72" y="12"/>
                  <a:pt x="71" y="11"/>
                </a:cubicBezTo>
                <a:cubicBezTo>
                  <a:pt x="70" y="10"/>
                  <a:pt x="69" y="10"/>
                  <a:pt x="68" y="9"/>
                </a:cubicBezTo>
                <a:cubicBezTo>
                  <a:pt x="67" y="8"/>
                  <a:pt x="65" y="7"/>
                  <a:pt x="64" y="6"/>
                </a:cubicBezTo>
                <a:cubicBezTo>
                  <a:pt x="63" y="6"/>
                  <a:pt x="63" y="5"/>
                  <a:pt x="62" y="5"/>
                </a:cubicBezTo>
                <a:cubicBezTo>
                  <a:pt x="62" y="5"/>
                  <a:pt x="61" y="5"/>
                  <a:pt x="61" y="5"/>
                </a:cubicBezTo>
                <a:cubicBezTo>
                  <a:pt x="61" y="4"/>
                  <a:pt x="60" y="4"/>
                  <a:pt x="60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59" y="4"/>
                  <a:pt x="59" y="3"/>
                  <a:pt x="58" y="3"/>
                </a:cubicBezTo>
                <a:cubicBezTo>
                  <a:pt x="58" y="3"/>
                  <a:pt x="58" y="3"/>
                  <a:pt x="58" y="3"/>
                </a:cubicBezTo>
                <a:cubicBezTo>
                  <a:pt x="58" y="3"/>
                  <a:pt x="57" y="3"/>
                  <a:pt x="56" y="3"/>
                </a:cubicBezTo>
                <a:cubicBezTo>
                  <a:pt x="56" y="3"/>
                  <a:pt x="56" y="3"/>
                  <a:pt x="56" y="3"/>
                </a:cubicBezTo>
                <a:cubicBezTo>
                  <a:pt x="55" y="2"/>
                  <a:pt x="54" y="2"/>
                  <a:pt x="52" y="1"/>
                </a:cubicBezTo>
                <a:cubicBezTo>
                  <a:pt x="52" y="1"/>
                  <a:pt x="51" y="1"/>
                  <a:pt x="51" y="1"/>
                </a:cubicBezTo>
                <a:cubicBezTo>
                  <a:pt x="51" y="1"/>
                  <a:pt x="50" y="1"/>
                  <a:pt x="50" y="1"/>
                </a:cubicBezTo>
                <a:cubicBezTo>
                  <a:pt x="49" y="1"/>
                  <a:pt x="47" y="0"/>
                  <a:pt x="45" y="0"/>
                </a:cubicBezTo>
                <a:cubicBezTo>
                  <a:pt x="45" y="3"/>
                  <a:pt x="45" y="3"/>
                  <a:pt x="45" y="3"/>
                </a:cubicBezTo>
                <a:cubicBezTo>
                  <a:pt x="47" y="3"/>
                  <a:pt x="49" y="3"/>
                  <a:pt x="51" y="3"/>
                </a:cubicBezTo>
                <a:cubicBezTo>
                  <a:pt x="50" y="4"/>
                  <a:pt x="50" y="4"/>
                  <a:pt x="50" y="4"/>
                </a:cubicBezTo>
                <a:cubicBezTo>
                  <a:pt x="49" y="4"/>
                  <a:pt x="49" y="4"/>
                  <a:pt x="49" y="4"/>
                </a:cubicBezTo>
                <a:cubicBezTo>
                  <a:pt x="48" y="4"/>
                  <a:pt x="48" y="4"/>
                  <a:pt x="47" y="4"/>
                </a:cubicBezTo>
                <a:cubicBezTo>
                  <a:pt x="47" y="4"/>
                  <a:pt x="47" y="4"/>
                  <a:pt x="47" y="5"/>
                </a:cubicBezTo>
                <a:cubicBezTo>
                  <a:pt x="48" y="5"/>
                  <a:pt x="49" y="5"/>
                  <a:pt x="49" y="5"/>
                </a:cubicBezTo>
                <a:cubicBezTo>
                  <a:pt x="50" y="5"/>
                  <a:pt x="51" y="5"/>
                  <a:pt x="51" y="5"/>
                </a:cubicBezTo>
                <a:cubicBezTo>
                  <a:pt x="51" y="4"/>
                  <a:pt x="51" y="4"/>
                  <a:pt x="51" y="4"/>
                </a:cubicBezTo>
                <a:cubicBezTo>
                  <a:pt x="51" y="4"/>
                  <a:pt x="52" y="4"/>
                  <a:pt x="52" y="4"/>
                </a:cubicBezTo>
                <a:cubicBezTo>
                  <a:pt x="52" y="4"/>
                  <a:pt x="53" y="4"/>
                  <a:pt x="53" y="4"/>
                </a:cubicBezTo>
                <a:cubicBezTo>
                  <a:pt x="53" y="4"/>
                  <a:pt x="53" y="4"/>
                  <a:pt x="53" y="5"/>
                </a:cubicBezTo>
                <a:cubicBezTo>
                  <a:pt x="53" y="5"/>
                  <a:pt x="54" y="5"/>
                  <a:pt x="54" y="4"/>
                </a:cubicBezTo>
                <a:cubicBezTo>
                  <a:pt x="54" y="4"/>
                  <a:pt x="54" y="4"/>
                  <a:pt x="54" y="4"/>
                </a:cubicBezTo>
                <a:cubicBezTo>
                  <a:pt x="55" y="4"/>
                  <a:pt x="55" y="5"/>
                  <a:pt x="56" y="5"/>
                </a:cubicBezTo>
                <a:cubicBezTo>
                  <a:pt x="57" y="5"/>
                  <a:pt x="58" y="6"/>
                  <a:pt x="59" y="6"/>
                </a:cubicBezTo>
                <a:cubicBezTo>
                  <a:pt x="59" y="6"/>
                  <a:pt x="58" y="6"/>
                  <a:pt x="58" y="6"/>
                </a:cubicBezTo>
                <a:cubicBezTo>
                  <a:pt x="58" y="6"/>
                  <a:pt x="58" y="6"/>
                  <a:pt x="57" y="6"/>
                </a:cubicBezTo>
                <a:cubicBezTo>
                  <a:pt x="57" y="6"/>
                  <a:pt x="58" y="7"/>
                  <a:pt x="58" y="7"/>
                </a:cubicBezTo>
                <a:cubicBezTo>
                  <a:pt x="59" y="7"/>
                  <a:pt x="59" y="7"/>
                  <a:pt x="59" y="8"/>
                </a:cubicBezTo>
                <a:cubicBezTo>
                  <a:pt x="59" y="9"/>
                  <a:pt x="58" y="8"/>
                  <a:pt x="58" y="8"/>
                </a:cubicBezTo>
                <a:cubicBezTo>
                  <a:pt x="57" y="8"/>
                  <a:pt x="56" y="9"/>
                  <a:pt x="55" y="8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6" y="7"/>
                  <a:pt x="56" y="7"/>
                </a:cubicBezTo>
                <a:cubicBezTo>
                  <a:pt x="56" y="7"/>
                  <a:pt x="55" y="7"/>
                  <a:pt x="55" y="7"/>
                </a:cubicBezTo>
                <a:cubicBezTo>
                  <a:pt x="55" y="7"/>
                  <a:pt x="55" y="8"/>
                  <a:pt x="54" y="8"/>
                </a:cubicBezTo>
                <a:cubicBezTo>
                  <a:pt x="54" y="8"/>
                  <a:pt x="54" y="8"/>
                  <a:pt x="53" y="8"/>
                </a:cubicBezTo>
                <a:cubicBezTo>
                  <a:pt x="53" y="8"/>
                  <a:pt x="52" y="8"/>
                  <a:pt x="52" y="9"/>
                </a:cubicBezTo>
                <a:cubicBezTo>
                  <a:pt x="52" y="9"/>
                  <a:pt x="51" y="9"/>
                  <a:pt x="51" y="9"/>
                </a:cubicBezTo>
                <a:cubicBezTo>
                  <a:pt x="51" y="9"/>
                  <a:pt x="50" y="9"/>
                  <a:pt x="49" y="9"/>
                </a:cubicBezTo>
                <a:cubicBezTo>
                  <a:pt x="49" y="10"/>
                  <a:pt x="48" y="10"/>
                  <a:pt x="48" y="10"/>
                </a:cubicBezTo>
                <a:cubicBezTo>
                  <a:pt x="48" y="11"/>
                  <a:pt x="47" y="11"/>
                  <a:pt x="47" y="11"/>
                </a:cubicBezTo>
                <a:cubicBezTo>
                  <a:pt x="47" y="12"/>
                  <a:pt x="48" y="12"/>
                  <a:pt x="48" y="12"/>
                </a:cubicBezTo>
                <a:cubicBezTo>
                  <a:pt x="48" y="12"/>
                  <a:pt x="47" y="13"/>
                  <a:pt x="48" y="13"/>
                </a:cubicBezTo>
                <a:cubicBezTo>
                  <a:pt x="48" y="13"/>
                  <a:pt x="48" y="13"/>
                  <a:pt x="48" y="13"/>
                </a:cubicBezTo>
                <a:cubicBezTo>
                  <a:pt x="49" y="13"/>
                  <a:pt x="50" y="14"/>
                  <a:pt x="50" y="14"/>
                </a:cubicBezTo>
                <a:cubicBezTo>
                  <a:pt x="51" y="14"/>
                  <a:pt x="51" y="14"/>
                  <a:pt x="52" y="14"/>
                </a:cubicBezTo>
                <a:cubicBezTo>
                  <a:pt x="52" y="14"/>
                  <a:pt x="53" y="14"/>
                  <a:pt x="53" y="15"/>
                </a:cubicBezTo>
                <a:cubicBezTo>
                  <a:pt x="53" y="15"/>
                  <a:pt x="52" y="15"/>
                  <a:pt x="52" y="16"/>
                </a:cubicBezTo>
                <a:cubicBezTo>
                  <a:pt x="53" y="16"/>
                  <a:pt x="52" y="16"/>
                  <a:pt x="52" y="17"/>
                </a:cubicBezTo>
                <a:cubicBezTo>
                  <a:pt x="52" y="17"/>
                  <a:pt x="53" y="18"/>
                  <a:pt x="53" y="18"/>
                </a:cubicBezTo>
                <a:cubicBezTo>
                  <a:pt x="53" y="18"/>
                  <a:pt x="54" y="17"/>
                  <a:pt x="54" y="17"/>
                </a:cubicBezTo>
                <a:cubicBezTo>
                  <a:pt x="54" y="16"/>
                  <a:pt x="54" y="15"/>
                  <a:pt x="55" y="15"/>
                </a:cubicBezTo>
                <a:cubicBezTo>
                  <a:pt x="57" y="15"/>
                  <a:pt x="59" y="14"/>
                  <a:pt x="59" y="12"/>
                </a:cubicBezTo>
                <a:cubicBezTo>
                  <a:pt x="59" y="12"/>
                  <a:pt x="58" y="11"/>
                  <a:pt x="59" y="11"/>
                </a:cubicBezTo>
                <a:cubicBezTo>
                  <a:pt x="59" y="11"/>
                  <a:pt x="59" y="10"/>
                  <a:pt x="59" y="10"/>
                </a:cubicBezTo>
                <a:cubicBezTo>
                  <a:pt x="59" y="10"/>
                  <a:pt x="59" y="10"/>
                  <a:pt x="60" y="10"/>
                </a:cubicBezTo>
                <a:cubicBezTo>
                  <a:pt x="60" y="9"/>
                  <a:pt x="60" y="9"/>
                  <a:pt x="60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0" y="9"/>
                  <a:pt x="61" y="9"/>
                  <a:pt x="61" y="9"/>
                </a:cubicBezTo>
                <a:cubicBezTo>
                  <a:pt x="61" y="9"/>
                  <a:pt x="62" y="9"/>
                  <a:pt x="62" y="9"/>
                </a:cubicBezTo>
                <a:cubicBezTo>
                  <a:pt x="62" y="9"/>
                  <a:pt x="63" y="9"/>
                  <a:pt x="63" y="9"/>
                </a:cubicBezTo>
                <a:cubicBezTo>
                  <a:pt x="63" y="9"/>
                  <a:pt x="64" y="9"/>
                  <a:pt x="64" y="10"/>
                </a:cubicBezTo>
                <a:cubicBezTo>
                  <a:pt x="64" y="10"/>
                  <a:pt x="64" y="10"/>
                  <a:pt x="65" y="10"/>
                </a:cubicBezTo>
                <a:cubicBezTo>
                  <a:pt x="64" y="11"/>
                  <a:pt x="64" y="11"/>
                  <a:pt x="64" y="11"/>
                </a:cubicBezTo>
                <a:cubicBezTo>
                  <a:pt x="64" y="11"/>
                  <a:pt x="64" y="11"/>
                  <a:pt x="64" y="11"/>
                </a:cubicBezTo>
                <a:cubicBezTo>
                  <a:pt x="64" y="12"/>
                  <a:pt x="65" y="12"/>
                  <a:pt x="65" y="12"/>
                </a:cubicBezTo>
                <a:cubicBezTo>
                  <a:pt x="65" y="12"/>
                  <a:pt x="66" y="12"/>
                  <a:pt x="66" y="12"/>
                </a:cubicBezTo>
                <a:cubicBezTo>
                  <a:pt x="66" y="11"/>
                  <a:pt x="67" y="11"/>
                  <a:pt x="67" y="11"/>
                </a:cubicBezTo>
                <a:cubicBezTo>
                  <a:pt x="67" y="11"/>
                  <a:pt x="68" y="12"/>
                  <a:pt x="68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13"/>
                  <a:pt x="68" y="13"/>
                  <a:pt x="68" y="14"/>
                </a:cubicBezTo>
                <a:cubicBezTo>
                  <a:pt x="68" y="15"/>
                  <a:pt x="69" y="14"/>
                  <a:pt x="70" y="15"/>
                </a:cubicBezTo>
                <a:cubicBezTo>
                  <a:pt x="70" y="15"/>
                  <a:pt x="70" y="15"/>
                  <a:pt x="70" y="15"/>
                </a:cubicBezTo>
                <a:cubicBezTo>
                  <a:pt x="70" y="16"/>
                  <a:pt x="71" y="16"/>
                  <a:pt x="71" y="16"/>
                </a:cubicBezTo>
                <a:cubicBezTo>
                  <a:pt x="71" y="17"/>
                  <a:pt x="70" y="17"/>
                  <a:pt x="70" y="18"/>
                </a:cubicBezTo>
                <a:cubicBezTo>
                  <a:pt x="70" y="18"/>
                  <a:pt x="70" y="18"/>
                  <a:pt x="70" y="19"/>
                </a:cubicBezTo>
                <a:cubicBezTo>
                  <a:pt x="70" y="19"/>
                  <a:pt x="71" y="19"/>
                  <a:pt x="71" y="19"/>
                </a:cubicBezTo>
                <a:cubicBezTo>
                  <a:pt x="71" y="20"/>
                  <a:pt x="71" y="20"/>
                  <a:pt x="71" y="20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1"/>
                  <a:pt x="70" y="21"/>
                  <a:pt x="70" y="21"/>
                </a:cubicBezTo>
                <a:cubicBezTo>
                  <a:pt x="69" y="21"/>
                  <a:pt x="69" y="21"/>
                  <a:pt x="69" y="21"/>
                </a:cubicBezTo>
                <a:cubicBezTo>
                  <a:pt x="69" y="21"/>
                  <a:pt x="68" y="21"/>
                  <a:pt x="68" y="21"/>
                </a:cubicBezTo>
                <a:cubicBezTo>
                  <a:pt x="68" y="21"/>
                  <a:pt x="67" y="21"/>
                  <a:pt x="67" y="20"/>
                </a:cubicBezTo>
                <a:cubicBezTo>
                  <a:pt x="67" y="20"/>
                  <a:pt x="68" y="19"/>
                  <a:pt x="69" y="18"/>
                </a:cubicBezTo>
                <a:cubicBezTo>
                  <a:pt x="69" y="18"/>
                  <a:pt x="69" y="18"/>
                  <a:pt x="69" y="18"/>
                </a:cubicBezTo>
                <a:cubicBezTo>
                  <a:pt x="69" y="17"/>
                  <a:pt x="68" y="18"/>
                  <a:pt x="68" y="18"/>
                </a:cubicBezTo>
                <a:cubicBezTo>
                  <a:pt x="68" y="18"/>
                  <a:pt x="67" y="18"/>
                  <a:pt x="67" y="19"/>
                </a:cubicBezTo>
                <a:cubicBezTo>
                  <a:pt x="66" y="19"/>
                  <a:pt x="65" y="18"/>
                  <a:pt x="64" y="19"/>
                </a:cubicBezTo>
                <a:cubicBezTo>
                  <a:pt x="64" y="19"/>
                  <a:pt x="65" y="19"/>
                  <a:pt x="65" y="19"/>
                </a:cubicBezTo>
                <a:cubicBezTo>
                  <a:pt x="65" y="19"/>
                  <a:pt x="64" y="20"/>
                  <a:pt x="64" y="19"/>
                </a:cubicBezTo>
                <a:cubicBezTo>
                  <a:pt x="64" y="19"/>
                  <a:pt x="64" y="19"/>
                  <a:pt x="64" y="19"/>
                </a:cubicBezTo>
                <a:cubicBezTo>
                  <a:pt x="64" y="19"/>
                  <a:pt x="63" y="18"/>
                  <a:pt x="62" y="19"/>
                </a:cubicBezTo>
                <a:cubicBezTo>
                  <a:pt x="62" y="19"/>
                  <a:pt x="61" y="19"/>
                  <a:pt x="61" y="19"/>
                </a:cubicBezTo>
                <a:cubicBezTo>
                  <a:pt x="62" y="20"/>
                  <a:pt x="63" y="19"/>
                  <a:pt x="63" y="20"/>
                </a:cubicBezTo>
                <a:cubicBezTo>
                  <a:pt x="63" y="20"/>
                  <a:pt x="62" y="21"/>
                  <a:pt x="62" y="21"/>
                </a:cubicBezTo>
                <a:cubicBezTo>
                  <a:pt x="62" y="22"/>
                  <a:pt x="62" y="22"/>
                  <a:pt x="63" y="22"/>
                </a:cubicBezTo>
                <a:cubicBezTo>
                  <a:pt x="63" y="22"/>
                  <a:pt x="63" y="22"/>
                  <a:pt x="63" y="22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2"/>
                  <a:pt x="65" y="21"/>
                  <a:pt x="65" y="21"/>
                </a:cubicBezTo>
                <a:cubicBezTo>
                  <a:pt x="66" y="22"/>
                  <a:pt x="65" y="22"/>
                  <a:pt x="64" y="23"/>
                </a:cubicBezTo>
                <a:cubicBezTo>
                  <a:pt x="63" y="23"/>
                  <a:pt x="62" y="23"/>
                  <a:pt x="62" y="23"/>
                </a:cubicBezTo>
                <a:cubicBezTo>
                  <a:pt x="61" y="23"/>
                  <a:pt x="60" y="25"/>
                  <a:pt x="60" y="24"/>
                </a:cubicBezTo>
                <a:cubicBezTo>
                  <a:pt x="60" y="23"/>
                  <a:pt x="61" y="23"/>
                  <a:pt x="61" y="23"/>
                </a:cubicBezTo>
                <a:cubicBezTo>
                  <a:pt x="60" y="23"/>
                  <a:pt x="59" y="23"/>
                  <a:pt x="59" y="23"/>
                </a:cubicBezTo>
                <a:cubicBezTo>
                  <a:pt x="58" y="24"/>
                  <a:pt x="56" y="24"/>
                  <a:pt x="56" y="25"/>
                </a:cubicBezTo>
                <a:cubicBezTo>
                  <a:pt x="56" y="25"/>
                  <a:pt x="56" y="26"/>
                  <a:pt x="56" y="26"/>
                </a:cubicBezTo>
                <a:cubicBezTo>
                  <a:pt x="56" y="26"/>
                  <a:pt x="55" y="26"/>
                  <a:pt x="55" y="26"/>
                </a:cubicBezTo>
                <a:cubicBezTo>
                  <a:pt x="55" y="26"/>
                  <a:pt x="54" y="26"/>
                  <a:pt x="54" y="26"/>
                </a:cubicBezTo>
                <a:cubicBezTo>
                  <a:pt x="54" y="27"/>
                  <a:pt x="53" y="27"/>
                  <a:pt x="53" y="27"/>
                </a:cubicBezTo>
                <a:cubicBezTo>
                  <a:pt x="53" y="27"/>
                  <a:pt x="53" y="27"/>
                  <a:pt x="52" y="28"/>
                </a:cubicBezTo>
                <a:cubicBezTo>
                  <a:pt x="52" y="28"/>
                  <a:pt x="52" y="28"/>
                  <a:pt x="52" y="28"/>
                </a:cubicBezTo>
                <a:cubicBezTo>
                  <a:pt x="51" y="28"/>
                  <a:pt x="51" y="29"/>
                  <a:pt x="51" y="29"/>
                </a:cubicBezTo>
                <a:cubicBezTo>
                  <a:pt x="51" y="29"/>
                  <a:pt x="50" y="29"/>
                  <a:pt x="50" y="29"/>
                </a:cubicBezTo>
                <a:cubicBezTo>
                  <a:pt x="50" y="29"/>
                  <a:pt x="50" y="30"/>
                  <a:pt x="50" y="31"/>
                </a:cubicBezTo>
                <a:cubicBezTo>
                  <a:pt x="50" y="31"/>
                  <a:pt x="49" y="31"/>
                  <a:pt x="48" y="32"/>
                </a:cubicBezTo>
                <a:cubicBezTo>
                  <a:pt x="48" y="32"/>
                  <a:pt x="48" y="32"/>
                  <a:pt x="47" y="32"/>
                </a:cubicBezTo>
                <a:cubicBezTo>
                  <a:pt x="47" y="33"/>
                  <a:pt x="46" y="33"/>
                  <a:pt x="46" y="33"/>
                </a:cubicBezTo>
                <a:cubicBezTo>
                  <a:pt x="46" y="33"/>
                  <a:pt x="46" y="33"/>
                  <a:pt x="45" y="34"/>
                </a:cubicBezTo>
                <a:cubicBezTo>
                  <a:pt x="45" y="53"/>
                  <a:pt x="45" y="53"/>
                  <a:pt x="45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2"/>
                  <a:pt x="46" y="52"/>
                  <a:pt x="47" y="52"/>
                </a:cubicBezTo>
                <a:cubicBezTo>
                  <a:pt x="47" y="51"/>
                  <a:pt x="48" y="52"/>
                  <a:pt x="48" y="51"/>
                </a:cubicBezTo>
                <a:cubicBezTo>
                  <a:pt x="49" y="51"/>
                  <a:pt x="49" y="51"/>
                  <a:pt x="49" y="51"/>
                </a:cubicBezTo>
                <a:cubicBezTo>
                  <a:pt x="49" y="51"/>
                  <a:pt x="49" y="50"/>
                  <a:pt x="50" y="51"/>
                </a:cubicBezTo>
                <a:cubicBezTo>
                  <a:pt x="50" y="51"/>
                  <a:pt x="49" y="51"/>
                  <a:pt x="50" y="52"/>
                </a:cubicBezTo>
                <a:cubicBezTo>
                  <a:pt x="50" y="52"/>
                  <a:pt x="51" y="51"/>
                  <a:pt x="51" y="51"/>
                </a:cubicBezTo>
                <a:cubicBezTo>
                  <a:pt x="51" y="51"/>
                  <a:pt x="52" y="51"/>
                  <a:pt x="52" y="51"/>
                </a:cubicBezTo>
                <a:cubicBezTo>
                  <a:pt x="52" y="52"/>
                  <a:pt x="52" y="52"/>
                  <a:pt x="53" y="52"/>
                </a:cubicBezTo>
                <a:cubicBezTo>
                  <a:pt x="53" y="52"/>
                  <a:pt x="53" y="52"/>
                  <a:pt x="54" y="52"/>
                </a:cubicBezTo>
                <a:cubicBezTo>
                  <a:pt x="54" y="52"/>
                  <a:pt x="55" y="52"/>
                  <a:pt x="55" y="52"/>
                </a:cubicBezTo>
                <a:cubicBezTo>
                  <a:pt x="55" y="52"/>
                  <a:pt x="56" y="52"/>
                  <a:pt x="56" y="52"/>
                </a:cubicBezTo>
                <a:cubicBezTo>
                  <a:pt x="57" y="52"/>
                  <a:pt x="57" y="52"/>
                  <a:pt x="57" y="52"/>
                </a:cubicBezTo>
                <a:cubicBezTo>
                  <a:pt x="58" y="53"/>
                  <a:pt x="58" y="52"/>
                  <a:pt x="58" y="52"/>
                </a:cubicBezTo>
                <a:cubicBezTo>
                  <a:pt x="58" y="53"/>
                  <a:pt x="58" y="53"/>
                  <a:pt x="58" y="53"/>
                </a:cubicBezTo>
                <a:cubicBezTo>
                  <a:pt x="59" y="53"/>
                  <a:pt x="59" y="53"/>
                  <a:pt x="59" y="54"/>
                </a:cubicBezTo>
                <a:cubicBezTo>
                  <a:pt x="59" y="54"/>
                  <a:pt x="59" y="54"/>
                  <a:pt x="60" y="54"/>
                </a:cubicBezTo>
                <a:cubicBezTo>
                  <a:pt x="60" y="54"/>
                  <a:pt x="60" y="55"/>
                  <a:pt x="60" y="55"/>
                </a:cubicBezTo>
                <a:cubicBezTo>
                  <a:pt x="61" y="55"/>
                  <a:pt x="62" y="56"/>
                  <a:pt x="62" y="56"/>
                </a:cubicBezTo>
                <a:cubicBezTo>
                  <a:pt x="63" y="56"/>
                  <a:pt x="63" y="56"/>
                  <a:pt x="63" y="56"/>
                </a:cubicBezTo>
                <a:cubicBezTo>
                  <a:pt x="64" y="56"/>
                  <a:pt x="65" y="56"/>
                  <a:pt x="66" y="57"/>
                </a:cubicBezTo>
                <a:cubicBezTo>
                  <a:pt x="66" y="57"/>
                  <a:pt x="66" y="57"/>
                  <a:pt x="66" y="58"/>
                </a:cubicBezTo>
                <a:cubicBezTo>
                  <a:pt x="67" y="58"/>
                  <a:pt x="66" y="58"/>
                  <a:pt x="67" y="59"/>
                </a:cubicBezTo>
                <a:cubicBezTo>
                  <a:pt x="67" y="59"/>
                  <a:pt x="68" y="59"/>
                  <a:pt x="67" y="60"/>
                </a:cubicBezTo>
                <a:cubicBezTo>
                  <a:pt x="67" y="61"/>
                  <a:pt x="68" y="61"/>
                  <a:pt x="68" y="61"/>
                </a:cubicBezTo>
                <a:cubicBezTo>
                  <a:pt x="68" y="61"/>
                  <a:pt x="69" y="62"/>
                  <a:pt x="69" y="62"/>
                </a:cubicBezTo>
                <a:cubicBezTo>
                  <a:pt x="69" y="62"/>
                  <a:pt x="69" y="62"/>
                  <a:pt x="69" y="62"/>
                </a:cubicBezTo>
                <a:cubicBezTo>
                  <a:pt x="70" y="62"/>
                  <a:pt x="70" y="62"/>
                  <a:pt x="71" y="62"/>
                </a:cubicBezTo>
                <a:cubicBezTo>
                  <a:pt x="71" y="62"/>
                  <a:pt x="71" y="62"/>
                  <a:pt x="72" y="62"/>
                </a:cubicBezTo>
                <a:cubicBezTo>
                  <a:pt x="72" y="62"/>
                  <a:pt x="72" y="63"/>
                  <a:pt x="72" y="63"/>
                </a:cubicBezTo>
                <a:cubicBezTo>
                  <a:pt x="72" y="63"/>
                  <a:pt x="73" y="63"/>
                  <a:pt x="73" y="63"/>
                </a:cubicBezTo>
                <a:cubicBezTo>
                  <a:pt x="74" y="63"/>
                  <a:pt x="74" y="63"/>
                  <a:pt x="75" y="63"/>
                </a:cubicBezTo>
                <a:cubicBezTo>
                  <a:pt x="75" y="63"/>
                  <a:pt x="75" y="63"/>
                  <a:pt x="75" y="63"/>
                </a:cubicBezTo>
                <a:cubicBezTo>
                  <a:pt x="76" y="63"/>
                  <a:pt x="76" y="64"/>
                  <a:pt x="77" y="64"/>
                </a:cubicBezTo>
                <a:cubicBezTo>
                  <a:pt x="71" y="73"/>
                  <a:pt x="62" y="80"/>
                  <a:pt x="52" y="82"/>
                </a:cubicBezTo>
                <a:cubicBezTo>
                  <a:pt x="52" y="82"/>
                  <a:pt x="52" y="81"/>
                  <a:pt x="52" y="81"/>
                </a:cubicBezTo>
                <a:cubicBezTo>
                  <a:pt x="52" y="80"/>
                  <a:pt x="52" y="79"/>
                  <a:pt x="52" y="79"/>
                </a:cubicBezTo>
                <a:cubicBezTo>
                  <a:pt x="52" y="78"/>
                  <a:pt x="52" y="77"/>
                  <a:pt x="51" y="77"/>
                </a:cubicBezTo>
                <a:cubicBezTo>
                  <a:pt x="51" y="76"/>
                  <a:pt x="50" y="76"/>
                  <a:pt x="50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48" y="75"/>
                  <a:pt x="46" y="74"/>
                  <a:pt x="46" y="73"/>
                </a:cubicBezTo>
                <a:cubicBezTo>
                  <a:pt x="46" y="73"/>
                  <a:pt x="46" y="73"/>
                  <a:pt x="46" y="72"/>
                </a:cubicBezTo>
                <a:cubicBezTo>
                  <a:pt x="46" y="72"/>
                  <a:pt x="46" y="72"/>
                  <a:pt x="45" y="72"/>
                </a:cubicBezTo>
                <a:lnTo>
                  <a:pt x="45" y="85"/>
                </a:lnTo>
                <a:close/>
                <a:moveTo>
                  <a:pt x="1" y="34"/>
                </a:moveTo>
                <a:cubicBezTo>
                  <a:pt x="1" y="35"/>
                  <a:pt x="0" y="36"/>
                  <a:pt x="0" y="36"/>
                </a:cubicBezTo>
                <a:cubicBezTo>
                  <a:pt x="0" y="37"/>
                  <a:pt x="0" y="38"/>
                  <a:pt x="0" y="39"/>
                </a:cubicBezTo>
                <a:cubicBezTo>
                  <a:pt x="0" y="40"/>
                  <a:pt x="0" y="41"/>
                  <a:pt x="0" y="43"/>
                </a:cubicBezTo>
                <a:cubicBezTo>
                  <a:pt x="0" y="44"/>
                  <a:pt x="0" y="46"/>
                  <a:pt x="0" y="47"/>
                </a:cubicBezTo>
                <a:cubicBezTo>
                  <a:pt x="0" y="48"/>
                  <a:pt x="0" y="49"/>
                  <a:pt x="0" y="49"/>
                </a:cubicBezTo>
                <a:cubicBezTo>
                  <a:pt x="0" y="50"/>
                  <a:pt x="1" y="51"/>
                  <a:pt x="1" y="52"/>
                </a:cubicBezTo>
                <a:cubicBezTo>
                  <a:pt x="1" y="52"/>
                  <a:pt x="1" y="53"/>
                  <a:pt x="1" y="54"/>
                </a:cubicBezTo>
                <a:cubicBezTo>
                  <a:pt x="2" y="55"/>
                  <a:pt x="2" y="56"/>
                  <a:pt x="2" y="58"/>
                </a:cubicBezTo>
                <a:cubicBezTo>
                  <a:pt x="3" y="58"/>
                  <a:pt x="3" y="59"/>
                  <a:pt x="3" y="60"/>
                </a:cubicBezTo>
                <a:cubicBezTo>
                  <a:pt x="3" y="60"/>
                  <a:pt x="4" y="61"/>
                  <a:pt x="4" y="61"/>
                </a:cubicBezTo>
                <a:cubicBezTo>
                  <a:pt x="4" y="62"/>
                  <a:pt x="4" y="62"/>
                  <a:pt x="5" y="62"/>
                </a:cubicBezTo>
                <a:cubicBezTo>
                  <a:pt x="5" y="63"/>
                  <a:pt x="5" y="64"/>
                  <a:pt x="5" y="64"/>
                </a:cubicBezTo>
                <a:cubicBezTo>
                  <a:pt x="7" y="66"/>
                  <a:pt x="8" y="68"/>
                  <a:pt x="9" y="69"/>
                </a:cubicBezTo>
                <a:cubicBezTo>
                  <a:pt x="10" y="70"/>
                  <a:pt x="10" y="71"/>
                  <a:pt x="11" y="72"/>
                </a:cubicBezTo>
                <a:cubicBezTo>
                  <a:pt x="11" y="72"/>
                  <a:pt x="12" y="73"/>
                  <a:pt x="12" y="73"/>
                </a:cubicBezTo>
                <a:cubicBezTo>
                  <a:pt x="13" y="74"/>
                  <a:pt x="13" y="74"/>
                  <a:pt x="14" y="74"/>
                </a:cubicBezTo>
                <a:cubicBezTo>
                  <a:pt x="16" y="77"/>
                  <a:pt x="19" y="78"/>
                  <a:pt x="21" y="80"/>
                </a:cubicBezTo>
                <a:cubicBezTo>
                  <a:pt x="22" y="80"/>
                  <a:pt x="22" y="81"/>
                  <a:pt x="23" y="81"/>
                </a:cubicBezTo>
                <a:cubicBezTo>
                  <a:pt x="24" y="82"/>
                  <a:pt x="26" y="82"/>
                  <a:pt x="27" y="83"/>
                </a:cubicBezTo>
                <a:cubicBezTo>
                  <a:pt x="27" y="83"/>
                  <a:pt x="28" y="83"/>
                  <a:pt x="29" y="83"/>
                </a:cubicBezTo>
                <a:cubicBezTo>
                  <a:pt x="33" y="85"/>
                  <a:pt x="38" y="86"/>
                  <a:pt x="42" y="86"/>
                </a:cubicBezTo>
                <a:cubicBezTo>
                  <a:pt x="43" y="86"/>
                  <a:pt x="44" y="86"/>
                  <a:pt x="45" y="85"/>
                </a:cubicBezTo>
                <a:cubicBezTo>
                  <a:pt x="45" y="72"/>
                  <a:pt x="45" y="72"/>
                  <a:pt x="45" y="72"/>
                </a:cubicBezTo>
                <a:cubicBezTo>
                  <a:pt x="45" y="71"/>
                  <a:pt x="45" y="71"/>
                  <a:pt x="45" y="71"/>
                </a:cubicBezTo>
                <a:cubicBezTo>
                  <a:pt x="44" y="70"/>
                  <a:pt x="44" y="69"/>
                  <a:pt x="43" y="68"/>
                </a:cubicBezTo>
                <a:cubicBezTo>
                  <a:pt x="43" y="68"/>
                  <a:pt x="43" y="67"/>
                  <a:pt x="42" y="67"/>
                </a:cubicBezTo>
                <a:cubicBezTo>
                  <a:pt x="42" y="67"/>
                  <a:pt x="42" y="66"/>
                  <a:pt x="42" y="66"/>
                </a:cubicBezTo>
                <a:cubicBezTo>
                  <a:pt x="41" y="66"/>
                  <a:pt x="41" y="65"/>
                  <a:pt x="41" y="65"/>
                </a:cubicBezTo>
                <a:cubicBezTo>
                  <a:pt x="41" y="64"/>
                  <a:pt x="42" y="64"/>
                  <a:pt x="42" y="64"/>
                </a:cubicBezTo>
                <a:cubicBezTo>
                  <a:pt x="42" y="63"/>
                  <a:pt x="42" y="63"/>
                  <a:pt x="42" y="63"/>
                </a:cubicBezTo>
                <a:cubicBezTo>
                  <a:pt x="41" y="62"/>
                  <a:pt x="42" y="62"/>
                  <a:pt x="42" y="61"/>
                </a:cubicBezTo>
                <a:cubicBezTo>
                  <a:pt x="42" y="61"/>
                  <a:pt x="42" y="61"/>
                  <a:pt x="42" y="60"/>
                </a:cubicBezTo>
                <a:cubicBezTo>
                  <a:pt x="42" y="60"/>
                  <a:pt x="43" y="60"/>
                  <a:pt x="43" y="60"/>
                </a:cubicBezTo>
                <a:cubicBezTo>
                  <a:pt x="43" y="60"/>
                  <a:pt x="43" y="59"/>
                  <a:pt x="43" y="59"/>
                </a:cubicBezTo>
                <a:cubicBezTo>
                  <a:pt x="44" y="59"/>
                  <a:pt x="44" y="58"/>
                  <a:pt x="44" y="58"/>
                </a:cubicBezTo>
                <a:cubicBezTo>
                  <a:pt x="45" y="58"/>
                  <a:pt x="45" y="56"/>
                  <a:pt x="44" y="55"/>
                </a:cubicBezTo>
                <a:cubicBezTo>
                  <a:pt x="44" y="55"/>
                  <a:pt x="44" y="55"/>
                  <a:pt x="44" y="55"/>
                </a:cubicBezTo>
                <a:cubicBezTo>
                  <a:pt x="44" y="54"/>
                  <a:pt x="44" y="53"/>
                  <a:pt x="43" y="53"/>
                </a:cubicBezTo>
                <a:cubicBezTo>
                  <a:pt x="43" y="53"/>
                  <a:pt x="43" y="54"/>
                  <a:pt x="42" y="54"/>
                </a:cubicBezTo>
                <a:cubicBezTo>
                  <a:pt x="42" y="54"/>
                  <a:pt x="42" y="55"/>
                  <a:pt x="42" y="55"/>
                </a:cubicBezTo>
                <a:cubicBezTo>
                  <a:pt x="41" y="55"/>
                  <a:pt x="41" y="54"/>
                  <a:pt x="41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39" y="54"/>
                  <a:pt x="39" y="53"/>
                  <a:pt x="39" y="53"/>
                </a:cubicBezTo>
                <a:cubicBezTo>
                  <a:pt x="38" y="53"/>
                  <a:pt x="38" y="53"/>
                  <a:pt x="38" y="52"/>
                </a:cubicBezTo>
                <a:cubicBezTo>
                  <a:pt x="38" y="52"/>
                  <a:pt x="38" y="52"/>
                  <a:pt x="38" y="51"/>
                </a:cubicBezTo>
                <a:cubicBezTo>
                  <a:pt x="37" y="51"/>
                  <a:pt x="37" y="50"/>
                  <a:pt x="36" y="50"/>
                </a:cubicBezTo>
                <a:cubicBezTo>
                  <a:pt x="36" y="50"/>
                  <a:pt x="35" y="50"/>
                  <a:pt x="35" y="50"/>
                </a:cubicBezTo>
                <a:cubicBezTo>
                  <a:pt x="35" y="49"/>
                  <a:pt x="34" y="49"/>
                  <a:pt x="34" y="49"/>
                </a:cubicBezTo>
                <a:cubicBezTo>
                  <a:pt x="34" y="49"/>
                  <a:pt x="34" y="49"/>
                  <a:pt x="33" y="49"/>
                </a:cubicBezTo>
                <a:cubicBezTo>
                  <a:pt x="32" y="49"/>
                  <a:pt x="32" y="47"/>
                  <a:pt x="31" y="47"/>
                </a:cubicBezTo>
                <a:cubicBezTo>
                  <a:pt x="30" y="47"/>
                  <a:pt x="30" y="48"/>
                  <a:pt x="29" y="48"/>
                </a:cubicBezTo>
                <a:cubicBezTo>
                  <a:pt x="29" y="48"/>
                  <a:pt x="28" y="47"/>
                  <a:pt x="28" y="47"/>
                </a:cubicBezTo>
                <a:cubicBezTo>
                  <a:pt x="27" y="47"/>
                  <a:pt x="27" y="47"/>
                  <a:pt x="26" y="46"/>
                </a:cubicBezTo>
                <a:cubicBezTo>
                  <a:pt x="26" y="46"/>
                  <a:pt x="25" y="46"/>
                  <a:pt x="25" y="46"/>
                </a:cubicBezTo>
                <a:cubicBezTo>
                  <a:pt x="25" y="46"/>
                  <a:pt x="25" y="46"/>
                  <a:pt x="24" y="46"/>
                </a:cubicBezTo>
                <a:cubicBezTo>
                  <a:pt x="24" y="45"/>
                  <a:pt x="24" y="45"/>
                  <a:pt x="23" y="45"/>
                </a:cubicBezTo>
                <a:cubicBezTo>
                  <a:pt x="23" y="45"/>
                  <a:pt x="23" y="44"/>
                  <a:pt x="23" y="44"/>
                </a:cubicBezTo>
                <a:cubicBezTo>
                  <a:pt x="23" y="44"/>
                  <a:pt x="23" y="43"/>
                  <a:pt x="23" y="43"/>
                </a:cubicBezTo>
                <a:cubicBezTo>
                  <a:pt x="23" y="42"/>
                  <a:pt x="22" y="41"/>
                  <a:pt x="22" y="40"/>
                </a:cubicBezTo>
                <a:cubicBezTo>
                  <a:pt x="21" y="40"/>
                  <a:pt x="21" y="40"/>
                  <a:pt x="21" y="39"/>
                </a:cubicBezTo>
                <a:cubicBezTo>
                  <a:pt x="21" y="39"/>
                  <a:pt x="21" y="39"/>
                  <a:pt x="21" y="38"/>
                </a:cubicBezTo>
                <a:cubicBezTo>
                  <a:pt x="20" y="38"/>
                  <a:pt x="20" y="38"/>
                  <a:pt x="20" y="37"/>
                </a:cubicBezTo>
                <a:cubicBezTo>
                  <a:pt x="19" y="37"/>
                  <a:pt x="19" y="37"/>
                  <a:pt x="19" y="36"/>
                </a:cubicBezTo>
                <a:cubicBezTo>
                  <a:pt x="19" y="36"/>
                  <a:pt x="19" y="35"/>
                  <a:pt x="19" y="35"/>
                </a:cubicBezTo>
                <a:cubicBezTo>
                  <a:pt x="19" y="34"/>
                  <a:pt x="17" y="34"/>
                  <a:pt x="18" y="35"/>
                </a:cubicBezTo>
                <a:cubicBezTo>
                  <a:pt x="18" y="36"/>
                  <a:pt x="18" y="36"/>
                  <a:pt x="18" y="36"/>
                </a:cubicBezTo>
                <a:cubicBezTo>
                  <a:pt x="18" y="37"/>
                  <a:pt x="18" y="37"/>
                  <a:pt x="18" y="37"/>
                </a:cubicBezTo>
                <a:cubicBezTo>
                  <a:pt x="19" y="38"/>
                  <a:pt x="19" y="38"/>
                  <a:pt x="19" y="38"/>
                </a:cubicBezTo>
                <a:cubicBezTo>
                  <a:pt x="19" y="39"/>
                  <a:pt x="19" y="40"/>
                  <a:pt x="19" y="40"/>
                </a:cubicBezTo>
                <a:cubicBezTo>
                  <a:pt x="20" y="40"/>
                  <a:pt x="20" y="41"/>
                  <a:pt x="20" y="41"/>
                </a:cubicBezTo>
                <a:cubicBezTo>
                  <a:pt x="19" y="41"/>
                  <a:pt x="19" y="41"/>
                  <a:pt x="19" y="41"/>
                </a:cubicBezTo>
                <a:cubicBezTo>
                  <a:pt x="19" y="41"/>
                  <a:pt x="18" y="40"/>
                  <a:pt x="18" y="40"/>
                </a:cubicBezTo>
                <a:cubicBezTo>
                  <a:pt x="18" y="40"/>
                  <a:pt x="18" y="39"/>
                  <a:pt x="18" y="39"/>
                </a:cubicBezTo>
                <a:cubicBezTo>
                  <a:pt x="18" y="38"/>
                  <a:pt x="17" y="38"/>
                  <a:pt x="17" y="38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7" y="36"/>
                  <a:pt x="17" y="36"/>
                </a:cubicBezTo>
                <a:cubicBezTo>
                  <a:pt x="16" y="35"/>
                  <a:pt x="16" y="35"/>
                  <a:pt x="16" y="34"/>
                </a:cubicBezTo>
                <a:cubicBezTo>
                  <a:pt x="16" y="34"/>
                  <a:pt x="16" y="33"/>
                  <a:pt x="16" y="33"/>
                </a:cubicBezTo>
                <a:cubicBezTo>
                  <a:pt x="16" y="33"/>
                  <a:pt x="16" y="32"/>
                  <a:pt x="15" y="32"/>
                </a:cubicBezTo>
                <a:cubicBezTo>
                  <a:pt x="15" y="32"/>
                  <a:pt x="15" y="32"/>
                  <a:pt x="14" y="32"/>
                </a:cubicBezTo>
                <a:cubicBezTo>
                  <a:pt x="14" y="31"/>
                  <a:pt x="14" y="31"/>
                  <a:pt x="14" y="30"/>
                </a:cubicBezTo>
                <a:cubicBezTo>
                  <a:pt x="14" y="30"/>
                  <a:pt x="14" y="29"/>
                  <a:pt x="14" y="29"/>
                </a:cubicBezTo>
                <a:cubicBezTo>
                  <a:pt x="14" y="28"/>
                  <a:pt x="14" y="27"/>
                  <a:pt x="14" y="27"/>
                </a:cubicBezTo>
                <a:cubicBezTo>
                  <a:pt x="14" y="26"/>
                  <a:pt x="15" y="26"/>
                  <a:pt x="15" y="26"/>
                </a:cubicBezTo>
                <a:cubicBezTo>
                  <a:pt x="15" y="25"/>
                  <a:pt x="15" y="25"/>
                  <a:pt x="15" y="25"/>
                </a:cubicBezTo>
                <a:cubicBezTo>
                  <a:pt x="16" y="24"/>
                  <a:pt x="16" y="24"/>
                  <a:pt x="17" y="23"/>
                </a:cubicBezTo>
                <a:cubicBezTo>
                  <a:pt x="17" y="22"/>
                  <a:pt x="18" y="22"/>
                  <a:pt x="18" y="21"/>
                </a:cubicBezTo>
                <a:cubicBezTo>
                  <a:pt x="18" y="21"/>
                  <a:pt x="19" y="20"/>
                  <a:pt x="19" y="20"/>
                </a:cubicBezTo>
                <a:cubicBezTo>
                  <a:pt x="19" y="19"/>
                  <a:pt x="18" y="19"/>
                  <a:pt x="18" y="19"/>
                </a:cubicBezTo>
                <a:cubicBezTo>
                  <a:pt x="18" y="18"/>
                  <a:pt x="18" y="18"/>
                  <a:pt x="18" y="18"/>
                </a:cubicBezTo>
                <a:cubicBezTo>
                  <a:pt x="19" y="18"/>
                  <a:pt x="19" y="17"/>
                  <a:pt x="19" y="17"/>
                </a:cubicBezTo>
                <a:cubicBezTo>
                  <a:pt x="19" y="17"/>
                  <a:pt x="18" y="16"/>
                  <a:pt x="18" y="16"/>
                </a:cubicBezTo>
                <a:cubicBezTo>
                  <a:pt x="19" y="15"/>
                  <a:pt x="19" y="15"/>
                  <a:pt x="19" y="15"/>
                </a:cubicBezTo>
                <a:cubicBezTo>
                  <a:pt x="19" y="14"/>
                  <a:pt x="18" y="15"/>
                  <a:pt x="18" y="15"/>
                </a:cubicBezTo>
                <a:cubicBezTo>
                  <a:pt x="17" y="14"/>
                  <a:pt x="18" y="14"/>
                  <a:pt x="18" y="14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3"/>
                  <a:pt x="18" y="12"/>
                  <a:pt x="18" y="12"/>
                </a:cubicBezTo>
                <a:cubicBezTo>
                  <a:pt x="18" y="12"/>
                  <a:pt x="18" y="12"/>
                  <a:pt x="17" y="11"/>
                </a:cubicBezTo>
                <a:cubicBezTo>
                  <a:pt x="22" y="7"/>
                  <a:pt x="29" y="4"/>
                  <a:pt x="35" y="3"/>
                </a:cubicBezTo>
                <a:cubicBezTo>
                  <a:pt x="35" y="3"/>
                  <a:pt x="35" y="3"/>
                  <a:pt x="35" y="3"/>
                </a:cubicBezTo>
                <a:cubicBezTo>
                  <a:pt x="35" y="3"/>
                  <a:pt x="35" y="4"/>
                  <a:pt x="36" y="4"/>
                </a:cubicBezTo>
                <a:cubicBezTo>
                  <a:pt x="36" y="3"/>
                  <a:pt x="36" y="4"/>
                  <a:pt x="37" y="4"/>
                </a:cubicBezTo>
                <a:cubicBezTo>
                  <a:pt x="37" y="4"/>
                  <a:pt x="38" y="3"/>
                  <a:pt x="38" y="3"/>
                </a:cubicBezTo>
                <a:cubicBezTo>
                  <a:pt x="39" y="4"/>
                  <a:pt x="40" y="4"/>
                  <a:pt x="41" y="4"/>
                </a:cubicBezTo>
                <a:cubicBezTo>
                  <a:pt x="41" y="4"/>
                  <a:pt x="41" y="4"/>
                  <a:pt x="41" y="3"/>
                </a:cubicBezTo>
                <a:cubicBezTo>
                  <a:pt x="41" y="3"/>
                  <a:pt x="41" y="3"/>
                  <a:pt x="41" y="3"/>
                </a:cubicBezTo>
                <a:cubicBezTo>
                  <a:pt x="42" y="3"/>
                  <a:pt x="42" y="3"/>
                  <a:pt x="42" y="3"/>
                </a:cubicBezTo>
                <a:cubicBezTo>
                  <a:pt x="43" y="3"/>
                  <a:pt x="44" y="3"/>
                  <a:pt x="45" y="3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4" y="0"/>
                  <a:pt x="43" y="0"/>
                </a:cubicBezTo>
                <a:cubicBezTo>
                  <a:pt x="43" y="0"/>
                  <a:pt x="43" y="0"/>
                  <a:pt x="42" y="0"/>
                </a:cubicBezTo>
                <a:cubicBezTo>
                  <a:pt x="42" y="0"/>
                  <a:pt x="42" y="0"/>
                  <a:pt x="41" y="0"/>
                </a:cubicBezTo>
                <a:cubicBezTo>
                  <a:pt x="37" y="0"/>
                  <a:pt x="33" y="1"/>
                  <a:pt x="29" y="3"/>
                </a:cubicBezTo>
                <a:cubicBezTo>
                  <a:pt x="28" y="3"/>
                  <a:pt x="27" y="3"/>
                  <a:pt x="27" y="3"/>
                </a:cubicBezTo>
                <a:cubicBezTo>
                  <a:pt x="27" y="3"/>
                  <a:pt x="26" y="3"/>
                  <a:pt x="26" y="3"/>
                </a:cubicBezTo>
                <a:cubicBezTo>
                  <a:pt x="26" y="4"/>
                  <a:pt x="25" y="4"/>
                  <a:pt x="25" y="4"/>
                </a:cubicBezTo>
                <a:cubicBezTo>
                  <a:pt x="24" y="4"/>
                  <a:pt x="24" y="5"/>
                  <a:pt x="23" y="5"/>
                </a:cubicBezTo>
                <a:cubicBezTo>
                  <a:pt x="22" y="5"/>
                  <a:pt x="22" y="6"/>
                  <a:pt x="21" y="6"/>
                </a:cubicBezTo>
                <a:cubicBezTo>
                  <a:pt x="19" y="7"/>
                  <a:pt x="17" y="9"/>
                  <a:pt x="15" y="11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2"/>
                  <a:pt x="13" y="12"/>
                  <a:pt x="12" y="13"/>
                </a:cubicBezTo>
                <a:cubicBezTo>
                  <a:pt x="12" y="13"/>
                  <a:pt x="11" y="14"/>
                  <a:pt x="11" y="14"/>
                </a:cubicBezTo>
                <a:cubicBezTo>
                  <a:pt x="10" y="15"/>
                  <a:pt x="10" y="16"/>
                  <a:pt x="9" y="17"/>
                </a:cubicBezTo>
                <a:cubicBezTo>
                  <a:pt x="8" y="18"/>
                  <a:pt x="7" y="20"/>
                  <a:pt x="5" y="22"/>
                </a:cubicBezTo>
                <a:cubicBezTo>
                  <a:pt x="5" y="22"/>
                  <a:pt x="5" y="23"/>
                  <a:pt x="5" y="23"/>
                </a:cubicBezTo>
                <a:cubicBezTo>
                  <a:pt x="4" y="24"/>
                  <a:pt x="4" y="24"/>
                  <a:pt x="4" y="24"/>
                </a:cubicBezTo>
                <a:cubicBezTo>
                  <a:pt x="4" y="25"/>
                  <a:pt x="3" y="26"/>
                  <a:pt x="3" y="27"/>
                </a:cubicBezTo>
                <a:cubicBezTo>
                  <a:pt x="3" y="28"/>
                  <a:pt x="3" y="28"/>
                  <a:pt x="2" y="28"/>
                </a:cubicBezTo>
                <a:cubicBezTo>
                  <a:pt x="2" y="30"/>
                  <a:pt x="2" y="31"/>
                  <a:pt x="1" y="32"/>
                </a:cubicBezTo>
                <a:cubicBezTo>
                  <a:pt x="1" y="33"/>
                  <a:pt x="1" y="34"/>
                  <a:pt x="1" y="34"/>
                </a:cubicBezTo>
                <a:close/>
                <a:moveTo>
                  <a:pt x="45" y="34"/>
                </a:moveTo>
                <a:cubicBezTo>
                  <a:pt x="45" y="53"/>
                  <a:pt x="45" y="53"/>
                  <a:pt x="45" y="53"/>
                </a:cubicBezTo>
                <a:cubicBezTo>
                  <a:pt x="45" y="54"/>
                  <a:pt x="45" y="54"/>
                  <a:pt x="45" y="54"/>
                </a:cubicBezTo>
                <a:cubicBezTo>
                  <a:pt x="45" y="54"/>
                  <a:pt x="44" y="53"/>
                  <a:pt x="44" y="53"/>
                </a:cubicBezTo>
                <a:cubicBezTo>
                  <a:pt x="43" y="53"/>
                  <a:pt x="42" y="53"/>
                  <a:pt x="41" y="53"/>
                </a:cubicBezTo>
                <a:cubicBezTo>
                  <a:pt x="41" y="53"/>
                  <a:pt x="40" y="52"/>
                  <a:pt x="40" y="51"/>
                </a:cubicBezTo>
                <a:cubicBezTo>
                  <a:pt x="40" y="51"/>
                  <a:pt x="40" y="50"/>
                  <a:pt x="40" y="50"/>
                </a:cubicBezTo>
                <a:cubicBezTo>
                  <a:pt x="40" y="49"/>
                  <a:pt x="40" y="49"/>
                  <a:pt x="40" y="49"/>
                </a:cubicBezTo>
                <a:cubicBezTo>
                  <a:pt x="40" y="48"/>
                  <a:pt x="40" y="48"/>
                  <a:pt x="39" y="47"/>
                </a:cubicBezTo>
                <a:cubicBezTo>
                  <a:pt x="38" y="47"/>
                  <a:pt x="37" y="48"/>
                  <a:pt x="36" y="47"/>
                </a:cubicBezTo>
                <a:cubicBezTo>
                  <a:pt x="36" y="47"/>
                  <a:pt x="36" y="47"/>
                  <a:pt x="36" y="47"/>
                </a:cubicBezTo>
                <a:cubicBezTo>
                  <a:pt x="37" y="46"/>
                  <a:pt x="36" y="46"/>
                  <a:pt x="37" y="46"/>
                </a:cubicBezTo>
                <a:cubicBezTo>
                  <a:pt x="37" y="46"/>
                  <a:pt x="37" y="45"/>
                  <a:pt x="37" y="45"/>
                </a:cubicBezTo>
                <a:cubicBezTo>
                  <a:pt x="37" y="45"/>
                  <a:pt x="37" y="45"/>
                  <a:pt x="37" y="44"/>
                </a:cubicBezTo>
                <a:cubicBezTo>
                  <a:pt x="37" y="44"/>
                  <a:pt x="38" y="44"/>
                  <a:pt x="38" y="44"/>
                </a:cubicBezTo>
                <a:cubicBezTo>
                  <a:pt x="38" y="43"/>
                  <a:pt x="38" y="43"/>
                  <a:pt x="37" y="43"/>
                </a:cubicBezTo>
                <a:cubicBezTo>
                  <a:pt x="37" y="43"/>
                  <a:pt x="36" y="43"/>
                  <a:pt x="36" y="43"/>
                </a:cubicBezTo>
                <a:cubicBezTo>
                  <a:pt x="35" y="43"/>
                  <a:pt x="35" y="45"/>
                  <a:pt x="34" y="45"/>
                </a:cubicBezTo>
                <a:cubicBezTo>
                  <a:pt x="34" y="45"/>
                  <a:pt x="33" y="45"/>
                  <a:pt x="33" y="45"/>
                </a:cubicBezTo>
                <a:cubicBezTo>
                  <a:pt x="32" y="45"/>
                  <a:pt x="32" y="45"/>
                  <a:pt x="32" y="45"/>
                </a:cubicBezTo>
                <a:cubicBezTo>
                  <a:pt x="31" y="45"/>
                  <a:pt x="31" y="45"/>
                  <a:pt x="30" y="45"/>
                </a:cubicBezTo>
                <a:cubicBezTo>
                  <a:pt x="30" y="45"/>
                  <a:pt x="30" y="43"/>
                  <a:pt x="30" y="43"/>
                </a:cubicBezTo>
                <a:cubicBezTo>
                  <a:pt x="29" y="42"/>
                  <a:pt x="30" y="41"/>
                  <a:pt x="30" y="40"/>
                </a:cubicBezTo>
                <a:cubicBezTo>
                  <a:pt x="30" y="40"/>
                  <a:pt x="30" y="39"/>
                  <a:pt x="30" y="39"/>
                </a:cubicBezTo>
                <a:cubicBezTo>
                  <a:pt x="31" y="39"/>
                  <a:pt x="30" y="38"/>
                  <a:pt x="31" y="38"/>
                </a:cubicBezTo>
                <a:cubicBezTo>
                  <a:pt x="31" y="37"/>
                  <a:pt x="32" y="37"/>
                  <a:pt x="32" y="37"/>
                </a:cubicBezTo>
                <a:cubicBezTo>
                  <a:pt x="33" y="36"/>
                  <a:pt x="33" y="36"/>
                  <a:pt x="34" y="36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37" y="36"/>
                  <a:pt x="37" y="36"/>
                  <a:pt x="38" y="35"/>
                </a:cubicBezTo>
                <a:cubicBezTo>
                  <a:pt x="39" y="35"/>
                  <a:pt x="39" y="35"/>
                  <a:pt x="40" y="35"/>
                </a:cubicBezTo>
                <a:cubicBezTo>
                  <a:pt x="40" y="35"/>
                  <a:pt x="41" y="36"/>
                  <a:pt x="41" y="36"/>
                </a:cubicBezTo>
                <a:cubicBezTo>
                  <a:pt x="41" y="36"/>
                  <a:pt x="42" y="35"/>
                  <a:pt x="42" y="36"/>
                </a:cubicBezTo>
                <a:cubicBezTo>
                  <a:pt x="42" y="36"/>
                  <a:pt x="43" y="36"/>
                  <a:pt x="43" y="36"/>
                </a:cubicBezTo>
                <a:cubicBezTo>
                  <a:pt x="43" y="37"/>
                  <a:pt x="42" y="37"/>
                  <a:pt x="43" y="38"/>
                </a:cubicBezTo>
                <a:cubicBezTo>
                  <a:pt x="43" y="38"/>
                  <a:pt x="44" y="38"/>
                  <a:pt x="44" y="38"/>
                </a:cubicBezTo>
                <a:cubicBezTo>
                  <a:pt x="45" y="38"/>
                  <a:pt x="44" y="38"/>
                  <a:pt x="44" y="37"/>
                </a:cubicBezTo>
                <a:cubicBezTo>
                  <a:pt x="44" y="37"/>
                  <a:pt x="44" y="37"/>
                  <a:pt x="44" y="36"/>
                </a:cubicBezTo>
                <a:cubicBezTo>
                  <a:pt x="44" y="36"/>
                  <a:pt x="44" y="36"/>
                  <a:pt x="44" y="36"/>
                </a:cubicBezTo>
                <a:cubicBezTo>
                  <a:pt x="44" y="35"/>
                  <a:pt x="45" y="34"/>
                  <a:pt x="45" y="3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1" name="iS1iḋè">
            <a:extLst>
              <a:ext uri="{FF2B5EF4-FFF2-40B4-BE49-F238E27FC236}">
                <a16:creationId xmlns:a16="http://schemas.microsoft.com/office/drawing/2014/main" id="{DB7D150C-FDAE-4A29-ABE8-4D88DF91F13F}"/>
              </a:ext>
            </a:extLst>
          </p:cNvPr>
          <p:cNvSpPr/>
          <p:nvPr/>
        </p:nvSpPr>
        <p:spPr bwMode="auto">
          <a:xfrm>
            <a:off x="6546001" y="4112134"/>
            <a:ext cx="161025" cy="455759"/>
          </a:xfrm>
          <a:custGeom>
            <a:avLst/>
            <a:gdLst>
              <a:gd name="T0" fmla="*/ 4 w 31"/>
              <a:gd name="T1" fmla="*/ 11 h 88"/>
              <a:gd name="T2" fmla="*/ 1 w 31"/>
              <a:gd name="T3" fmla="*/ 22 h 88"/>
              <a:gd name="T4" fmla="*/ 3 w 31"/>
              <a:gd name="T5" fmla="*/ 31 h 88"/>
              <a:gd name="T6" fmla="*/ 11 w 31"/>
              <a:gd name="T7" fmla="*/ 40 h 88"/>
              <a:gd name="T8" fmla="*/ 11 w 31"/>
              <a:gd name="T9" fmla="*/ 88 h 88"/>
              <a:gd name="T10" fmla="*/ 20 w 31"/>
              <a:gd name="T11" fmla="*/ 88 h 88"/>
              <a:gd name="T12" fmla="*/ 20 w 31"/>
              <a:gd name="T13" fmla="*/ 40 h 88"/>
              <a:gd name="T14" fmla="*/ 28 w 31"/>
              <a:gd name="T15" fmla="*/ 31 h 88"/>
              <a:gd name="T16" fmla="*/ 30 w 31"/>
              <a:gd name="T17" fmla="*/ 22 h 88"/>
              <a:gd name="T18" fmla="*/ 27 w 31"/>
              <a:gd name="T19" fmla="*/ 11 h 88"/>
              <a:gd name="T20" fmla="*/ 20 w 31"/>
              <a:gd name="T21" fmla="*/ 0 h 88"/>
              <a:gd name="T22" fmla="*/ 23 w 31"/>
              <a:gd name="T23" fmla="*/ 21 h 88"/>
              <a:gd name="T24" fmla="*/ 20 w 31"/>
              <a:gd name="T25" fmla="*/ 21 h 88"/>
              <a:gd name="T26" fmla="*/ 18 w 31"/>
              <a:gd name="T27" fmla="*/ 0 h 88"/>
              <a:gd name="T28" fmla="*/ 15 w 31"/>
              <a:gd name="T29" fmla="*/ 0 h 88"/>
              <a:gd name="T30" fmla="*/ 13 w 31"/>
              <a:gd name="T31" fmla="*/ 0 h 88"/>
              <a:gd name="T32" fmla="*/ 11 w 31"/>
              <a:gd name="T33" fmla="*/ 21 h 88"/>
              <a:gd name="T34" fmla="*/ 8 w 31"/>
              <a:gd name="T35" fmla="*/ 21 h 88"/>
              <a:gd name="T36" fmla="*/ 10 w 31"/>
              <a:gd name="T37" fmla="*/ 0 h 88"/>
              <a:gd name="T38" fmla="*/ 4 w 31"/>
              <a:gd name="T39" fmla="*/ 1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" h="88">
                <a:moveTo>
                  <a:pt x="4" y="11"/>
                </a:moveTo>
                <a:cubicBezTo>
                  <a:pt x="2" y="14"/>
                  <a:pt x="1" y="18"/>
                  <a:pt x="1" y="22"/>
                </a:cubicBezTo>
                <a:cubicBezTo>
                  <a:pt x="0" y="25"/>
                  <a:pt x="1" y="28"/>
                  <a:pt x="3" y="31"/>
                </a:cubicBezTo>
                <a:cubicBezTo>
                  <a:pt x="4" y="34"/>
                  <a:pt x="8" y="38"/>
                  <a:pt x="11" y="40"/>
                </a:cubicBezTo>
                <a:cubicBezTo>
                  <a:pt x="11" y="88"/>
                  <a:pt x="11" y="88"/>
                  <a:pt x="11" y="88"/>
                </a:cubicBezTo>
                <a:cubicBezTo>
                  <a:pt x="20" y="88"/>
                  <a:pt x="20" y="88"/>
                  <a:pt x="20" y="88"/>
                </a:cubicBezTo>
                <a:cubicBezTo>
                  <a:pt x="20" y="40"/>
                  <a:pt x="20" y="40"/>
                  <a:pt x="20" y="40"/>
                </a:cubicBezTo>
                <a:cubicBezTo>
                  <a:pt x="23" y="38"/>
                  <a:pt x="26" y="34"/>
                  <a:pt x="28" y="31"/>
                </a:cubicBezTo>
                <a:cubicBezTo>
                  <a:pt x="30" y="28"/>
                  <a:pt x="31" y="25"/>
                  <a:pt x="30" y="22"/>
                </a:cubicBezTo>
                <a:cubicBezTo>
                  <a:pt x="30" y="18"/>
                  <a:pt x="28" y="14"/>
                  <a:pt x="27" y="11"/>
                </a:cubicBezTo>
                <a:cubicBezTo>
                  <a:pt x="26" y="8"/>
                  <a:pt x="24" y="1"/>
                  <a:pt x="20" y="0"/>
                </a:cubicBezTo>
                <a:cubicBezTo>
                  <a:pt x="23" y="21"/>
                  <a:pt x="23" y="21"/>
                  <a:pt x="23" y="21"/>
                </a:cubicBezTo>
                <a:cubicBezTo>
                  <a:pt x="20" y="21"/>
                  <a:pt x="20" y="21"/>
                  <a:pt x="20" y="21"/>
                </a:cubicBezTo>
                <a:cubicBezTo>
                  <a:pt x="18" y="0"/>
                  <a:pt x="18" y="0"/>
                  <a:pt x="18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1" y="21"/>
                  <a:pt x="11" y="21"/>
                  <a:pt x="11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1"/>
                  <a:pt x="5" y="8"/>
                  <a:pt x="4" y="1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2" name="iṣḻîḑé">
            <a:extLst>
              <a:ext uri="{FF2B5EF4-FFF2-40B4-BE49-F238E27FC236}">
                <a16:creationId xmlns:a16="http://schemas.microsoft.com/office/drawing/2014/main" id="{51B3D3E1-9C1D-400B-A06B-2228F44ADACE}"/>
              </a:ext>
            </a:extLst>
          </p:cNvPr>
          <p:cNvSpPr/>
          <p:nvPr/>
        </p:nvSpPr>
        <p:spPr bwMode="auto">
          <a:xfrm>
            <a:off x="6753033" y="4100633"/>
            <a:ext cx="165338" cy="467261"/>
          </a:xfrm>
          <a:custGeom>
            <a:avLst/>
            <a:gdLst>
              <a:gd name="T0" fmla="*/ 20 w 32"/>
              <a:gd name="T1" fmla="*/ 90 h 90"/>
              <a:gd name="T2" fmla="*/ 20 w 32"/>
              <a:gd name="T3" fmla="*/ 43 h 90"/>
              <a:gd name="T4" fmla="*/ 32 w 32"/>
              <a:gd name="T5" fmla="*/ 24 h 90"/>
              <a:gd name="T6" fmla="*/ 16 w 32"/>
              <a:gd name="T7" fmla="*/ 0 h 90"/>
              <a:gd name="T8" fmla="*/ 0 w 32"/>
              <a:gd name="T9" fmla="*/ 24 h 90"/>
              <a:gd name="T10" fmla="*/ 12 w 32"/>
              <a:gd name="T11" fmla="*/ 43 h 90"/>
              <a:gd name="T12" fmla="*/ 12 w 32"/>
              <a:gd name="T13" fmla="*/ 90 h 90"/>
              <a:gd name="T14" fmla="*/ 20 w 32"/>
              <a:gd name="T15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" h="90">
                <a:moveTo>
                  <a:pt x="20" y="90"/>
                </a:moveTo>
                <a:cubicBezTo>
                  <a:pt x="20" y="43"/>
                  <a:pt x="20" y="43"/>
                  <a:pt x="20" y="43"/>
                </a:cubicBezTo>
                <a:cubicBezTo>
                  <a:pt x="27" y="41"/>
                  <a:pt x="32" y="33"/>
                  <a:pt x="32" y="24"/>
                </a:cubicBezTo>
                <a:cubicBezTo>
                  <a:pt x="32" y="14"/>
                  <a:pt x="25" y="0"/>
                  <a:pt x="16" y="0"/>
                </a:cubicBezTo>
                <a:cubicBezTo>
                  <a:pt x="7" y="0"/>
                  <a:pt x="0" y="14"/>
                  <a:pt x="0" y="24"/>
                </a:cubicBezTo>
                <a:cubicBezTo>
                  <a:pt x="0" y="33"/>
                  <a:pt x="5" y="41"/>
                  <a:pt x="12" y="43"/>
                </a:cubicBezTo>
                <a:cubicBezTo>
                  <a:pt x="12" y="90"/>
                  <a:pt x="12" y="90"/>
                  <a:pt x="12" y="90"/>
                </a:cubicBezTo>
                <a:lnTo>
                  <a:pt x="20" y="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3" name="ïş1iḋê">
            <a:extLst>
              <a:ext uri="{FF2B5EF4-FFF2-40B4-BE49-F238E27FC236}">
                <a16:creationId xmlns:a16="http://schemas.microsoft.com/office/drawing/2014/main" id="{5F021693-8709-489D-B1F2-F9A0EAEB8F04}"/>
              </a:ext>
            </a:extLst>
          </p:cNvPr>
          <p:cNvSpPr/>
          <p:nvPr/>
        </p:nvSpPr>
        <p:spPr bwMode="auto">
          <a:xfrm>
            <a:off x="6929874" y="4619652"/>
            <a:ext cx="191218" cy="196969"/>
          </a:xfrm>
          <a:custGeom>
            <a:avLst/>
            <a:gdLst>
              <a:gd name="T0" fmla="*/ 8 w 37"/>
              <a:gd name="T1" fmla="*/ 35 h 38"/>
              <a:gd name="T2" fmla="*/ 18 w 37"/>
              <a:gd name="T3" fmla="*/ 38 h 38"/>
              <a:gd name="T4" fmla="*/ 37 w 37"/>
              <a:gd name="T5" fmla="*/ 19 h 38"/>
              <a:gd name="T6" fmla="*/ 18 w 37"/>
              <a:gd name="T7" fmla="*/ 0 h 38"/>
              <a:gd name="T8" fmla="*/ 0 w 37"/>
              <a:gd name="T9" fmla="*/ 17 h 38"/>
              <a:gd name="T10" fmla="*/ 18 w 37"/>
              <a:gd name="T11" fmla="*/ 17 h 38"/>
              <a:gd name="T12" fmla="*/ 24 w 37"/>
              <a:gd name="T13" fmla="*/ 17 h 38"/>
              <a:gd name="T14" fmla="*/ 20 w 37"/>
              <a:gd name="T15" fmla="*/ 21 h 38"/>
              <a:gd name="T16" fmla="*/ 8 w 37"/>
              <a:gd name="T17" fmla="*/ 35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" h="38">
                <a:moveTo>
                  <a:pt x="8" y="35"/>
                </a:moveTo>
                <a:cubicBezTo>
                  <a:pt x="11" y="37"/>
                  <a:pt x="14" y="38"/>
                  <a:pt x="18" y="38"/>
                </a:cubicBezTo>
                <a:cubicBezTo>
                  <a:pt x="29" y="38"/>
                  <a:pt x="37" y="30"/>
                  <a:pt x="37" y="19"/>
                </a:cubicBezTo>
                <a:cubicBezTo>
                  <a:pt x="37" y="9"/>
                  <a:pt x="29" y="0"/>
                  <a:pt x="18" y="0"/>
                </a:cubicBezTo>
                <a:cubicBezTo>
                  <a:pt x="9" y="0"/>
                  <a:pt x="1" y="7"/>
                  <a:pt x="0" y="17"/>
                </a:cubicBezTo>
                <a:cubicBezTo>
                  <a:pt x="18" y="17"/>
                  <a:pt x="18" y="17"/>
                  <a:pt x="18" y="17"/>
                </a:cubicBezTo>
                <a:cubicBezTo>
                  <a:pt x="24" y="17"/>
                  <a:pt x="24" y="17"/>
                  <a:pt x="24" y="17"/>
                </a:cubicBezTo>
                <a:cubicBezTo>
                  <a:pt x="20" y="21"/>
                  <a:pt x="20" y="21"/>
                  <a:pt x="20" y="21"/>
                </a:cubicBezTo>
                <a:lnTo>
                  <a:pt x="8" y="3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4" name="iṩ1idê">
            <a:extLst>
              <a:ext uri="{FF2B5EF4-FFF2-40B4-BE49-F238E27FC236}">
                <a16:creationId xmlns:a16="http://schemas.microsoft.com/office/drawing/2014/main" id="{3B05723E-77D1-49FA-BAFC-DBD12815BD07}"/>
              </a:ext>
            </a:extLst>
          </p:cNvPr>
          <p:cNvSpPr/>
          <p:nvPr/>
        </p:nvSpPr>
        <p:spPr bwMode="auto">
          <a:xfrm>
            <a:off x="6623638" y="4717417"/>
            <a:ext cx="399689" cy="378122"/>
          </a:xfrm>
          <a:custGeom>
            <a:avLst/>
            <a:gdLst>
              <a:gd name="T0" fmla="*/ 34 w 77"/>
              <a:gd name="T1" fmla="*/ 39 h 73"/>
              <a:gd name="T2" fmla="*/ 34 w 77"/>
              <a:gd name="T3" fmla="*/ 41 h 73"/>
              <a:gd name="T4" fmla="*/ 34 w 77"/>
              <a:gd name="T5" fmla="*/ 43 h 73"/>
              <a:gd name="T6" fmla="*/ 34 w 77"/>
              <a:gd name="T7" fmla="*/ 67 h 73"/>
              <a:gd name="T8" fmla="*/ 25 w 77"/>
              <a:gd name="T9" fmla="*/ 73 h 73"/>
              <a:gd name="T10" fmla="*/ 51 w 77"/>
              <a:gd name="T11" fmla="*/ 73 h 73"/>
              <a:gd name="T12" fmla="*/ 43 w 77"/>
              <a:gd name="T13" fmla="*/ 67 h 73"/>
              <a:gd name="T14" fmla="*/ 43 w 77"/>
              <a:gd name="T15" fmla="*/ 43 h 73"/>
              <a:gd name="T16" fmla="*/ 43 w 77"/>
              <a:gd name="T17" fmla="*/ 41 h 73"/>
              <a:gd name="T18" fmla="*/ 43 w 77"/>
              <a:gd name="T19" fmla="*/ 39 h 73"/>
              <a:gd name="T20" fmla="*/ 65 w 77"/>
              <a:gd name="T21" fmla="*/ 14 h 73"/>
              <a:gd name="T22" fmla="*/ 77 w 77"/>
              <a:gd name="T23" fmla="*/ 0 h 73"/>
              <a:gd name="T24" fmla="*/ 58 w 77"/>
              <a:gd name="T25" fmla="*/ 0 h 73"/>
              <a:gd name="T26" fmla="*/ 0 w 77"/>
              <a:gd name="T27" fmla="*/ 0 h 73"/>
              <a:gd name="T28" fmla="*/ 34 w 77"/>
              <a:gd name="T29" fmla="*/ 39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7" h="73">
                <a:moveTo>
                  <a:pt x="34" y="39"/>
                </a:moveTo>
                <a:cubicBezTo>
                  <a:pt x="34" y="41"/>
                  <a:pt x="34" y="41"/>
                  <a:pt x="34" y="41"/>
                </a:cubicBezTo>
                <a:cubicBezTo>
                  <a:pt x="34" y="43"/>
                  <a:pt x="34" y="43"/>
                  <a:pt x="34" y="43"/>
                </a:cubicBezTo>
                <a:cubicBezTo>
                  <a:pt x="34" y="67"/>
                  <a:pt x="34" y="67"/>
                  <a:pt x="34" y="67"/>
                </a:cubicBezTo>
                <a:cubicBezTo>
                  <a:pt x="29" y="68"/>
                  <a:pt x="25" y="70"/>
                  <a:pt x="25" y="73"/>
                </a:cubicBezTo>
                <a:cubicBezTo>
                  <a:pt x="51" y="73"/>
                  <a:pt x="51" y="73"/>
                  <a:pt x="51" y="73"/>
                </a:cubicBezTo>
                <a:cubicBezTo>
                  <a:pt x="51" y="70"/>
                  <a:pt x="47" y="68"/>
                  <a:pt x="43" y="67"/>
                </a:cubicBezTo>
                <a:cubicBezTo>
                  <a:pt x="43" y="43"/>
                  <a:pt x="43" y="43"/>
                  <a:pt x="43" y="43"/>
                </a:cubicBezTo>
                <a:cubicBezTo>
                  <a:pt x="43" y="41"/>
                  <a:pt x="43" y="41"/>
                  <a:pt x="43" y="41"/>
                </a:cubicBezTo>
                <a:cubicBezTo>
                  <a:pt x="43" y="39"/>
                  <a:pt x="43" y="39"/>
                  <a:pt x="43" y="39"/>
                </a:cubicBezTo>
                <a:cubicBezTo>
                  <a:pt x="65" y="14"/>
                  <a:pt x="65" y="14"/>
                  <a:pt x="65" y="14"/>
                </a:cubicBezTo>
                <a:cubicBezTo>
                  <a:pt x="77" y="0"/>
                  <a:pt x="77" y="0"/>
                  <a:pt x="77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0" y="0"/>
                  <a:pt x="0" y="0"/>
                  <a:pt x="0" y="0"/>
                </a:cubicBezTo>
                <a:lnTo>
                  <a:pt x="34" y="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5" name="îśḷidé">
            <a:extLst>
              <a:ext uri="{FF2B5EF4-FFF2-40B4-BE49-F238E27FC236}">
                <a16:creationId xmlns:a16="http://schemas.microsoft.com/office/drawing/2014/main" id="{6177A7CE-0D31-4871-ADA2-E95CEEDCA9B9}"/>
              </a:ext>
            </a:extLst>
          </p:cNvPr>
          <p:cNvSpPr/>
          <p:nvPr/>
        </p:nvSpPr>
        <p:spPr bwMode="auto">
          <a:xfrm>
            <a:off x="9256118" y="2054749"/>
            <a:ext cx="429880" cy="109267"/>
          </a:xfrm>
          <a:custGeom>
            <a:avLst/>
            <a:gdLst>
              <a:gd name="T0" fmla="*/ 198 w 299"/>
              <a:gd name="T1" fmla="*/ 39 h 76"/>
              <a:gd name="T2" fmla="*/ 104 w 299"/>
              <a:gd name="T3" fmla="*/ 39 h 76"/>
              <a:gd name="T4" fmla="*/ 104 w 299"/>
              <a:gd name="T5" fmla="*/ 0 h 76"/>
              <a:gd name="T6" fmla="*/ 0 w 299"/>
              <a:gd name="T7" fmla="*/ 0 h 76"/>
              <a:gd name="T8" fmla="*/ 0 w 299"/>
              <a:gd name="T9" fmla="*/ 76 h 76"/>
              <a:gd name="T10" fmla="*/ 299 w 299"/>
              <a:gd name="T11" fmla="*/ 76 h 76"/>
              <a:gd name="T12" fmla="*/ 299 w 299"/>
              <a:gd name="T13" fmla="*/ 0 h 76"/>
              <a:gd name="T14" fmla="*/ 198 w 299"/>
              <a:gd name="T15" fmla="*/ 0 h 76"/>
              <a:gd name="T16" fmla="*/ 198 w 299"/>
              <a:gd name="T17" fmla="*/ 39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9" h="76">
                <a:moveTo>
                  <a:pt x="198" y="39"/>
                </a:moveTo>
                <a:lnTo>
                  <a:pt x="104" y="39"/>
                </a:lnTo>
                <a:lnTo>
                  <a:pt x="104" y="0"/>
                </a:lnTo>
                <a:lnTo>
                  <a:pt x="0" y="0"/>
                </a:lnTo>
                <a:lnTo>
                  <a:pt x="0" y="76"/>
                </a:lnTo>
                <a:lnTo>
                  <a:pt x="299" y="76"/>
                </a:lnTo>
                <a:lnTo>
                  <a:pt x="299" y="0"/>
                </a:lnTo>
                <a:lnTo>
                  <a:pt x="198" y="0"/>
                </a:lnTo>
                <a:lnTo>
                  <a:pt x="198" y="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6" name="iślîďe">
            <a:extLst>
              <a:ext uri="{FF2B5EF4-FFF2-40B4-BE49-F238E27FC236}">
                <a16:creationId xmlns:a16="http://schemas.microsoft.com/office/drawing/2014/main" id="{4440CBDF-C164-4F30-B4D0-29D331E67DBC}"/>
              </a:ext>
            </a:extLst>
          </p:cNvPr>
          <p:cNvSpPr/>
          <p:nvPr/>
        </p:nvSpPr>
        <p:spPr bwMode="auto">
          <a:xfrm>
            <a:off x="9431520" y="2054749"/>
            <a:ext cx="83388" cy="30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7" name="îṥḻiḍè">
            <a:extLst>
              <a:ext uri="{FF2B5EF4-FFF2-40B4-BE49-F238E27FC236}">
                <a16:creationId xmlns:a16="http://schemas.microsoft.com/office/drawing/2014/main" id="{5CEBC91D-6B4F-487C-8AC4-924ED7506CE4}"/>
              </a:ext>
            </a:extLst>
          </p:cNvPr>
          <p:cNvSpPr/>
          <p:nvPr/>
        </p:nvSpPr>
        <p:spPr bwMode="auto">
          <a:xfrm>
            <a:off x="9256118" y="1800272"/>
            <a:ext cx="429880" cy="228599"/>
          </a:xfrm>
          <a:custGeom>
            <a:avLst/>
            <a:gdLst>
              <a:gd name="T0" fmla="*/ 223 w 299"/>
              <a:gd name="T1" fmla="*/ 0 h 159"/>
              <a:gd name="T2" fmla="*/ 151 w 299"/>
              <a:gd name="T3" fmla="*/ 0 h 159"/>
              <a:gd name="T4" fmla="*/ 151 w 299"/>
              <a:gd name="T5" fmla="*/ 29 h 159"/>
              <a:gd name="T6" fmla="*/ 198 w 299"/>
              <a:gd name="T7" fmla="*/ 29 h 159"/>
              <a:gd name="T8" fmla="*/ 198 w 299"/>
              <a:gd name="T9" fmla="*/ 58 h 159"/>
              <a:gd name="T10" fmla="*/ 151 w 299"/>
              <a:gd name="T11" fmla="*/ 58 h 159"/>
              <a:gd name="T12" fmla="*/ 151 w 299"/>
              <a:gd name="T13" fmla="*/ 159 h 159"/>
              <a:gd name="T14" fmla="*/ 198 w 299"/>
              <a:gd name="T15" fmla="*/ 159 h 159"/>
              <a:gd name="T16" fmla="*/ 299 w 299"/>
              <a:gd name="T17" fmla="*/ 159 h 159"/>
              <a:gd name="T18" fmla="*/ 299 w 299"/>
              <a:gd name="T19" fmla="*/ 58 h 159"/>
              <a:gd name="T20" fmla="*/ 223 w 299"/>
              <a:gd name="T21" fmla="*/ 58 h 159"/>
              <a:gd name="T22" fmla="*/ 223 w 299"/>
              <a:gd name="T23" fmla="*/ 0 h 159"/>
              <a:gd name="T24" fmla="*/ 151 w 299"/>
              <a:gd name="T25" fmla="*/ 0 h 159"/>
              <a:gd name="T26" fmla="*/ 79 w 299"/>
              <a:gd name="T27" fmla="*/ 0 h 159"/>
              <a:gd name="T28" fmla="*/ 79 w 299"/>
              <a:gd name="T29" fmla="*/ 58 h 159"/>
              <a:gd name="T30" fmla="*/ 0 w 299"/>
              <a:gd name="T31" fmla="*/ 58 h 159"/>
              <a:gd name="T32" fmla="*/ 0 w 299"/>
              <a:gd name="T33" fmla="*/ 159 h 159"/>
              <a:gd name="T34" fmla="*/ 104 w 299"/>
              <a:gd name="T35" fmla="*/ 159 h 159"/>
              <a:gd name="T36" fmla="*/ 151 w 299"/>
              <a:gd name="T37" fmla="*/ 159 h 159"/>
              <a:gd name="T38" fmla="*/ 151 w 299"/>
              <a:gd name="T39" fmla="*/ 58 h 159"/>
              <a:gd name="T40" fmla="*/ 104 w 299"/>
              <a:gd name="T41" fmla="*/ 58 h 159"/>
              <a:gd name="T42" fmla="*/ 104 w 299"/>
              <a:gd name="T43" fmla="*/ 58 h 159"/>
              <a:gd name="T44" fmla="*/ 104 w 299"/>
              <a:gd name="T45" fmla="*/ 29 h 159"/>
              <a:gd name="T46" fmla="*/ 151 w 299"/>
              <a:gd name="T47" fmla="*/ 29 h 159"/>
              <a:gd name="T48" fmla="*/ 151 w 299"/>
              <a:gd name="T49" fmla="*/ 0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99" h="159">
                <a:moveTo>
                  <a:pt x="223" y="0"/>
                </a:moveTo>
                <a:lnTo>
                  <a:pt x="151" y="0"/>
                </a:lnTo>
                <a:lnTo>
                  <a:pt x="151" y="29"/>
                </a:lnTo>
                <a:lnTo>
                  <a:pt x="198" y="29"/>
                </a:lnTo>
                <a:lnTo>
                  <a:pt x="198" y="58"/>
                </a:lnTo>
                <a:lnTo>
                  <a:pt x="151" y="58"/>
                </a:lnTo>
                <a:lnTo>
                  <a:pt x="151" y="159"/>
                </a:lnTo>
                <a:lnTo>
                  <a:pt x="198" y="159"/>
                </a:lnTo>
                <a:lnTo>
                  <a:pt x="299" y="159"/>
                </a:lnTo>
                <a:lnTo>
                  <a:pt x="299" y="58"/>
                </a:lnTo>
                <a:lnTo>
                  <a:pt x="223" y="58"/>
                </a:lnTo>
                <a:lnTo>
                  <a:pt x="223" y="0"/>
                </a:lnTo>
                <a:close/>
                <a:moveTo>
                  <a:pt x="151" y="0"/>
                </a:moveTo>
                <a:lnTo>
                  <a:pt x="79" y="0"/>
                </a:lnTo>
                <a:lnTo>
                  <a:pt x="79" y="58"/>
                </a:lnTo>
                <a:lnTo>
                  <a:pt x="0" y="58"/>
                </a:lnTo>
                <a:lnTo>
                  <a:pt x="0" y="159"/>
                </a:lnTo>
                <a:lnTo>
                  <a:pt x="104" y="159"/>
                </a:lnTo>
                <a:lnTo>
                  <a:pt x="151" y="159"/>
                </a:lnTo>
                <a:lnTo>
                  <a:pt x="151" y="58"/>
                </a:lnTo>
                <a:lnTo>
                  <a:pt x="104" y="58"/>
                </a:lnTo>
                <a:lnTo>
                  <a:pt x="104" y="58"/>
                </a:lnTo>
                <a:lnTo>
                  <a:pt x="104" y="29"/>
                </a:lnTo>
                <a:lnTo>
                  <a:pt x="151" y="29"/>
                </a:lnTo>
                <a:lnTo>
                  <a:pt x="15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8" name="íṩľidê">
            <a:extLst>
              <a:ext uri="{FF2B5EF4-FFF2-40B4-BE49-F238E27FC236}">
                <a16:creationId xmlns:a16="http://schemas.microsoft.com/office/drawing/2014/main" id="{F505BC0C-E1F4-4B09-9FF8-E192677B73F9}"/>
              </a:ext>
            </a:extLst>
          </p:cNvPr>
          <p:cNvSpPr/>
          <p:nvPr/>
        </p:nvSpPr>
        <p:spPr bwMode="auto">
          <a:xfrm>
            <a:off x="6944251" y="2500444"/>
            <a:ext cx="435631" cy="445695"/>
          </a:xfrm>
          <a:custGeom>
            <a:avLst/>
            <a:gdLst>
              <a:gd name="T0" fmla="*/ 42 w 84"/>
              <a:gd name="T1" fmla="*/ 0 h 86"/>
              <a:gd name="T2" fmla="*/ 33 w 84"/>
              <a:gd name="T3" fmla="*/ 18 h 86"/>
              <a:gd name="T4" fmla="*/ 33 w 84"/>
              <a:gd name="T5" fmla="*/ 32 h 86"/>
              <a:gd name="T6" fmla="*/ 0 w 84"/>
              <a:gd name="T7" fmla="*/ 46 h 86"/>
              <a:gd name="T8" fmla="*/ 0 w 84"/>
              <a:gd name="T9" fmla="*/ 55 h 86"/>
              <a:gd name="T10" fmla="*/ 33 w 84"/>
              <a:gd name="T11" fmla="*/ 48 h 86"/>
              <a:gd name="T12" fmla="*/ 33 w 84"/>
              <a:gd name="T13" fmla="*/ 67 h 86"/>
              <a:gd name="T14" fmla="*/ 19 w 84"/>
              <a:gd name="T15" fmla="*/ 77 h 86"/>
              <a:gd name="T16" fmla="*/ 19 w 84"/>
              <a:gd name="T17" fmla="*/ 86 h 86"/>
              <a:gd name="T18" fmla="*/ 42 w 84"/>
              <a:gd name="T19" fmla="*/ 78 h 86"/>
              <a:gd name="T20" fmla="*/ 65 w 84"/>
              <a:gd name="T21" fmla="*/ 86 h 86"/>
              <a:gd name="T22" fmla="*/ 65 w 84"/>
              <a:gd name="T23" fmla="*/ 77 h 86"/>
              <a:gd name="T24" fmla="*/ 52 w 84"/>
              <a:gd name="T25" fmla="*/ 67 h 86"/>
              <a:gd name="T26" fmla="*/ 52 w 84"/>
              <a:gd name="T27" fmla="*/ 48 h 86"/>
              <a:gd name="T28" fmla="*/ 84 w 84"/>
              <a:gd name="T29" fmla="*/ 55 h 86"/>
              <a:gd name="T30" fmla="*/ 84 w 84"/>
              <a:gd name="T31" fmla="*/ 46 h 86"/>
              <a:gd name="T32" fmla="*/ 52 w 84"/>
              <a:gd name="T33" fmla="*/ 32 h 86"/>
              <a:gd name="T34" fmla="*/ 52 w 84"/>
              <a:gd name="T35" fmla="*/ 18 h 86"/>
              <a:gd name="T36" fmla="*/ 42 w 84"/>
              <a:gd name="T3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4" h="86">
                <a:moveTo>
                  <a:pt x="42" y="0"/>
                </a:moveTo>
                <a:cubicBezTo>
                  <a:pt x="37" y="0"/>
                  <a:pt x="33" y="13"/>
                  <a:pt x="33" y="18"/>
                </a:cubicBezTo>
                <a:cubicBezTo>
                  <a:pt x="33" y="32"/>
                  <a:pt x="33" y="32"/>
                  <a:pt x="33" y="32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55"/>
                  <a:pt x="0" y="55"/>
                  <a:pt x="0" y="55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67"/>
                  <a:pt x="33" y="67"/>
                  <a:pt x="33" y="67"/>
                </a:cubicBezTo>
                <a:cubicBezTo>
                  <a:pt x="19" y="77"/>
                  <a:pt x="19" y="77"/>
                  <a:pt x="19" y="77"/>
                </a:cubicBezTo>
                <a:cubicBezTo>
                  <a:pt x="19" y="86"/>
                  <a:pt x="19" y="86"/>
                  <a:pt x="19" y="86"/>
                </a:cubicBezTo>
                <a:cubicBezTo>
                  <a:pt x="42" y="78"/>
                  <a:pt x="42" y="78"/>
                  <a:pt x="42" y="78"/>
                </a:cubicBezTo>
                <a:cubicBezTo>
                  <a:pt x="65" y="86"/>
                  <a:pt x="65" y="86"/>
                  <a:pt x="65" y="86"/>
                </a:cubicBezTo>
                <a:cubicBezTo>
                  <a:pt x="65" y="77"/>
                  <a:pt x="65" y="77"/>
                  <a:pt x="65" y="77"/>
                </a:cubicBezTo>
                <a:cubicBezTo>
                  <a:pt x="52" y="67"/>
                  <a:pt x="52" y="67"/>
                  <a:pt x="52" y="67"/>
                </a:cubicBezTo>
                <a:cubicBezTo>
                  <a:pt x="52" y="48"/>
                  <a:pt x="52" y="48"/>
                  <a:pt x="52" y="48"/>
                </a:cubicBezTo>
                <a:cubicBezTo>
                  <a:pt x="84" y="55"/>
                  <a:pt x="84" y="55"/>
                  <a:pt x="84" y="55"/>
                </a:cubicBezTo>
                <a:cubicBezTo>
                  <a:pt x="84" y="46"/>
                  <a:pt x="84" y="46"/>
                  <a:pt x="84" y="46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18"/>
                  <a:pt x="52" y="18"/>
                  <a:pt x="52" y="18"/>
                </a:cubicBezTo>
                <a:cubicBezTo>
                  <a:pt x="52" y="13"/>
                  <a:pt x="48" y="0"/>
                  <a:pt x="4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9" name="îṡḷiḓè">
            <a:extLst>
              <a:ext uri="{FF2B5EF4-FFF2-40B4-BE49-F238E27FC236}">
                <a16:creationId xmlns:a16="http://schemas.microsoft.com/office/drawing/2014/main" id="{7F4AB8F7-0CB8-4C07-B94E-F3C164488943}"/>
              </a:ext>
            </a:extLst>
          </p:cNvPr>
          <p:cNvSpPr/>
          <p:nvPr/>
        </p:nvSpPr>
        <p:spPr bwMode="auto">
          <a:xfrm>
            <a:off x="10866372" y="3696632"/>
            <a:ext cx="316300" cy="254477"/>
          </a:xfrm>
          <a:custGeom>
            <a:avLst/>
            <a:gdLst>
              <a:gd name="T0" fmla="*/ 48 w 61"/>
              <a:gd name="T1" fmla="*/ 49 h 49"/>
              <a:gd name="T2" fmla="*/ 48 w 61"/>
              <a:gd name="T3" fmla="*/ 32 h 49"/>
              <a:gd name="T4" fmla="*/ 56 w 61"/>
              <a:gd name="T5" fmla="*/ 24 h 49"/>
              <a:gd name="T6" fmla="*/ 61 w 61"/>
              <a:gd name="T7" fmla="*/ 24 h 49"/>
              <a:gd name="T8" fmla="*/ 61 w 61"/>
              <a:gd name="T9" fmla="*/ 6 h 49"/>
              <a:gd name="T10" fmla="*/ 54 w 61"/>
              <a:gd name="T11" fmla="*/ 0 h 49"/>
              <a:gd name="T12" fmla="*/ 39 w 61"/>
              <a:gd name="T13" fmla="*/ 0 h 49"/>
              <a:gd name="T14" fmla="*/ 39 w 61"/>
              <a:gd name="T15" fmla="*/ 8 h 49"/>
              <a:gd name="T16" fmla="*/ 45 w 61"/>
              <a:gd name="T17" fmla="*/ 13 h 49"/>
              <a:gd name="T18" fmla="*/ 39 w 61"/>
              <a:gd name="T19" fmla="*/ 19 h 49"/>
              <a:gd name="T20" fmla="*/ 39 w 61"/>
              <a:gd name="T21" fmla="*/ 22 h 49"/>
              <a:gd name="T22" fmla="*/ 45 w 61"/>
              <a:gd name="T23" fmla="*/ 28 h 49"/>
              <a:gd name="T24" fmla="*/ 39 w 61"/>
              <a:gd name="T25" fmla="*/ 33 h 49"/>
              <a:gd name="T26" fmla="*/ 39 w 61"/>
              <a:gd name="T27" fmla="*/ 49 h 49"/>
              <a:gd name="T28" fmla="*/ 48 w 61"/>
              <a:gd name="T29" fmla="*/ 49 h 49"/>
              <a:gd name="T30" fmla="*/ 39 w 61"/>
              <a:gd name="T31" fmla="*/ 0 h 49"/>
              <a:gd name="T32" fmla="*/ 22 w 61"/>
              <a:gd name="T33" fmla="*/ 0 h 49"/>
              <a:gd name="T34" fmla="*/ 22 w 61"/>
              <a:gd name="T35" fmla="*/ 8 h 49"/>
              <a:gd name="T36" fmla="*/ 22 w 61"/>
              <a:gd name="T37" fmla="*/ 8 h 49"/>
              <a:gd name="T38" fmla="*/ 22 w 61"/>
              <a:gd name="T39" fmla="*/ 8 h 49"/>
              <a:gd name="T40" fmla="*/ 27 w 61"/>
              <a:gd name="T41" fmla="*/ 13 h 49"/>
              <a:gd name="T42" fmla="*/ 22 w 61"/>
              <a:gd name="T43" fmla="*/ 19 h 49"/>
              <a:gd name="T44" fmla="*/ 22 w 61"/>
              <a:gd name="T45" fmla="*/ 19 h 49"/>
              <a:gd name="T46" fmla="*/ 22 w 61"/>
              <a:gd name="T47" fmla="*/ 22 h 49"/>
              <a:gd name="T48" fmla="*/ 22 w 61"/>
              <a:gd name="T49" fmla="*/ 22 h 49"/>
              <a:gd name="T50" fmla="*/ 22 w 61"/>
              <a:gd name="T51" fmla="*/ 22 h 49"/>
              <a:gd name="T52" fmla="*/ 27 w 61"/>
              <a:gd name="T53" fmla="*/ 28 h 49"/>
              <a:gd name="T54" fmla="*/ 22 w 61"/>
              <a:gd name="T55" fmla="*/ 33 h 49"/>
              <a:gd name="T56" fmla="*/ 22 w 61"/>
              <a:gd name="T57" fmla="*/ 33 h 49"/>
              <a:gd name="T58" fmla="*/ 22 w 61"/>
              <a:gd name="T59" fmla="*/ 49 h 49"/>
              <a:gd name="T60" fmla="*/ 39 w 61"/>
              <a:gd name="T61" fmla="*/ 49 h 49"/>
              <a:gd name="T62" fmla="*/ 39 w 61"/>
              <a:gd name="T63" fmla="*/ 33 h 49"/>
              <a:gd name="T64" fmla="*/ 39 w 61"/>
              <a:gd name="T65" fmla="*/ 33 h 49"/>
              <a:gd name="T66" fmla="*/ 34 w 61"/>
              <a:gd name="T67" fmla="*/ 28 h 49"/>
              <a:gd name="T68" fmla="*/ 39 w 61"/>
              <a:gd name="T69" fmla="*/ 22 h 49"/>
              <a:gd name="T70" fmla="*/ 39 w 61"/>
              <a:gd name="T71" fmla="*/ 22 h 49"/>
              <a:gd name="T72" fmla="*/ 39 w 61"/>
              <a:gd name="T73" fmla="*/ 22 h 49"/>
              <a:gd name="T74" fmla="*/ 39 w 61"/>
              <a:gd name="T75" fmla="*/ 19 h 49"/>
              <a:gd name="T76" fmla="*/ 39 w 61"/>
              <a:gd name="T77" fmla="*/ 19 h 49"/>
              <a:gd name="T78" fmla="*/ 34 w 61"/>
              <a:gd name="T79" fmla="*/ 13 h 49"/>
              <a:gd name="T80" fmla="*/ 39 w 61"/>
              <a:gd name="T81" fmla="*/ 8 h 49"/>
              <a:gd name="T82" fmla="*/ 39 w 61"/>
              <a:gd name="T83" fmla="*/ 8 h 49"/>
              <a:gd name="T84" fmla="*/ 39 w 61"/>
              <a:gd name="T85" fmla="*/ 8 h 49"/>
              <a:gd name="T86" fmla="*/ 39 w 61"/>
              <a:gd name="T87" fmla="*/ 0 h 49"/>
              <a:gd name="T88" fmla="*/ 22 w 61"/>
              <a:gd name="T89" fmla="*/ 0 h 49"/>
              <a:gd name="T90" fmla="*/ 6 w 61"/>
              <a:gd name="T91" fmla="*/ 0 h 49"/>
              <a:gd name="T92" fmla="*/ 0 w 61"/>
              <a:gd name="T93" fmla="*/ 6 h 49"/>
              <a:gd name="T94" fmla="*/ 0 w 61"/>
              <a:gd name="T95" fmla="*/ 24 h 49"/>
              <a:gd name="T96" fmla="*/ 5 w 61"/>
              <a:gd name="T97" fmla="*/ 24 h 49"/>
              <a:gd name="T98" fmla="*/ 13 w 61"/>
              <a:gd name="T99" fmla="*/ 32 h 49"/>
              <a:gd name="T100" fmla="*/ 13 w 61"/>
              <a:gd name="T101" fmla="*/ 49 h 49"/>
              <a:gd name="T102" fmla="*/ 22 w 61"/>
              <a:gd name="T103" fmla="*/ 49 h 49"/>
              <a:gd name="T104" fmla="*/ 22 w 61"/>
              <a:gd name="T105" fmla="*/ 33 h 49"/>
              <a:gd name="T106" fmla="*/ 16 w 61"/>
              <a:gd name="T107" fmla="*/ 28 h 49"/>
              <a:gd name="T108" fmla="*/ 22 w 61"/>
              <a:gd name="T109" fmla="*/ 22 h 49"/>
              <a:gd name="T110" fmla="*/ 22 w 61"/>
              <a:gd name="T111" fmla="*/ 19 h 49"/>
              <a:gd name="T112" fmla="*/ 16 w 61"/>
              <a:gd name="T113" fmla="*/ 13 h 49"/>
              <a:gd name="T114" fmla="*/ 22 w 61"/>
              <a:gd name="T115" fmla="*/ 8 h 49"/>
              <a:gd name="T116" fmla="*/ 22 w 61"/>
              <a:gd name="T117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" h="49">
                <a:moveTo>
                  <a:pt x="48" y="49"/>
                </a:moveTo>
                <a:cubicBezTo>
                  <a:pt x="48" y="32"/>
                  <a:pt x="48" y="32"/>
                  <a:pt x="48" y="32"/>
                </a:cubicBezTo>
                <a:cubicBezTo>
                  <a:pt x="48" y="27"/>
                  <a:pt x="51" y="24"/>
                  <a:pt x="56" y="24"/>
                </a:cubicBezTo>
                <a:cubicBezTo>
                  <a:pt x="61" y="24"/>
                  <a:pt x="61" y="24"/>
                  <a:pt x="61" y="24"/>
                </a:cubicBezTo>
                <a:cubicBezTo>
                  <a:pt x="61" y="6"/>
                  <a:pt x="61" y="6"/>
                  <a:pt x="61" y="6"/>
                </a:cubicBezTo>
                <a:cubicBezTo>
                  <a:pt x="61" y="3"/>
                  <a:pt x="58" y="0"/>
                  <a:pt x="54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8"/>
                  <a:pt x="39" y="8"/>
                  <a:pt x="39" y="8"/>
                </a:cubicBezTo>
                <a:cubicBezTo>
                  <a:pt x="42" y="8"/>
                  <a:pt x="45" y="10"/>
                  <a:pt x="45" y="13"/>
                </a:cubicBezTo>
                <a:cubicBezTo>
                  <a:pt x="45" y="16"/>
                  <a:pt x="42" y="19"/>
                  <a:pt x="39" y="19"/>
                </a:cubicBezTo>
                <a:cubicBezTo>
                  <a:pt x="39" y="22"/>
                  <a:pt x="39" y="22"/>
                  <a:pt x="39" y="22"/>
                </a:cubicBezTo>
                <a:cubicBezTo>
                  <a:pt x="42" y="22"/>
                  <a:pt x="45" y="25"/>
                  <a:pt x="45" y="28"/>
                </a:cubicBezTo>
                <a:cubicBezTo>
                  <a:pt x="45" y="31"/>
                  <a:pt x="42" y="33"/>
                  <a:pt x="39" y="33"/>
                </a:cubicBezTo>
                <a:cubicBezTo>
                  <a:pt x="39" y="49"/>
                  <a:pt x="39" y="49"/>
                  <a:pt x="39" y="49"/>
                </a:cubicBezTo>
                <a:lnTo>
                  <a:pt x="48" y="49"/>
                </a:lnTo>
                <a:close/>
                <a:moveTo>
                  <a:pt x="39" y="0"/>
                </a:moveTo>
                <a:cubicBezTo>
                  <a:pt x="22" y="0"/>
                  <a:pt x="22" y="0"/>
                  <a:pt x="22" y="0"/>
                </a:cubicBezTo>
                <a:cubicBezTo>
                  <a:pt x="22" y="8"/>
                  <a:pt x="22" y="8"/>
                  <a:pt x="22" y="8"/>
                </a:cubicBezTo>
                <a:cubicBezTo>
                  <a:pt x="22" y="8"/>
                  <a:pt x="22" y="8"/>
                  <a:pt x="22" y="8"/>
                </a:cubicBezTo>
                <a:cubicBezTo>
                  <a:pt x="22" y="8"/>
                  <a:pt x="22" y="8"/>
                  <a:pt x="22" y="8"/>
                </a:cubicBezTo>
                <a:cubicBezTo>
                  <a:pt x="25" y="8"/>
                  <a:pt x="27" y="10"/>
                  <a:pt x="27" y="13"/>
                </a:cubicBezTo>
                <a:cubicBezTo>
                  <a:pt x="27" y="16"/>
                  <a:pt x="25" y="19"/>
                  <a:pt x="22" y="19"/>
                </a:cubicBezTo>
                <a:cubicBezTo>
                  <a:pt x="22" y="19"/>
                  <a:pt x="22" y="19"/>
                  <a:pt x="22" y="19"/>
                </a:cubicBezTo>
                <a:cubicBezTo>
                  <a:pt x="22" y="22"/>
                  <a:pt x="22" y="22"/>
                  <a:pt x="22" y="22"/>
                </a:cubicBezTo>
                <a:cubicBezTo>
                  <a:pt x="22" y="22"/>
                  <a:pt x="22" y="22"/>
                  <a:pt x="22" y="22"/>
                </a:cubicBezTo>
                <a:cubicBezTo>
                  <a:pt x="22" y="22"/>
                  <a:pt x="22" y="22"/>
                  <a:pt x="22" y="22"/>
                </a:cubicBezTo>
                <a:cubicBezTo>
                  <a:pt x="25" y="22"/>
                  <a:pt x="27" y="25"/>
                  <a:pt x="27" y="28"/>
                </a:cubicBezTo>
                <a:cubicBezTo>
                  <a:pt x="27" y="31"/>
                  <a:pt x="25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2" y="49"/>
                  <a:pt x="22" y="49"/>
                  <a:pt x="22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33"/>
                  <a:pt x="39" y="33"/>
                  <a:pt x="39" y="33"/>
                </a:cubicBezTo>
                <a:cubicBezTo>
                  <a:pt x="39" y="33"/>
                  <a:pt x="39" y="33"/>
                  <a:pt x="39" y="33"/>
                </a:cubicBezTo>
                <a:cubicBezTo>
                  <a:pt x="36" y="33"/>
                  <a:pt x="34" y="31"/>
                  <a:pt x="34" y="28"/>
                </a:cubicBezTo>
                <a:cubicBezTo>
                  <a:pt x="34" y="25"/>
                  <a:pt x="36" y="22"/>
                  <a:pt x="39" y="22"/>
                </a:cubicBezTo>
                <a:cubicBezTo>
                  <a:pt x="39" y="22"/>
                  <a:pt x="39" y="22"/>
                  <a:pt x="39" y="22"/>
                </a:cubicBezTo>
                <a:cubicBezTo>
                  <a:pt x="39" y="22"/>
                  <a:pt x="39" y="22"/>
                  <a:pt x="39" y="22"/>
                </a:cubicBezTo>
                <a:cubicBezTo>
                  <a:pt x="39" y="19"/>
                  <a:pt x="39" y="19"/>
                  <a:pt x="39" y="19"/>
                </a:cubicBezTo>
                <a:cubicBezTo>
                  <a:pt x="39" y="19"/>
                  <a:pt x="39" y="19"/>
                  <a:pt x="39" y="19"/>
                </a:cubicBezTo>
                <a:cubicBezTo>
                  <a:pt x="36" y="19"/>
                  <a:pt x="34" y="16"/>
                  <a:pt x="34" y="13"/>
                </a:cubicBezTo>
                <a:cubicBezTo>
                  <a:pt x="34" y="10"/>
                  <a:pt x="36" y="8"/>
                  <a:pt x="39" y="8"/>
                </a:cubicBezTo>
                <a:cubicBezTo>
                  <a:pt x="39" y="8"/>
                  <a:pt x="39" y="8"/>
                  <a:pt x="39" y="8"/>
                </a:cubicBezTo>
                <a:cubicBezTo>
                  <a:pt x="39" y="8"/>
                  <a:pt x="39" y="8"/>
                  <a:pt x="39" y="8"/>
                </a:cubicBezTo>
                <a:lnTo>
                  <a:pt x="39" y="0"/>
                </a:lnTo>
                <a:close/>
                <a:moveTo>
                  <a:pt x="22" y="0"/>
                </a:move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24"/>
                  <a:pt x="0" y="24"/>
                  <a:pt x="0" y="24"/>
                </a:cubicBezTo>
                <a:cubicBezTo>
                  <a:pt x="5" y="24"/>
                  <a:pt x="5" y="24"/>
                  <a:pt x="5" y="24"/>
                </a:cubicBezTo>
                <a:cubicBezTo>
                  <a:pt x="10" y="24"/>
                  <a:pt x="13" y="27"/>
                  <a:pt x="13" y="32"/>
                </a:cubicBezTo>
                <a:cubicBezTo>
                  <a:pt x="13" y="49"/>
                  <a:pt x="13" y="49"/>
                  <a:pt x="13" y="49"/>
                </a:cubicBezTo>
                <a:cubicBezTo>
                  <a:pt x="22" y="49"/>
                  <a:pt x="22" y="49"/>
                  <a:pt x="22" y="49"/>
                </a:cubicBezTo>
                <a:cubicBezTo>
                  <a:pt x="22" y="33"/>
                  <a:pt x="22" y="33"/>
                  <a:pt x="22" y="33"/>
                </a:cubicBezTo>
                <a:cubicBezTo>
                  <a:pt x="19" y="33"/>
                  <a:pt x="16" y="31"/>
                  <a:pt x="16" y="28"/>
                </a:cubicBezTo>
                <a:cubicBezTo>
                  <a:pt x="16" y="25"/>
                  <a:pt x="19" y="22"/>
                  <a:pt x="22" y="22"/>
                </a:cubicBezTo>
                <a:cubicBezTo>
                  <a:pt x="22" y="19"/>
                  <a:pt x="22" y="19"/>
                  <a:pt x="22" y="19"/>
                </a:cubicBezTo>
                <a:cubicBezTo>
                  <a:pt x="19" y="19"/>
                  <a:pt x="16" y="16"/>
                  <a:pt x="16" y="13"/>
                </a:cubicBezTo>
                <a:cubicBezTo>
                  <a:pt x="16" y="10"/>
                  <a:pt x="19" y="8"/>
                  <a:pt x="22" y="8"/>
                </a:cubicBezTo>
                <a:lnTo>
                  <a:pt x="2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0" name="îşḻiḑê">
            <a:extLst>
              <a:ext uri="{FF2B5EF4-FFF2-40B4-BE49-F238E27FC236}">
                <a16:creationId xmlns:a16="http://schemas.microsoft.com/office/drawing/2014/main" id="{F76F71AA-FBE6-427A-9F73-563D255C52DE}"/>
              </a:ext>
            </a:extLst>
          </p:cNvPr>
          <p:cNvSpPr/>
          <p:nvPr/>
        </p:nvSpPr>
        <p:spPr bwMode="auto">
          <a:xfrm>
            <a:off x="10810301" y="3837529"/>
            <a:ext cx="429880" cy="227160"/>
          </a:xfrm>
          <a:custGeom>
            <a:avLst/>
            <a:gdLst>
              <a:gd name="T0" fmla="*/ 78 w 83"/>
              <a:gd name="T1" fmla="*/ 0 h 44"/>
              <a:gd name="T2" fmla="*/ 72 w 83"/>
              <a:gd name="T3" fmla="*/ 0 h 44"/>
              <a:gd name="T4" fmla="*/ 67 w 83"/>
              <a:gd name="T5" fmla="*/ 0 h 44"/>
              <a:gd name="T6" fmla="*/ 61 w 83"/>
              <a:gd name="T7" fmla="*/ 5 h 44"/>
              <a:gd name="T8" fmla="*/ 61 w 83"/>
              <a:gd name="T9" fmla="*/ 24 h 44"/>
              <a:gd name="T10" fmla="*/ 21 w 83"/>
              <a:gd name="T11" fmla="*/ 24 h 44"/>
              <a:gd name="T12" fmla="*/ 21 w 83"/>
              <a:gd name="T13" fmla="*/ 5 h 44"/>
              <a:gd name="T14" fmla="*/ 16 w 83"/>
              <a:gd name="T15" fmla="*/ 0 h 44"/>
              <a:gd name="T16" fmla="*/ 11 w 83"/>
              <a:gd name="T17" fmla="*/ 0 h 44"/>
              <a:gd name="T18" fmla="*/ 6 w 83"/>
              <a:gd name="T19" fmla="*/ 0 h 44"/>
              <a:gd name="T20" fmla="*/ 0 w 83"/>
              <a:gd name="T21" fmla="*/ 5 h 44"/>
              <a:gd name="T22" fmla="*/ 0 w 83"/>
              <a:gd name="T23" fmla="*/ 33 h 44"/>
              <a:gd name="T24" fmla="*/ 8 w 83"/>
              <a:gd name="T25" fmla="*/ 41 h 44"/>
              <a:gd name="T26" fmla="*/ 8 w 83"/>
              <a:gd name="T27" fmla="*/ 41 h 44"/>
              <a:gd name="T28" fmla="*/ 9 w 83"/>
              <a:gd name="T29" fmla="*/ 43 h 44"/>
              <a:gd name="T30" fmla="*/ 11 w 83"/>
              <a:gd name="T31" fmla="*/ 44 h 44"/>
              <a:gd name="T32" fmla="*/ 13 w 83"/>
              <a:gd name="T33" fmla="*/ 44 h 44"/>
              <a:gd name="T34" fmla="*/ 15 w 83"/>
              <a:gd name="T35" fmla="*/ 43 h 44"/>
              <a:gd name="T36" fmla="*/ 16 w 83"/>
              <a:gd name="T37" fmla="*/ 41 h 44"/>
              <a:gd name="T38" fmla="*/ 16 w 83"/>
              <a:gd name="T39" fmla="*/ 41 h 44"/>
              <a:gd name="T40" fmla="*/ 67 w 83"/>
              <a:gd name="T41" fmla="*/ 41 h 44"/>
              <a:gd name="T42" fmla="*/ 67 w 83"/>
              <a:gd name="T43" fmla="*/ 41 h 44"/>
              <a:gd name="T44" fmla="*/ 68 w 83"/>
              <a:gd name="T45" fmla="*/ 43 h 44"/>
              <a:gd name="T46" fmla="*/ 70 w 83"/>
              <a:gd name="T47" fmla="*/ 44 h 44"/>
              <a:gd name="T48" fmla="*/ 72 w 83"/>
              <a:gd name="T49" fmla="*/ 44 h 44"/>
              <a:gd name="T50" fmla="*/ 74 w 83"/>
              <a:gd name="T51" fmla="*/ 43 h 44"/>
              <a:gd name="T52" fmla="*/ 75 w 83"/>
              <a:gd name="T53" fmla="*/ 41 h 44"/>
              <a:gd name="T54" fmla="*/ 75 w 83"/>
              <a:gd name="T55" fmla="*/ 41 h 44"/>
              <a:gd name="T56" fmla="*/ 78 w 83"/>
              <a:gd name="T57" fmla="*/ 41 h 44"/>
              <a:gd name="T58" fmla="*/ 83 w 83"/>
              <a:gd name="T59" fmla="*/ 33 h 44"/>
              <a:gd name="T60" fmla="*/ 83 w 83"/>
              <a:gd name="T61" fmla="*/ 5 h 44"/>
              <a:gd name="T62" fmla="*/ 78 w 83"/>
              <a:gd name="T63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" h="44">
                <a:moveTo>
                  <a:pt x="78" y="0"/>
                </a:moveTo>
                <a:cubicBezTo>
                  <a:pt x="72" y="0"/>
                  <a:pt x="72" y="0"/>
                  <a:pt x="72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4" y="0"/>
                  <a:pt x="61" y="1"/>
                  <a:pt x="61" y="5"/>
                </a:cubicBezTo>
                <a:cubicBezTo>
                  <a:pt x="61" y="24"/>
                  <a:pt x="61" y="24"/>
                  <a:pt x="61" y="24"/>
                </a:cubicBezTo>
                <a:cubicBezTo>
                  <a:pt x="21" y="24"/>
                  <a:pt x="21" y="24"/>
                  <a:pt x="21" y="24"/>
                </a:cubicBezTo>
                <a:cubicBezTo>
                  <a:pt x="21" y="5"/>
                  <a:pt x="21" y="5"/>
                  <a:pt x="21" y="5"/>
                </a:cubicBezTo>
                <a:cubicBezTo>
                  <a:pt x="21" y="1"/>
                  <a:pt x="20" y="0"/>
                  <a:pt x="16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6" y="0"/>
                  <a:pt x="6" y="0"/>
                  <a:pt x="6" y="0"/>
                </a:cubicBezTo>
                <a:cubicBezTo>
                  <a:pt x="2" y="0"/>
                  <a:pt x="0" y="1"/>
                  <a:pt x="0" y="5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6"/>
                  <a:pt x="4" y="41"/>
                  <a:pt x="8" y="41"/>
                </a:cubicBezTo>
                <a:cubicBezTo>
                  <a:pt x="8" y="41"/>
                  <a:pt x="8" y="41"/>
                  <a:pt x="8" y="41"/>
                </a:cubicBezTo>
                <a:cubicBezTo>
                  <a:pt x="8" y="42"/>
                  <a:pt x="8" y="42"/>
                  <a:pt x="9" y="43"/>
                </a:cubicBezTo>
                <a:cubicBezTo>
                  <a:pt x="9" y="44"/>
                  <a:pt x="10" y="44"/>
                  <a:pt x="11" y="44"/>
                </a:cubicBezTo>
                <a:cubicBezTo>
                  <a:pt x="13" y="44"/>
                  <a:pt x="13" y="44"/>
                  <a:pt x="13" y="44"/>
                </a:cubicBezTo>
                <a:cubicBezTo>
                  <a:pt x="14" y="44"/>
                  <a:pt x="15" y="44"/>
                  <a:pt x="15" y="43"/>
                </a:cubicBezTo>
                <a:cubicBezTo>
                  <a:pt x="16" y="42"/>
                  <a:pt x="16" y="42"/>
                  <a:pt x="16" y="41"/>
                </a:cubicBezTo>
                <a:cubicBezTo>
                  <a:pt x="16" y="41"/>
                  <a:pt x="16" y="41"/>
                  <a:pt x="16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7" y="42"/>
                  <a:pt x="67" y="42"/>
                  <a:pt x="68" y="43"/>
                </a:cubicBezTo>
                <a:cubicBezTo>
                  <a:pt x="68" y="44"/>
                  <a:pt x="69" y="44"/>
                  <a:pt x="70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4"/>
                  <a:pt x="74" y="43"/>
                </a:cubicBezTo>
                <a:cubicBezTo>
                  <a:pt x="75" y="42"/>
                  <a:pt x="75" y="42"/>
                  <a:pt x="75" y="41"/>
                </a:cubicBezTo>
                <a:cubicBezTo>
                  <a:pt x="75" y="41"/>
                  <a:pt x="75" y="41"/>
                  <a:pt x="75" y="41"/>
                </a:cubicBezTo>
                <a:cubicBezTo>
                  <a:pt x="78" y="41"/>
                  <a:pt x="78" y="41"/>
                  <a:pt x="78" y="41"/>
                </a:cubicBezTo>
                <a:cubicBezTo>
                  <a:pt x="81" y="41"/>
                  <a:pt x="83" y="36"/>
                  <a:pt x="83" y="33"/>
                </a:cubicBezTo>
                <a:cubicBezTo>
                  <a:pt x="83" y="5"/>
                  <a:pt x="83" y="5"/>
                  <a:pt x="83" y="5"/>
                </a:cubicBezTo>
                <a:cubicBezTo>
                  <a:pt x="83" y="1"/>
                  <a:pt x="81" y="0"/>
                  <a:pt x="7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1" name="î$ľíḑe">
            <a:extLst>
              <a:ext uri="{FF2B5EF4-FFF2-40B4-BE49-F238E27FC236}">
                <a16:creationId xmlns:a16="http://schemas.microsoft.com/office/drawing/2014/main" id="{51EDFA0C-06A9-45B8-AE01-DF08EAA9E5AD}"/>
              </a:ext>
            </a:extLst>
          </p:cNvPr>
          <p:cNvSpPr/>
          <p:nvPr/>
        </p:nvSpPr>
        <p:spPr bwMode="auto">
          <a:xfrm>
            <a:off x="10959825" y="3748390"/>
            <a:ext cx="37381" cy="3163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2" name="íṡ1ïḑê">
            <a:extLst>
              <a:ext uri="{FF2B5EF4-FFF2-40B4-BE49-F238E27FC236}">
                <a16:creationId xmlns:a16="http://schemas.microsoft.com/office/drawing/2014/main" id="{9DDF7917-E2C5-40A9-968F-77194B33DC3E}"/>
              </a:ext>
            </a:extLst>
          </p:cNvPr>
          <p:cNvSpPr/>
          <p:nvPr/>
        </p:nvSpPr>
        <p:spPr bwMode="auto">
          <a:xfrm>
            <a:off x="11053276" y="3748390"/>
            <a:ext cx="35943" cy="3163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3" name="ïş1îḑé">
            <a:extLst>
              <a:ext uri="{FF2B5EF4-FFF2-40B4-BE49-F238E27FC236}">
                <a16:creationId xmlns:a16="http://schemas.microsoft.com/office/drawing/2014/main" id="{857D6A09-D585-4C33-A677-4AD4A7664FEB}"/>
              </a:ext>
            </a:extLst>
          </p:cNvPr>
          <p:cNvSpPr/>
          <p:nvPr/>
        </p:nvSpPr>
        <p:spPr bwMode="auto">
          <a:xfrm>
            <a:off x="10959825" y="3821714"/>
            <a:ext cx="37381" cy="3594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4" name="íś1ïḍê">
            <a:extLst>
              <a:ext uri="{FF2B5EF4-FFF2-40B4-BE49-F238E27FC236}">
                <a16:creationId xmlns:a16="http://schemas.microsoft.com/office/drawing/2014/main" id="{BC3C1F2F-E47F-4CD5-86CC-8EB7B8BA101C}"/>
              </a:ext>
            </a:extLst>
          </p:cNvPr>
          <p:cNvSpPr/>
          <p:nvPr/>
        </p:nvSpPr>
        <p:spPr bwMode="auto">
          <a:xfrm>
            <a:off x="11053276" y="3821714"/>
            <a:ext cx="35943" cy="3594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5" name="îşļïďê">
            <a:extLst>
              <a:ext uri="{FF2B5EF4-FFF2-40B4-BE49-F238E27FC236}">
                <a16:creationId xmlns:a16="http://schemas.microsoft.com/office/drawing/2014/main" id="{3D0E6ECB-EC0B-43D8-8855-DF8C2E7683A2}"/>
              </a:ext>
            </a:extLst>
          </p:cNvPr>
          <p:cNvSpPr/>
          <p:nvPr/>
        </p:nvSpPr>
        <p:spPr bwMode="auto">
          <a:xfrm>
            <a:off x="7654489" y="1955545"/>
            <a:ext cx="451447" cy="378122"/>
          </a:xfrm>
          <a:custGeom>
            <a:avLst/>
            <a:gdLst>
              <a:gd name="T0" fmla="*/ 58 w 87"/>
              <a:gd name="T1" fmla="*/ 0 h 73"/>
              <a:gd name="T2" fmla="*/ 31 w 87"/>
              <a:gd name="T3" fmla="*/ 0 h 73"/>
              <a:gd name="T4" fmla="*/ 0 w 87"/>
              <a:gd name="T5" fmla="*/ 26 h 73"/>
              <a:gd name="T6" fmla="*/ 9 w 87"/>
              <a:gd name="T7" fmla="*/ 38 h 73"/>
              <a:gd name="T8" fmla="*/ 20 w 87"/>
              <a:gd name="T9" fmla="*/ 27 h 73"/>
              <a:gd name="T10" fmla="*/ 20 w 87"/>
              <a:gd name="T11" fmla="*/ 73 h 73"/>
              <a:gd name="T12" fmla="*/ 44 w 87"/>
              <a:gd name="T13" fmla="*/ 73 h 73"/>
              <a:gd name="T14" fmla="*/ 68 w 87"/>
              <a:gd name="T15" fmla="*/ 73 h 73"/>
              <a:gd name="T16" fmla="*/ 67 w 87"/>
              <a:gd name="T17" fmla="*/ 27 h 73"/>
              <a:gd name="T18" fmla="*/ 79 w 87"/>
              <a:gd name="T19" fmla="*/ 38 h 73"/>
              <a:gd name="T20" fmla="*/ 87 w 87"/>
              <a:gd name="T21" fmla="*/ 26 h 73"/>
              <a:gd name="T22" fmla="*/ 58 w 87"/>
              <a:gd name="T23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7" h="73">
                <a:moveTo>
                  <a:pt x="58" y="0"/>
                </a:moveTo>
                <a:cubicBezTo>
                  <a:pt x="53" y="8"/>
                  <a:pt x="36" y="8"/>
                  <a:pt x="31" y="0"/>
                </a:cubicBezTo>
                <a:cubicBezTo>
                  <a:pt x="31" y="0"/>
                  <a:pt x="5" y="15"/>
                  <a:pt x="0" y="26"/>
                </a:cubicBezTo>
                <a:cubicBezTo>
                  <a:pt x="9" y="38"/>
                  <a:pt x="9" y="38"/>
                  <a:pt x="9" y="38"/>
                </a:cubicBezTo>
                <a:cubicBezTo>
                  <a:pt x="9" y="38"/>
                  <a:pt x="16" y="30"/>
                  <a:pt x="20" y="27"/>
                </a:cubicBezTo>
                <a:cubicBezTo>
                  <a:pt x="20" y="73"/>
                  <a:pt x="20" y="73"/>
                  <a:pt x="20" y="73"/>
                </a:cubicBezTo>
                <a:cubicBezTo>
                  <a:pt x="44" y="73"/>
                  <a:pt x="44" y="73"/>
                  <a:pt x="44" y="73"/>
                </a:cubicBezTo>
                <a:cubicBezTo>
                  <a:pt x="68" y="73"/>
                  <a:pt x="68" y="73"/>
                  <a:pt x="68" y="73"/>
                </a:cubicBezTo>
                <a:cubicBezTo>
                  <a:pt x="67" y="27"/>
                  <a:pt x="67" y="27"/>
                  <a:pt x="67" y="27"/>
                </a:cubicBezTo>
                <a:cubicBezTo>
                  <a:pt x="71" y="30"/>
                  <a:pt x="79" y="38"/>
                  <a:pt x="79" y="38"/>
                </a:cubicBezTo>
                <a:cubicBezTo>
                  <a:pt x="87" y="26"/>
                  <a:pt x="87" y="26"/>
                  <a:pt x="87" y="26"/>
                </a:cubicBezTo>
                <a:cubicBezTo>
                  <a:pt x="82" y="15"/>
                  <a:pt x="58" y="0"/>
                  <a:pt x="5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6" name="íṥḻïḑè">
            <a:extLst>
              <a:ext uri="{FF2B5EF4-FFF2-40B4-BE49-F238E27FC236}">
                <a16:creationId xmlns:a16="http://schemas.microsoft.com/office/drawing/2014/main" id="{F8F990AF-E4BA-4649-BAF1-DF19B578FBCE}"/>
              </a:ext>
            </a:extLst>
          </p:cNvPr>
          <p:cNvSpPr/>
          <p:nvPr/>
        </p:nvSpPr>
        <p:spPr bwMode="auto">
          <a:xfrm>
            <a:off x="7821265" y="1941168"/>
            <a:ext cx="129395" cy="35943"/>
          </a:xfrm>
          <a:custGeom>
            <a:avLst/>
            <a:gdLst>
              <a:gd name="T0" fmla="*/ 13 w 25"/>
              <a:gd name="T1" fmla="*/ 7 h 7"/>
              <a:gd name="T2" fmla="*/ 24 w 25"/>
              <a:gd name="T3" fmla="*/ 2 h 7"/>
              <a:gd name="T4" fmla="*/ 24 w 25"/>
              <a:gd name="T5" fmla="*/ 0 h 7"/>
              <a:gd name="T6" fmla="*/ 22 w 25"/>
              <a:gd name="T7" fmla="*/ 1 h 7"/>
              <a:gd name="T8" fmla="*/ 13 w 25"/>
              <a:gd name="T9" fmla="*/ 5 h 7"/>
              <a:gd name="T10" fmla="*/ 3 w 25"/>
              <a:gd name="T11" fmla="*/ 1 h 7"/>
              <a:gd name="T12" fmla="*/ 1 w 25"/>
              <a:gd name="T13" fmla="*/ 0 h 7"/>
              <a:gd name="T14" fmla="*/ 1 w 25"/>
              <a:gd name="T15" fmla="*/ 2 h 7"/>
              <a:gd name="T16" fmla="*/ 13 w 25"/>
              <a:gd name="T1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" h="7">
                <a:moveTo>
                  <a:pt x="13" y="7"/>
                </a:moveTo>
                <a:cubicBezTo>
                  <a:pt x="18" y="7"/>
                  <a:pt x="23" y="5"/>
                  <a:pt x="24" y="2"/>
                </a:cubicBezTo>
                <a:cubicBezTo>
                  <a:pt x="25" y="2"/>
                  <a:pt x="24" y="1"/>
                  <a:pt x="24" y="0"/>
                </a:cubicBezTo>
                <a:cubicBezTo>
                  <a:pt x="23" y="0"/>
                  <a:pt x="22" y="0"/>
                  <a:pt x="22" y="1"/>
                </a:cubicBezTo>
                <a:cubicBezTo>
                  <a:pt x="21" y="3"/>
                  <a:pt x="17" y="5"/>
                  <a:pt x="13" y="5"/>
                </a:cubicBezTo>
                <a:cubicBezTo>
                  <a:pt x="8" y="5"/>
                  <a:pt x="4" y="3"/>
                  <a:pt x="3" y="1"/>
                </a:cubicBezTo>
                <a:cubicBezTo>
                  <a:pt x="3" y="0"/>
                  <a:pt x="2" y="0"/>
                  <a:pt x="1" y="0"/>
                </a:cubicBezTo>
                <a:cubicBezTo>
                  <a:pt x="1" y="1"/>
                  <a:pt x="0" y="2"/>
                  <a:pt x="1" y="2"/>
                </a:cubicBezTo>
                <a:cubicBezTo>
                  <a:pt x="2" y="5"/>
                  <a:pt x="7" y="7"/>
                  <a:pt x="13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7" name="ïsḻiḓê">
            <a:extLst>
              <a:ext uri="{FF2B5EF4-FFF2-40B4-BE49-F238E27FC236}">
                <a16:creationId xmlns:a16="http://schemas.microsoft.com/office/drawing/2014/main" id="{1402DBC1-DA18-4C54-8AAC-B0158E9728B7}"/>
              </a:ext>
            </a:extLst>
          </p:cNvPr>
          <p:cNvSpPr/>
          <p:nvPr/>
        </p:nvSpPr>
        <p:spPr bwMode="auto">
          <a:xfrm>
            <a:off x="10406299" y="5262316"/>
            <a:ext cx="378123" cy="393937"/>
          </a:xfrm>
          <a:custGeom>
            <a:avLst/>
            <a:gdLst>
              <a:gd name="T0" fmla="*/ 56 w 73"/>
              <a:gd name="T1" fmla="*/ 2 h 76"/>
              <a:gd name="T2" fmla="*/ 51 w 73"/>
              <a:gd name="T3" fmla="*/ 2 h 76"/>
              <a:gd name="T4" fmla="*/ 50 w 73"/>
              <a:gd name="T5" fmla="*/ 3 h 76"/>
              <a:gd name="T6" fmla="*/ 44 w 73"/>
              <a:gd name="T7" fmla="*/ 5 h 76"/>
              <a:gd name="T8" fmla="*/ 17 w 73"/>
              <a:gd name="T9" fmla="*/ 5 h 76"/>
              <a:gd name="T10" fmla="*/ 13 w 73"/>
              <a:gd name="T11" fmla="*/ 8 h 76"/>
              <a:gd name="T12" fmla="*/ 1 w 73"/>
              <a:gd name="T13" fmla="*/ 40 h 76"/>
              <a:gd name="T14" fmla="*/ 7 w 73"/>
              <a:gd name="T15" fmla="*/ 47 h 76"/>
              <a:gd name="T16" fmla="*/ 29 w 73"/>
              <a:gd name="T17" fmla="*/ 47 h 76"/>
              <a:gd name="T18" fmla="*/ 28 w 73"/>
              <a:gd name="T19" fmla="*/ 54 h 76"/>
              <a:gd name="T20" fmla="*/ 24 w 73"/>
              <a:gd name="T21" fmla="*/ 66 h 76"/>
              <a:gd name="T22" fmla="*/ 26 w 73"/>
              <a:gd name="T23" fmla="*/ 72 h 76"/>
              <a:gd name="T24" fmla="*/ 34 w 73"/>
              <a:gd name="T25" fmla="*/ 72 h 76"/>
              <a:gd name="T26" fmla="*/ 41 w 73"/>
              <a:gd name="T27" fmla="*/ 57 h 76"/>
              <a:gd name="T28" fmla="*/ 55 w 73"/>
              <a:gd name="T29" fmla="*/ 40 h 76"/>
              <a:gd name="T30" fmla="*/ 57 w 73"/>
              <a:gd name="T31" fmla="*/ 37 h 76"/>
              <a:gd name="T32" fmla="*/ 72 w 73"/>
              <a:gd name="T33" fmla="*/ 23 h 76"/>
              <a:gd name="T34" fmla="*/ 72 w 73"/>
              <a:gd name="T35" fmla="*/ 18 h 76"/>
              <a:gd name="T36" fmla="*/ 56 w 73"/>
              <a:gd name="T37" fmla="*/ 2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76">
                <a:moveTo>
                  <a:pt x="56" y="2"/>
                </a:moveTo>
                <a:cubicBezTo>
                  <a:pt x="54" y="0"/>
                  <a:pt x="52" y="0"/>
                  <a:pt x="51" y="2"/>
                </a:cubicBezTo>
                <a:cubicBezTo>
                  <a:pt x="50" y="3"/>
                  <a:pt x="50" y="3"/>
                  <a:pt x="50" y="3"/>
                </a:cubicBezTo>
                <a:cubicBezTo>
                  <a:pt x="48" y="4"/>
                  <a:pt x="46" y="5"/>
                  <a:pt x="44" y="5"/>
                </a:cubicBezTo>
                <a:cubicBezTo>
                  <a:pt x="17" y="5"/>
                  <a:pt x="17" y="5"/>
                  <a:pt x="17" y="5"/>
                </a:cubicBezTo>
                <a:cubicBezTo>
                  <a:pt x="15" y="5"/>
                  <a:pt x="13" y="7"/>
                  <a:pt x="13" y="8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4"/>
                  <a:pt x="2" y="47"/>
                  <a:pt x="7" y="47"/>
                </a:cubicBezTo>
                <a:cubicBezTo>
                  <a:pt x="29" y="47"/>
                  <a:pt x="29" y="47"/>
                  <a:pt x="29" y="47"/>
                </a:cubicBezTo>
                <a:cubicBezTo>
                  <a:pt x="30" y="50"/>
                  <a:pt x="29" y="53"/>
                  <a:pt x="28" y="54"/>
                </a:cubicBezTo>
                <a:cubicBezTo>
                  <a:pt x="27" y="56"/>
                  <a:pt x="23" y="60"/>
                  <a:pt x="24" y="66"/>
                </a:cubicBezTo>
                <a:cubicBezTo>
                  <a:pt x="24" y="68"/>
                  <a:pt x="25" y="71"/>
                  <a:pt x="26" y="72"/>
                </a:cubicBezTo>
                <a:cubicBezTo>
                  <a:pt x="30" y="76"/>
                  <a:pt x="34" y="75"/>
                  <a:pt x="34" y="72"/>
                </a:cubicBezTo>
                <a:cubicBezTo>
                  <a:pt x="34" y="67"/>
                  <a:pt x="32" y="62"/>
                  <a:pt x="41" y="57"/>
                </a:cubicBezTo>
                <a:cubicBezTo>
                  <a:pt x="49" y="51"/>
                  <a:pt x="55" y="40"/>
                  <a:pt x="55" y="40"/>
                </a:cubicBezTo>
                <a:cubicBezTo>
                  <a:pt x="55" y="40"/>
                  <a:pt x="56" y="39"/>
                  <a:pt x="57" y="37"/>
                </a:cubicBezTo>
                <a:cubicBezTo>
                  <a:pt x="72" y="23"/>
                  <a:pt x="72" y="23"/>
                  <a:pt x="72" y="23"/>
                </a:cubicBezTo>
                <a:cubicBezTo>
                  <a:pt x="73" y="22"/>
                  <a:pt x="73" y="19"/>
                  <a:pt x="72" y="18"/>
                </a:cubicBezTo>
                <a:lnTo>
                  <a:pt x="56" y="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8" name="ïŝḷiḋê">
            <a:extLst>
              <a:ext uri="{FF2B5EF4-FFF2-40B4-BE49-F238E27FC236}">
                <a16:creationId xmlns:a16="http://schemas.microsoft.com/office/drawing/2014/main" id="{453668B1-1D3C-430C-8588-F9FCBD78A292}"/>
              </a:ext>
            </a:extLst>
          </p:cNvPr>
          <p:cNvSpPr/>
          <p:nvPr/>
        </p:nvSpPr>
        <p:spPr bwMode="auto">
          <a:xfrm>
            <a:off x="7266303" y="2215774"/>
            <a:ext cx="429880" cy="408314"/>
          </a:xfrm>
          <a:custGeom>
            <a:avLst/>
            <a:gdLst>
              <a:gd name="T0" fmla="*/ 11 w 83"/>
              <a:gd name="T1" fmla="*/ 63 h 79"/>
              <a:gd name="T2" fmla="*/ 34 w 83"/>
              <a:gd name="T3" fmla="*/ 52 h 79"/>
              <a:gd name="T4" fmla="*/ 38 w 83"/>
              <a:gd name="T5" fmla="*/ 51 h 79"/>
              <a:gd name="T6" fmla="*/ 39 w 83"/>
              <a:gd name="T7" fmla="*/ 55 h 79"/>
              <a:gd name="T8" fmla="*/ 38 w 83"/>
              <a:gd name="T9" fmla="*/ 65 h 79"/>
              <a:gd name="T10" fmla="*/ 38 w 83"/>
              <a:gd name="T11" fmla="*/ 79 h 79"/>
              <a:gd name="T12" fmla="*/ 45 w 83"/>
              <a:gd name="T13" fmla="*/ 79 h 79"/>
              <a:gd name="T14" fmla="*/ 44 w 83"/>
              <a:gd name="T15" fmla="*/ 65 h 79"/>
              <a:gd name="T16" fmla="*/ 44 w 83"/>
              <a:gd name="T17" fmla="*/ 55 h 79"/>
              <a:gd name="T18" fmla="*/ 44 w 83"/>
              <a:gd name="T19" fmla="*/ 51 h 79"/>
              <a:gd name="T20" fmla="*/ 48 w 83"/>
              <a:gd name="T21" fmla="*/ 52 h 79"/>
              <a:gd name="T22" fmla="*/ 71 w 83"/>
              <a:gd name="T23" fmla="*/ 63 h 79"/>
              <a:gd name="T24" fmla="*/ 80 w 83"/>
              <a:gd name="T25" fmla="*/ 54 h 79"/>
              <a:gd name="T26" fmla="*/ 74 w 83"/>
              <a:gd name="T27" fmla="*/ 26 h 79"/>
              <a:gd name="T28" fmla="*/ 46 w 83"/>
              <a:gd name="T29" fmla="*/ 44 h 79"/>
              <a:gd name="T30" fmla="*/ 45 w 83"/>
              <a:gd name="T31" fmla="*/ 41 h 79"/>
              <a:gd name="T32" fmla="*/ 50 w 83"/>
              <a:gd name="T33" fmla="*/ 32 h 79"/>
              <a:gd name="T34" fmla="*/ 59 w 83"/>
              <a:gd name="T35" fmla="*/ 10 h 79"/>
              <a:gd name="T36" fmla="*/ 41 w 83"/>
              <a:gd name="T37" fmla="*/ 0 h 79"/>
              <a:gd name="T38" fmla="*/ 23 w 83"/>
              <a:gd name="T39" fmla="*/ 10 h 79"/>
              <a:gd name="T40" fmla="*/ 33 w 83"/>
              <a:gd name="T41" fmla="*/ 32 h 79"/>
              <a:gd name="T42" fmla="*/ 38 w 83"/>
              <a:gd name="T43" fmla="*/ 41 h 79"/>
              <a:gd name="T44" fmla="*/ 36 w 83"/>
              <a:gd name="T45" fmla="*/ 44 h 79"/>
              <a:gd name="T46" fmla="*/ 8 w 83"/>
              <a:gd name="T47" fmla="*/ 26 h 79"/>
              <a:gd name="T48" fmla="*/ 2 w 83"/>
              <a:gd name="T49" fmla="*/ 54 h 79"/>
              <a:gd name="T50" fmla="*/ 11 w 83"/>
              <a:gd name="T51" fmla="*/ 6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3" h="79">
                <a:moveTo>
                  <a:pt x="11" y="63"/>
                </a:moveTo>
                <a:cubicBezTo>
                  <a:pt x="20" y="64"/>
                  <a:pt x="27" y="55"/>
                  <a:pt x="34" y="52"/>
                </a:cubicBezTo>
                <a:cubicBezTo>
                  <a:pt x="35" y="51"/>
                  <a:pt x="38" y="50"/>
                  <a:pt x="38" y="51"/>
                </a:cubicBezTo>
                <a:cubicBezTo>
                  <a:pt x="39" y="52"/>
                  <a:pt x="39" y="54"/>
                  <a:pt x="39" y="55"/>
                </a:cubicBezTo>
                <a:cubicBezTo>
                  <a:pt x="39" y="59"/>
                  <a:pt x="38" y="62"/>
                  <a:pt x="38" y="65"/>
                </a:cubicBezTo>
                <a:cubicBezTo>
                  <a:pt x="38" y="69"/>
                  <a:pt x="38" y="75"/>
                  <a:pt x="38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4" y="75"/>
                  <a:pt x="44" y="69"/>
                  <a:pt x="44" y="65"/>
                </a:cubicBezTo>
                <a:cubicBezTo>
                  <a:pt x="44" y="62"/>
                  <a:pt x="44" y="59"/>
                  <a:pt x="44" y="55"/>
                </a:cubicBezTo>
                <a:cubicBezTo>
                  <a:pt x="44" y="54"/>
                  <a:pt x="43" y="52"/>
                  <a:pt x="44" y="51"/>
                </a:cubicBezTo>
                <a:cubicBezTo>
                  <a:pt x="45" y="50"/>
                  <a:pt x="47" y="51"/>
                  <a:pt x="48" y="52"/>
                </a:cubicBezTo>
                <a:cubicBezTo>
                  <a:pt x="55" y="55"/>
                  <a:pt x="62" y="64"/>
                  <a:pt x="71" y="63"/>
                </a:cubicBezTo>
                <a:cubicBezTo>
                  <a:pt x="76" y="63"/>
                  <a:pt x="78" y="59"/>
                  <a:pt x="80" y="54"/>
                </a:cubicBezTo>
                <a:cubicBezTo>
                  <a:pt x="83" y="46"/>
                  <a:pt x="83" y="31"/>
                  <a:pt x="74" y="26"/>
                </a:cubicBezTo>
                <a:cubicBezTo>
                  <a:pt x="61" y="18"/>
                  <a:pt x="57" y="43"/>
                  <a:pt x="46" y="44"/>
                </a:cubicBezTo>
                <a:cubicBezTo>
                  <a:pt x="44" y="44"/>
                  <a:pt x="44" y="43"/>
                  <a:pt x="45" y="41"/>
                </a:cubicBezTo>
                <a:cubicBezTo>
                  <a:pt x="46" y="38"/>
                  <a:pt x="48" y="35"/>
                  <a:pt x="50" y="32"/>
                </a:cubicBezTo>
                <a:cubicBezTo>
                  <a:pt x="54" y="26"/>
                  <a:pt x="60" y="18"/>
                  <a:pt x="59" y="10"/>
                </a:cubicBezTo>
                <a:cubicBezTo>
                  <a:pt x="58" y="2"/>
                  <a:pt x="49" y="0"/>
                  <a:pt x="41" y="0"/>
                </a:cubicBezTo>
                <a:cubicBezTo>
                  <a:pt x="33" y="0"/>
                  <a:pt x="24" y="2"/>
                  <a:pt x="23" y="10"/>
                </a:cubicBezTo>
                <a:cubicBezTo>
                  <a:pt x="22" y="18"/>
                  <a:pt x="28" y="26"/>
                  <a:pt x="33" y="32"/>
                </a:cubicBezTo>
                <a:cubicBezTo>
                  <a:pt x="35" y="35"/>
                  <a:pt x="37" y="38"/>
                  <a:pt x="38" y="41"/>
                </a:cubicBezTo>
                <a:cubicBezTo>
                  <a:pt x="38" y="43"/>
                  <a:pt x="39" y="44"/>
                  <a:pt x="36" y="44"/>
                </a:cubicBezTo>
                <a:cubicBezTo>
                  <a:pt x="25" y="43"/>
                  <a:pt x="21" y="18"/>
                  <a:pt x="8" y="26"/>
                </a:cubicBezTo>
                <a:cubicBezTo>
                  <a:pt x="0" y="31"/>
                  <a:pt x="0" y="46"/>
                  <a:pt x="2" y="54"/>
                </a:cubicBezTo>
                <a:cubicBezTo>
                  <a:pt x="4" y="59"/>
                  <a:pt x="7" y="63"/>
                  <a:pt x="11" y="6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9" name="íSľíďè">
            <a:extLst>
              <a:ext uri="{FF2B5EF4-FFF2-40B4-BE49-F238E27FC236}">
                <a16:creationId xmlns:a16="http://schemas.microsoft.com/office/drawing/2014/main" id="{32CBC073-E571-4860-B080-760BBF501BC8}"/>
              </a:ext>
            </a:extLst>
          </p:cNvPr>
          <p:cNvSpPr/>
          <p:nvPr/>
        </p:nvSpPr>
        <p:spPr bwMode="auto">
          <a:xfrm>
            <a:off x="6737219" y="2946139"/>
            <a:ext cx="373809" cy="398250"/>
          </a:xfrm>
          <a:custGeom>
            <a:avLst/>
            <a:gdLst>
              <a:gd name="T0" fmla="*/ 59 w 72"/>
              <a:gd name="T1" fmla="*/ 53 h 77"/>
              <a:gd name="T2" fmla="*/ 64 w 72"/>
              <a:gd name="T3" fmla="*/ 50 h 77"/>
              <a:gd name="T4" fmla="*/ 71 w 72"/>
              <a:gd name="T5" fmla="*/ 48 h 77"/>
              <a:gd name="T6" fmla="*/ 71 w 72"/>
              <a:gd name="T7" fmla="*/ 38 h 77"/>
              <a:gd name="T8" fmla="*/ 70 w 72"/>
              <a:gd name="T9" fmla="*/ 22 h 77"/>
              <a:gd name="T10" fmla="*/ 53 w 72"/>
              <a:gd name="T11" fmla="*/ 36 h 77"/>
              <a:gd name="T12" fmla="*/ 48 w 72"/>
              <a:gd name="T13" fmla="*/ 42 h 77"/>
              <a:gd name="T14" fmla="*/ 48 w 72"/>
              <a:gd name="T15" fmla="*/ 36 h 77"/>
              <a:gd name="T16" fmla="*/ 54 w 72"/>
              <a:gd name="T17" fmla="*/ 25 h 77"/>
              <a:gd name="T18" fmla="*/ 49 w 72"/>
              <a:gd name="T19" fmla="*/ 15 h 77"/>
              <a:gd name="T20" fmla="*/ 36 w 72"/>
              <a:gd name="T21" fmla="*/ 0 h 77"/>
              <a:gd name="T22" fmla="*/ 36 w 72"/>
              <a:gd name="T23" fmla="*/ 0 h 77"/>
              <a:gd name="T24" fmla="*/ 36 w 72"/>
              <a:gd name="T25" fmla="*/ 0 h 77"/>
              <a:gd name="T26" fmla="*/ 36 w 72"/>
              <a:gd name="T27" fmla="*/ 0 h 77"/>
              <a:gd name="T28" fmla="*/ 36 w 72"/>
              <a:gd name="T29" fmla="*/ 0 h 77"/>
              <a:gd name="T30" fmla="*/ 23 w 72"/>
              <a:gd name="T31" fmla="*/ 15 h 77"/>
              <a:gd name="T32" fmla="*/ 18 w 72"/>
              <a:gd name="T33" fmla="*/ 25 h 77"/>
              <a:gd name="T34" fmla="*/ 23 w 72"/>
              <a:gd name="T35" fmla="*/ 36 h 77"/>
              <a:gd name="T36" fmla="*/ 24 w 72"/>
              <a:gd name="T37" fmla="*/ 42 h 77"/>
              <a:gd name="T38" fmla="*/ 18 w 72"/>
              <a:gd name="T39" fmla="*/ 36 h 77"/>
              <a:gd name="T40" fmla="*/ 2 w 72"/>
              <a:gd name="T41" fmla="*/ 22 h 77"/>
              <a:gd name="T42" fmla="*/ 0 w 72"/>
              <a:gd name="T43" fmla="*/ 38 h 77"/>
              <a:gd name="T44" fmla="*/ 1 w 72"/>
              <a:gd name="T45" fmla="*/ 48 h 77"/>
              <a:gd name="T46" fmla="*/ 7 w 72"/>
              <a:gd name="T47" fmla="*/ 50 h 77"/>
              <a:gd name="T48" fmla="*/ 12 w 72"/>
              <a:gd name="T49" fmla="*/ 53 h 77"/>
              <a:gd name="T50" fmla="*/ 11 w 72"/>
              <a:gd name="T51" fmla="*/ 56 h 77"/>
              <a:gd name="T52" fmla="*/ 0 w 72"/>
              <a:gd name="T53" fmla="*/ 53 h 77"/>
              <a:gd name="T54" fmla="*/ 16 w 72"/>
              <a:gd name="T55" fmla="*/ 75 h 77"/>
              <a:gd name="T56" fmla="*/ 24 w 72"/>
              <a:gd name="T57" fmla="*/ 74 h 77"/>
              <a:gd name="T58" fmla="*/ 31 w 72"/>
              <a:gd name="T59" fmla="*/ 69 h 77"/>
              <a:gd name="T60" fmla="*/ 34 w 72"/>
              <a:gd name="T61" fmla="*/ 68 h 77"/>
              <a:gd name="T62" fmla="*/ 34 w 72"/>
              <a:gd name="T63" fmla="*/ 65 h 77"/>
              <a:gd name="T64" fmla="*/ 36 w 72"/>
              <a:gd name="T65" fmla="*/ 34 h 77"/>
              <a:gd name="T66" fmla="*/ 38 w 72"/>
              <a:gd name="T67" fmla="*/ 65 h 77"/>
              <a:gd name="T68" fmla="*/ 38 w 72"/>
              <a:gd name="T69" fmla="*/ 68 h 77"/>
              <a:gd name="T70" fmla="*/ 40 w 72"/>
              <a:gd name="T71" fmla="*/ 69 h 77"/>
              <a:gd name="T72" fmla="*/ 47 w 72"/>
              <a:gd name="T73" fmla="*/ 74 h 77"/>
              <a:gd name="T74" fmla="*/ 55 w 72"/>
              <a:gd name="T75" fmla="*/ 75 h 77"/>
              <a:gd name="T76" fmla="*/ 71 w 72"/>
              <a:gd name="T77" fmla="*/ 53 h 77"/>
              <a:gd name="T78" fmla="*/ 60 w 72"/>
              <a:gd name="T79" fmla="*/ 56 h 77"/>
              <a:gd name="T80" fmla="*/ 59 w 72"/>
              <a:gd name="T81" fmla="*/ 53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" h="77">
                <a:moveTo>
                  <a:pt x="59" y="53"/>
                </a:moveTo>
                <a:cubicBezTo>
                  <a:pt x="61" y="51"/>
                  <a:pt x="63" y="51"/>
                  <a:pt x="64" y="50"/>
                </a:cubicBezTo>
                <a:cubicBezTo>
                  <a:pt x="66" y="49"/>
                  <a:pt x="69" y="49"/>
                  <a:pt x="71" y="48"/>
                </a:cubicBezTo>
                <a:cubicBezTo>
                  <a:pt x="71" y="45"/>
                  <a:pt x="72" y="42"/>
                  <a:pt x="71" y="38"/>
                </a:cubicBezTo>
                <a:cubicBezTo>
                  <a:pt x="71" y="33"/>
                  <a:pt x="70" y="28"/>
                  <a:pt x="70" y="22"/>
                </a:cubicBezTo>
                <a:cubicBezTo>
                  <a:pt x="63" y="26"/>
                  <a:pt x="56" y="28"/>
                  <a:pt x="53" y="36"/>
                </a:cubicBezTo>
                <a:cubicBezTo>
                  <a:pt x="53" y="38"/>
                  <a:pt x="51" y="43"/>
                  <a:pt x="48" y="42"/>
                </a:cubicBezTo>
                <a:cubicBezTo>
                  <a:pt x="46" y="40"/>
                  <a:pt x="47" y="37"/>
                  <a:pt x="48" y="36"/>
                </a:cubicBezTo>
                <a:cubicBezTo>
                  <a:pt x="51" y="32"/>
                  <a:pt x="54" y="30"/>
                  <a:pt x="54" y="25"/>
                </a:cubicBezTo>
                <a:cubicBezTo>
                  <a:pt x="54" y="21"/>
                  <a:pt x="51" y="18"/>
                  <a:pt x="49" y="15"/>
                </a:cubicBezTo>
                <a:cubicBezTo>
                  <a:pt x="45" y="10"/>
                  <a:pt x="40" y="6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6"/>
                  <a:pt x="27" y="10"/>
                  <a:pt x="23" y="15"/>
                </a:cubicBezTo>
                <a:cubicBezTo>
                  <a:pt x="20" y="18"/>
                  <a:pt x="18" y="21"/>
                  <a:pt x="18" y="25"/>
                </a:cubicBezTo>
                <a:cubicBezTo>
                  <a:pt x="18" y="30"/>
                  <a:pt x="21" y="32"/>
                  <a:pt x="23" y="36"/>
                </a:cubicBezTo>
                <a:cubicBezTo>
                  <a:pt x="24" y="37"/>
                  <a:pt x="26" y="40"/>
                  <a:pt x="24" y="42"/>
                </a:cubicBezTo>
                <a:cubicBezTo>
                  <a:pt x="21" y="43"/>
                  <a:pt x="19" y="38"/>
                  <a:pt x="18" y="36"/>
                </a:cubicBezTo>
                <a:cubicBezTo>
                  <a:pt x="16" y="28"/>
                  <a:pt x="9" y="26"/>
                  <a:pt x="2" y="22"/>
                </a:cubicBezTo>
                <a:cubicBezTo>
                  <a:pt x="2" y="28"/>
                  <a:pt x="1" y="33"/>
                  <a:pt x="0" y="38"/>
                </a:cubicBezTo>
                <a:cubicBezTo>
                  <a:pt x="0" y="42"/>
                  <a:pt x="0" y="45"/>
                  <a:pt x="1" y="48"/>
                </a:cubicBezTo>
                <a:cubicBezTo>
                  <a:pt x="3" y="49"/>
                  <a:pt x="5" y="49"/>
                  <a:pt x="7" y="50"/>
                </a:cubicBezTo>
                <a:cubicBezTo>
                  <a:pt x="9" y="51"/>
                  <a:pt x="11" y="51"/>
                  <a:pt x="12" y="53"/>
                </a:cubicBezTo>
                <a:cubicBezTo>
                  <a:pt x="14" y="54"/>
                  <a:pt x="14" y="57"/>
                  <a:pt x="11" y="56"/>
                </a:cubicBezTo>
                <a:cubicBezTo>
                  <a:pt x="8" y="56"/>
                  <a:pt x="4" y="52"/>
                  <a:pt x="0" y="53"/>
                </a:cubicBezTo>
                <a:cubicBezTo>
                  <a:pt x="2" y="62"/>
                  <a:pt x="7" y="71"/>
                  <a:pt x="16" y="75"/>
                </a:cubicBezTo>
                <a:cubicBezTo>
                  <a:pt x="20" y="77"/>
                  <a:pt x="21" y="76"/>
                  <a:pt x="24" y="74"/>
                </a:cubicBezTo>
                <a:cubicBezTo>
                  <a:pt x="27" y="72"/>
                  <a:pt x="28" y="70"/>
                  <a:pt x="31" y="69"/>
                </a:cubicBezTo>
                <a:cubicBezTo>
                  <a:pt x="33" y="69"/>
                  <a:pt x="34" y="70"/>
                  <a:pt x="34" y="68"/>
                </a:cubicBezTo>
                <a:cubicBezTo>
                  <a:pt x="34" y="67"/>
                  <a:pt x="34" y="66"/>
                  <a:pt x="34" y="65"/>
                </a:cubicBezTo>
                <a:cubicBezTo>
                  <a:pt x="35" y="53"/>
                  <a:pt x="35" y="46"/>
                  <a:pt x="36" y="34"/>
                </a:cubicBezTo>
                <a:cubicBezTo>
                  <a:pt x="36" y="46"/>
                  <a:pt x="37" y="53"/>
                  <a:pt x="38" y="65"/>
                </a:cubicBezTo>
                <a:cubicBezTo>
                  <a:pt x="38" y="66"/>
                  <a:pt x="38" y="67"/>
                  <a:pt x="38" y="68"/>
                </a:cubicBezTo>
                <a:cubicBezTo>
                  <a:pt x="38" y="70"/>
                  <a:pt x="39" y="69"/>
                  <a:pt x="40" y="69"/>
                </a:cubicBezTo>
                <a:cubicBezTo>
                  <a:pt x="43" y="70"/>
                  <a:pt x="45" y="72"/>
                  <a:pt x="47" y="74"/>
                </a:cubicBezTo>
                <a:cubicBezTo>
                  <a:pt x="50" y="76"/>
                  <a:pt x="52" y="77"/>
                  <a:pt x="55" y="75"/>
                </a:cubicBezTo>
                <a:cubicBezTo>
                  <a:pt x="65" y="71"/>
                  <a:pt x="70" y="62"/>
                  <a:pt x="71" y="53"/>
                </a:cubicBezTo>
                <a:cubicBezTo>
                  <a:pt x="68" y="52"/>
                  <a:pt x="64" y="56"/>
                  <a:pt x="60" y="56"/>
                </a:cubicBezTo>
                <a:cubicBezTo>
                  <a:pt x="58" y="57"/>
                  <a:pt x="58" y="54"/>
                  <a:pt x="59" y="5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0" name="ïšḷîḑé">
            <a:extLst>
              <a:ext uri="{FF2B5EF4-FFF2-40B4-BE49-F238E27FC236}">
                <a16:creationId xmlns:a16="http://schemas.microsoft.com/office/drawing/2014/main" id="{CDDFE212-944C-4510-9112-6FF018B6B904}"/>
              </a:ext>
            </a:extLst>
          </p:cNvPr>
          <p:cNvSpPr/>
          <p:nvPr/>
        </p:nvSpPr>
        <p:spPr bwMode="auto">
          <a:xfrm>
            <a:off x="6908308" y="3314196"/>
            <a:ext cx="25879" cy="1236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1" name="îṣļiḑe">
            <a:extLst>
              <a:ext uri="{FF2B5EF4-FFF2-40B4-BE49-F238E27FC236}">
                <a16:creationId xmlns:a16="http://schemas.microsoft.com/office/drawing/2014/main" id="{B1E4039D-2A05-4EB5-B4B2-4CEF9A1464BB}"/>
              </a:ext>
            </a:extLst>
          </p:cNvPr>
          <p:cNvSpPr/>
          <p:nvPr/>
        </p:nvSpPr>
        <p:spPr bwMode="auto">
          <a:xfrm>
            <a:off x="10478185" y="2665782"/>
            <a:ext cx="35943" cy="191218"/>
          </a:xfrm>
          <a:custGeom>
            <a:avLst/>
            <a:gdLst>
              <a:gd name="T0" fmla="*/ 7 w 7"/>
              <a:gd name="T1" fmla="*/ 1 h 37"/>
              <a:gd name="T2" fmla="*/ 4 w 7"/>
              <a:gd name="T3" fmla="*/ 0 h 37"/>
              <a:gd name="T4" fmla="*/ 4 w 7"/>
              <a:gd name="T5" fmla="*/ 0 h 37"/>
              <a:gd name="T6" fmla="*/ 0 w 7"/>
              <a:gd name="T7" fmla="*/ 1 h 37"/>
              <a:gd name="T8" fmla="*/ 0 w 7"/>
              <a:gd name="T9" fmla="*/ 37 h 37"/>
              <a:gd name="T10" fmla="*/ 7 w 7"/>
              <a:gd name="T11" fmla="*/ 37 h 37"/>
              <a:gd name="T12" fmla="*/ 7 w 7"/>
              <a:gd name="T13" fmla="*/ 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37">
                <a:moveTo>
                  <a:pt x="7" y="1"/>
                </a:moveTo>
                <a:cubicBezTo>
                  <a:pt x="6" y="1"/>
                  <a:pt x="5" y="0"/>
                  <a:pt x="4" y="0"/>
                </a:cubicBezTo>
                <a:cubicBezTo>
                  <a:pt x="4" y="0"/>
                  <a:pt x="4" y="0"/>
                  <a:pt x="4" y="0"/>
                </a:cubicBezTo>
                <a:cubicBezTo>
                  <a:pt x="3" y="0"/>
                  <a:pt x="1" y="1"/>
                  <a:pt x="0" y="1"/>
                </a:cubicBezTo>
                <a:cubicBezTo>
                  <a:pt x="0" y="37"/>
                  <a:pt x="0" y="37"/>
                  <a:pt x="0" y="37"/>
                </a:cubicBezTo>
                <a:cubicBezTo>
                  <a:pt x="7" y="37"/>
                  <a:pt x="7" y="37"/>
                  <a:pt x="7" y="37"/>
                </a:cubicBezTo>
                <a:lnTo>
                  <a:pt x="7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2" name="ïSľîḓè">
            <a:extLst>
              <a:ext uri="{FF2B5EF4-FFF2-40B4-BE49-F238E27FC236}">
                <a16:creationId xmlns:a16="http://schemas.microsoft.com/office/drawing/2014/main" id="{CE384F5A-45F3-4B81-B055-A41971ACB0AF}"/>
              </a:ext>
            </a:extLst>
          </p:cNvPr>
          <p:cNvSpPr/>
          <p:nvPr/>
        </p:nvSpPr>
        <p:spPr bwMode="auto">
          <a:xfrm>
            <a:off x="10478185" y="2406992"/>
            <a:ext cx="35943" cy="25879"/>
          </a:xfrm>
          <a:custGeom>
            <a:avLst/>
            <a:gdLst>
              <a:gd name="T0" fmla="*/ 5 w 7"/>
              <a:gd name="T1" fmla="*/ 5 h 5"/>
              <a:gd name="T2" fmla="*/ 5 w 7"/>
              <a:gd name="T3" fmla="*/ 5 h 5"/>
              <a:gd name="T4" fmla="*/ 7 w 7"/>
              <a:gd name="T5" fmla="*/ 5 h 5"/>
              <a:gd name="T6" fmla="*/ 7 w 7"/>
              <a:gd name="T7" fmla="*/ 0 h 5"/>
              <a:gd name="T8" fmla="*/ 0 w 7"/>
              <a:gd name="T9" fmla="*/ 0 h 5"/>
              <a:gd name="T10" fmla="*/ 0 w 7"/>
              <a:gd name="T11" fmla="*/ 5 h 5"/>
              <a:gd name="T12" fmla="*/ 5 w 7"/>
              <a:gd name="T1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5">
                <a:moveTo>
                  <a:pt x="5" y="5"/>
                </a:moveTo>
                <a:cubicBezTo>
                  <a:pt x="5" y="5"/>
                  <a:pt x="5" y="5"/>
                  <a:pt x="5" y="5"/>
                </a:cubicBezTo>
                <a:cubicBezTo>
                  <a:pt x="6" y="5"/>
                  <a:pt x="7" y="5"/>
                  <a:pt x="7" y="5"/>
                </a:cubicBezTo>
                <a:cubicBezTo>
                  <a:pt x="7" y="0"/>
                  <a:pt x="7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"/>
                  <a:pt x="0" y="5"/>
                  <a:pt x="0" y="5"/>
                </a:cubicBezTo>
                <a:cubicBezTo>
                  <a:pt x="2" y="5"/>
                  <a:pt x="3" y="5"/>
                  <a:pt x="5" y="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3" name="ïsļíďê">
            <a:extLst>
              <a:ext uri="{FF2B5EF4-FFF2-40B4-BE49-F238E27FC236}">
                <a16:creationId xmlns:a16="http://schemas.microsoft.com/office/drawing/2014/main" id="{A8B61B60-9709-4DDB-B25E-A11C349BF389}"/>
              </a:ext>
            </a:extLst>
          </p:cNvPr>
          <p:cNvSpPr/>
          <p:nvPr/>
        </p:nvSpPr>
        <p:spPr bwMode="auto">
          <a:xfrm>
            <a:off x="10322911" y="2442934"/>
            <a:ext cx="357994" cy="258790"/>
          </a:xfrm>
          <a:custGeom>
            <a:avLst/>
            <a:gdLst>
              <a:gd name="T0" fmla="*/ 37 w 69"/>
              <a:gd name="T1" fmla="*/ 0 h 50"/>
              <a:gd name="T2" fmla="*/ 35 w 69"/>
              <a:gd name="T3" fmla="*/ 0 h 50"/>
              <a:gd name="T4" fmla="*/ 35 w 69"/>
              <a:gd name="T5" fmla="*/ 0 h 50"/>
              <a:gd name="T6" fmla="*/ 30 w 69"/>
              <a:gd name="T7" fmla="*/ 0 h 50"/>
              <a:gd name="T8" fmla="*/ 1 w 69"/>
              <a:gd name="T9" fmla="*/ 33 h 50"/>
              <a:gd name="T10" fmla="*/ 3 w 69"/>
              <a:gd name="T11" fmla="*/ 46 h 50"/>
              <a:gd name="T12" fmla="*/ 4 w 69"/>
              <a:gd name="T13" fmla="*/ 48 h 50"/>
              <a:gd name="T14" fmla="*/ 6 w 69"/>
              <a:gd name="T15" fmla="*/ 46 h 50"/>
              <a:gd name="T16" fmla="*/ 14 w 69"/>
              <a:gd name="T17" fmla="*/ 40 h 50"/>
              <a:gd name="T18" fmla="*/ 15 w 69"/>
              <a:gd name="T19" fmla="*/ 40 h 50"/>
              <a:gd name="T20" fmla="*/ 23 w 69"/>
              <a:gd name="T21" fmla="*/ 46 h 50"/>
              <a:gd name="T22" fmla="*/ 24 w 69"/>
              <a:gd name="T23" fmla="*/ 48 h 50"/>
              <a:gd name="T24" fmla="*/ 25 w 69"/>
              <a:gd name="T25" fmla="*/ 46 h 50"/>
              <a:gd name="T26" fmla="*/ 30 w 69"/>
              <a:gd name="T27" fmla="*/ 42 h 50"/>
              <a:gd name="T28" fmla="*/ 34 w 69"/>
              <a:gd name="T29" fmla="*/ 41 h 50"/>
              <a:gd name="T30" fmla="*/ 34 w 69"/>
              <a:gd name="T31" fmla="*/ 41 h 50"/>
              <a:gd name="T32" fmla="*/ 37 w 69"/>
              <a:gd name="T33" fmla="*/ 42 h 50"/>
              <a:gd name="T34" fmla="*/ 43 w 69"/>
              <a:gd name="T35" fmla="*/ 47 h 50"/>
              <a:gd name="T36" fmla="*/ 44 w 69"/>
              <a:gd name="T37" fmla="*/ 48 h 50"/>
              <a:gd name="T38" fmla="*/ 45 w 69"/>
              <a:gd name="T39" fmla="*/ 47 h 50"/>
              <a:gd name="T40" fmla="*/ 54 w 69"/>
              <a:gd name="T41" fmla="*/ 41 h 50"/>
              <a:gd name="T42" fmla="*/ 54 w 69"/>
              <a:gd name="T43" fmla="*/ 41 h 50"/>
              <a:gd name="T44" fmla="*/ 62 w 69"/>
              <a:gd name="T45" fmla="*/ 47 h 50"/>
              <a:gd name="T46" fmla="*/ 63 w 69"/>
              <a:gd name="T47" fmla="*/ 49 h 50"/>
              <a:gd name="T48" fmla="*/ 64 w 69"/>
              <a:gd name="T49" fmla="*/ 50 h 50"/>
              <a:gd name="T50" fmla="*/ 64 w 69"/>
              <a:gd name="T51" fmla="*/ 49 h 50"/>
              <a:gd name="T52" fmla="*/ 65 w 69"/>
              <a:gd name="T53" fmla="*/ 47 h 50"/>
              <a:gd name="T54" fmla="*/ 68 w 69"/>
              <a:gd name="T55" fmla="*/ 35 h 50"/>
              <a:gd name="T56" fmla="*/ 37 w 69"/>
              <a:gd name="T57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9" h="50">
                <a:moveTo>
                  <a:pt x="37" y="0"/>
                </a:moveTo>
                <a:cubicBezTo>
                  <a:pt x="37" y="0"/>
                  <a:pt x="36" y="0"/>
                  <a:pt x="35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3" y="0"/>
                  <a:pt x="32" y="0"/>
                  <a:pt x="30" y="0"/>
                </a:cubicBezTo>
                <a:cubicBezTo>
                  <a:pt x="14" y="2"/>
                  <a:pt x="1" y="16"/>
                  <a:pt x="1" y="33"/>
                </a:cubicBezTo>
                <a:cubicBezTo>
                  <a:pt x="0" y="38"/>
                  <a:pt x="1" y="42"/>
                  <a:pt x="3" y="46"/>
                </a:cubicBezTo>
                <a:cubicBezTo>
                  <a:pt x="3" y="47"/>
                  <a:pt x="4" y="48"/>
                  <a:pt x="4" y="48"/>
                </a:cubicBezTo>
                <a:cubicBezTo>
                  <a:pt x="5" y="48"/>
                  <a:pt x="5" y="47"/>
                  <a:pt x="6" y="46"/>
                </a:cubicBezTo>
                <a:cubicBezTo>
                  <a:pt x="7" y="43"/>
                  <a:pt x="11" y="40"/>
                  <a:pt x="14" y="40"/>
                </a:cubicBezTo>
                <a:cubicBezTo>
                  <a:pt x="14" y="40"/>
                  <a:pt x="15" y="40"/>
                  <a:pt x="15" y="40"/>
                </a:cubicBezTo>
                <a:cubicBezTo>
                  <a:pt x="18" y="41"/>
                  <a:pt x="22" y="43"/>
                  <a:pt x="23" y="46"/>
                </a:cubicBezTo>
                <a:cubicBezTo>
                  <a:pt x="24" y="47"/>
                  <a:pt x="24" y="48"/>
                  <a:pt x="24" y="48"/>
                </a:cubicBezTo>
                <a:cubicBezTo>
                  <a:pt x="24" y="48"/>
                  <a:pt x="25" y="47"/>
                  <a:pt x="25" y="46"/>
                </a:cubicBezTo>
                <a:cubicBezTo>
                  <a:pt x="26" y="44"/>
                  <a:pt x="28" y="42"/>
                  <a:pt x="30" y="42"/>
                </a:cubicBezTo>
                <a:cubicBezTo>
                  <a:pt x="31" y="41"/>
                  <a:pt x="33" y="41"/>
                  <a:pt x="34" y="41"/>
                </a:cubicBezTo>
                <a:cubicBezTo>
                  <a:pt x="34" y="41"/>
                  <a:pt x="34" y="41"/>
                  <a:pt x="34" y="41"/>
                </a:cubicBezTo>
                <a:cubicBezTo>
                  <a:pt x="35" y="41"/>
                  <a:pt x="36" y="41"/>
                  <a:pt x="37" y="42"/>
                </a:cubicBezTo>
                <a:cubicBezTo>
                  <a:pt x="40" y="42"/>
                  <a:pt x="42" y="44"/>
                  <a:pt x="43" y="47"/>
                </a:cubicBezTo>
                <a:cubicBezTo>
                  <a:pt x="44" y="48"/>
                  <a:pt x="44" y="48"/>
                  <a:pt x="44" y="48"/>
                </a:cubicBezTo>
                <a:cubicBezTo>
                  <a:pt x="44" y="48"/>
                  <a:pt x="44" y="48"/>
                  <a:pt x="45" y="47"/>
                </a:cubicBezTo>
                <a:cubicBezTo>
                  <a:pt x="47" y="44"/>
                  <a:pt x="50" y="41"/>
                  <a:pt x="54" y="41"/>
                </a:cubicBezTo>
                <a:cubicBezTo>
                  <a:pt x="54" y="41"/>
                  <a:pt x="54" y="41"/>
                  <a:pt x="54" y="41"/>
                </a:cubicBezTo>
                <a:cubicBezTo>
                  <a:pt x="58" y="41"/>
                  <a:pt x="61" y="44"/>
                  <a:pt x="62" y="47"/>
                </a:cubicBezTo>
                <a:cubicBezTo>
                  <a:pt x="63" y="48"/>
                  <a:pt x="63" y="49"/>
                  <a:pt x="63" y="49"/>
                </a:cubicBezTo>
                <a:cubicBezTo>
                  <a:pt x="63" y="50"/>
                  <a:pt x="63" y="50"/>
                  <a:pt x="64" y="50"/>
                </a:cubicBezTo>
                <a:cubicBezTo>
                  <a:pt x="64" y="50"/>
                  <a:pt x="64" y="50"/>
                  <a:pt x="64" y="49"/>
                </a:cubicBezTo>
                <a:cubicBezTo>
                  <a:pt x="65" y="49"/>
                  <a:pt x="65" y="48"/>
                  <a:pt x="65" y="47"/>
                </a:cubicBezTo>
                <a:cubicBezTo>
                  <a:pt x="67" y="44"/>
                  <a:pt x="68" y="39"/>
                  <a:pt x="68" y="35"/>
                </a:cubicBezTo>
                <a:cubicBezTo>
                  <a:pt x="69" y="17"/>
                  <a:pt x="55" y="2"/>
                  <a:pt x="3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4" name="ïŝḷïḍê">
            <a:extLst>
              <a:ext uri="{FF2B5EF4-FFF2-40B4-BE49-F238E27FC236}">
                <a16:creationId xmlns:a16="http://schemas.microsoft.com/office/drawing/2014/main" id="{7BED4664-32D0-4CA6-8210-D2982AC828D3}"/>
              </a:ext>
            </a:extLst>
          </p:cNvPr>
          <p:cNvSpPr/>
          <p:nvPr/>
        </p:nvSpPr>
        <p:spPr bwMode="auto">
          <a:xfrm>
            <a:off x="8929753" y="6277350"/>
            <a:ext cx="139460" cy="99203"/>
          </a:xfrm>
          <a:custGeom>
            <a:avLst/>
            <a:gdLst>
              <a:gd name="T0" fmla="*/ 17 w 27"/>
              <a:gd name="T1" fmla="*/ 5 h 19"/>
              <a:gd name="T2" fmla="*/ 24 w 27"/>
              <a:gd name="T3" fmla="*/ 1 h 19"/>
              <a:gd name="T4" fmla="*/ 27 w 27"/>
              <a:gd name="T5" fmla="*/ 0 h 19"/>
              <a:gd name="T6" fmla="*/ 16 w 27"/>
              <a:gd name="T7" fmla="*/ 1 h 19"/>
              <a:gd name="T8" fmla="*/ 9 w 27"/>
              <a:gd name="T9" fmla="*/ 7 h 19"/>
              <a:gd name="T10" fmla="*/ 5 w 27"/>
              <a:gd name="T11" fmla="*/ 12 h 19"/>
              <a:gd name="T12" fmla="*/ 0 w 27"/>
              <a:gd name="T13" fmla="*/ 19 h 19"/>
              <a:gd name="T14" fmla="*/ 9 w 27"/>
              <a:gd name="T15" fmla="*/ 15 h 19"/>
              <a:gd name="T16" fmla="*/ 17 w 27"/>
              <a:gd name="T17" fmla="*/ 5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" h="19">
                <a:moveTo>
                  <a:pt x="17" y="5"/>
                </a:moveTo>
                <a:cubicBezTo>
                  <a:pt x="19" y="4"/>
                  <a:pt x="21" y="2"/>
                  <a:pt x="24" y="1"/>
                </a:cubicBezTo>
                <a:cubicBezTo>
                  <a:pt x="24" y="1"/>
                  <a:pt x="26" y="0"/>
                  <a:pt x="27" y="0"/>
                </a:cubicBezTo>
                <a:cubicBezTo>
                  <a:pt x="23" y="0"/>
                  <a:pt x="19" y="0"/>
                  <a:pt x="16" y="1"/>
                </a:cubicBezTo>
                <a:cubicBezTo>
                  <a:pt x="13" y="2"/>
                  <a:pt x="10" y="4"/>
                  <a:pt x="9" y="7"/>
                </a:cubicBezTo>
                <a:cubicBezTo>
                  <a:pt x="7" y="9"/>
                  <a:pt x="6" y="11"/>
                  <a:pt x="5" y="12"/>
                </a:cubicBezTo>
                <a:cubicBezTo>
                  <a:pt x="4" y="15"/>
                  <a:pt x="3" y="18"/>
                  <a:pt x="0" y="19"/>
                </a:cubicBezTo>
                <a:cubicBezTo>
                  <a:pt x="3" y="19"/>
                  <a:pt x="7" y="17"/>
                  <a:pt x="9" y="15"/>
                </a:cubicBezTo>
                <a:cubicBezTo>
                  <a:pt x="13" y="12"/>
                  <a:pt x="15" y="9"/>
                  <a:pt x="17" y="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5" name="íşļîdé">
            <a:extLst>
              <a:ext uri="{FF2B5EF4-FFF2-40B4-BE49-F238E27FC236}">
                <a16:creationId xmlns:a16="http://schemas.microsoft.com/office/drawing/2014/main" id="{9EC9E970-C951-4DB4-AF6E-207004E8C55C}"/>
              </a:ext>
            </a:extLst>
          </p:cNvPr>
          <p:cNvSpPr/>
          <p:nvPr/>
        </p:nvSpPr>
        <p:spPr bwMode="auto">
          <a:xfrm>
            <a:off x="8939817" y="6277350"/>
            <a:ext cx="181154" cy="125082"/>
          </a:xfrm>
          <a:custGeom>
            <a:avLst/>
            <a:gdLst>
              <a:gd name="T0" fmla="*/ 23 w 35"/>
              <a:gd name="T1" fmla="*/ 3 h 24"/>
              <a:gd name="T2" fmla="*/ 14 w 35"/>
              <a:gd name="T3" fmla="*/ 11 h 24"/>
              <a:gd name="T4" fmla="*/ 8 w 35"/>
              <a:gd name="T5" fmla="*/ 17 h 24"/>
              <a:gd name="T6" fmla="*/ 0 w 35"/>
              <a:gd name="T7" fmla="*/ 20 h 24"/>
              <a:gd name="T8" fmla="*/ 19 w 35"/>
              <a:gd name="T9" fmla="*/ 20 h 24"/>
              <a:gd name="T10" fmla="*/ 30 w 35"/>
              <a:gd name="T11" fmla="*/ 6 h 24"/>
              <a:gd name="T12" fmla="*/ 33 w 35"/>
              <a:gd name="T13" fmla="*/ 2 h 24"/>
              <a:gd name="T14" fmla="*/ 35 w 35"/>
              <a:gd name="T15" fmla="*/ 1 h 24"/>
              <a:gd name="T16" fmla="*/ 23 w 35"/>
              <a:gd name="T17" fmla="*/ 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" h="24">
                <a:moveTo>
                  <a:pt x="23" y="3"/>
                </a:moveTo>
                <a:cubicBezTo>
                  <a:pt x="19" y="5"/>
                  <a:pt x="17" y="7"/>
                  <a:pt x="14" y="11"/>
                </a:cubicBezTo>
                <a:cubicBezTo>
                  <a:pt x="12" y="13"/>
                  <a:pt x="10" y="16"/>
                  <a:pt x="8" y="17"/>
                </a:cubicBezTo>
                <a:cubicBezTo>
                  <a:pt x="5" y="19"/>
                  <a:pt x="3" y="20"/>
                  <a:pt x="0" y="20"/>
                </a:cubicBezTo>
                <a:cubicBezTo>
                  <a:pt x="6" y="24"/>
                  <a:pt x="13" y="24"/>
                  <a:pt x="19" y="20"/>
                </a:cubicBezTo>
                <a:cubicBezTo>
                  <a:pt x="25" y="17"/>
                  <a:pt x="27" y="12"/>
                  <a:pt x="30" y="6"/>
                </a:cubicBezTo>
                <a:cubicBezTo>
                  <a:pt x="31" y="5"/>
                  <a:pt x="32" y="3"/>
                  <a:pt x="33" y="2"/>
                </a:cubicBezTo>
                <a:cubicBezTo>
                  <a:pt x="34" y="2"/>
                  <a:pt x="35" y="1"/>
                  <a:pt x="35" y="1"/>
                </a:cubicBezTo>
                <a:cubicBezTo>
                  <a:pt x="31" y="0"/>
                  <a:pt x="27" y="1"/>
                  <a:pt x="23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6" name="îśļiḑe">
            <a:extLst>
              <a:ext uri="{FF2B5EF4-FFF2-40B4-BE49-F238E27FC236}">
                <a16:creationId xmlns:a16="http://schemas.microsoft.com/office/drawing/2014/main" id="{87875203-D02D-4B0B-8CC5-9BE8F213B501}"/>
              </a:ext>
            </a:extLst>
          </p:cNvPr>
          <p:cNvSpPr/>
          <p:nvPr/>
        </p:nvSpPr>
        <p:spPr bwMode="auto">
          <a:xfrm>
            <a:off x="8929753" y="6173833"/>
            <a:ext cx="119331" cy="83388"/>
          </a:xfrm>
          <a:custGeom>
            <a:avLst/>
            <a:gdLst>
              <a:gd name="T0" fmla="*/ 8 w 23"/>
              <a:gd name="T1" fmla="*/ 6 h 16"/>
              <a:gd name="T2" fmla="*/ 5 w 23"/>
              <a:gd name="T3" fmla="*/ 11 h 16"/>
              <a:gd name="T4" fmla="*/ 0 w 23"/>
              <a:gd name="T5" fmla="*/ 16 h 16"/>
              <a:gd name="T6" fmla="*/ 8 w 23"/>
              <a:gd name="T7" fmla="*/ 13 h 16"/>
              <a:gd name="T8" fmla="*/ 15 w 23"/>
              <a:gd name="T9" fmla="*/ 5 h 16"/>
              <a:gd name="T10" fmla="*/ 20 w 23"/>
              <a:gd name="T11" fmla="*/ 1 h 16"/>
              <a:gd name="T12" fmla="*/ 23 w 23"/>
              <a:gd name="T13" fmla="*/ 0 h 16"/>
              <a:gd name="T14" fmla="*/ 14 w 23"/>
              <a:gd name="T15" fmla="*/ 1 h 16"/>
              <a:gd name="T16" fmla="*/ 8 w 23"/>
              <a:gd name="T17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8" y="6"/>
                </a:moveTo>
                <a:cubicBezTo>
                  <a:pt x="6" y="8"/>
                  <a:pt x="6" y="9"/>
                  <a:pt x="5" y="11"/>
                </a:cubicBezTo>
                <a:cubicBezTo>
                  <a:pt x="4" y="13"/>
                  <a:pt x="2" y="15"/>
                  <a:pt x="0" y="16"/>
                </a:cubicBezTo>
                <a:cubicBezTo>
                  <a:pt x="3" y="16"/>
                  <a:pt x="6" y="15"/>
                  <a:pt x="8" y="13"/>
                </a:cubicBezTo>
                <a:cubicBezTo>
                  <a:pt x="11" y="11"/>
                  <a:pt x="13" y="7"/>
                  <a:pt x="15" y="5"/>
                </a:cubicBezTo>
                <a:cubicBezTo>
                  <a:pt x="17" y="3"/>
                  <a:pt x="18" y="2"/>
                  <a:pt x="20" y="1"/>
                </a:cubicBezTo>
                <a:cubicBezTo>
                  <a:pt x="21" y="1"/>
                  <a:pt x="22" y="0"/>
                  <a:pt x="23" y="0"/>
                </a:cubicBezTo>
                <a:cubicBezTo>
                  <a:pt x="20" y="0"/>
                  <a:pt x="17" y="0"/>
                  <a:pt x="14" y="1"/>
                </a:cubicBezTo>
                <a:cubicBezTo>
                  <a:pt x="11" y="2"/>
                  <a:pt x="9" y="4"/>
                  <a:pt x="8" y="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7" name="íŝ1ïde">
            <a:extLst>
              <a:ext uri="{FF2B5EF4-FFF2-40B4-BE49-F238E27FC236}">
                <a16:creationId xmlns:a16="http://schemas.microsoft.com/office/drawing/2014/main" id="{6E7FFDCA-A58D-47FB-A709-2B4AD981BDD0}"/>
              </a:ext>
            </a:extLst>
          </p:cNvPr>
          <p:cNvSpPr/>
          <p:nvPr/>
        </p:nvSpPr>
        <p:spPr bwMode="auto">
          <a:xfrm>
            <a:off x="8939817" y="6173833"/>
            <a:ext cx="155275" cy="109267"/>
          </a:xfrm>
          <a:custGeom>
            <a:avLst/>
            <a:gdLst>
              <a:gd name="T0" fmla="*/ 28 w 30"/>
              <a:gd name="T1" fmla="*/ 2 h 21"/>
              <a:gd name="T2" fmla="*/ 30 w 30"/>
              <a:gd name="T3" fmla="*/ 1 h 21"/>
              <a:gd name="T4" fmla="*/ 19 w 30"/>
              <a:gd name="T5" fmla="*/ 2 h 21"/>
              <a:gd name="T6" fmla="*/ 12 w 30"/>
              <a:gd name="T7" fmla="*/ 9 h 21"/>
              <a:gd name="T8" fmla="*/ 6 w 30"/>
              <a:gd name="T9" fmla="*/ 15 h 21"/>
              <a:gd name="T10" fmla="*/ 0 w 30"/>
              <a:gd name="T11" fmla="*/ 18 h 21"/>
              <a:gd name="T12" fmla="*/ 16 w 30"/>
              <a:gd name="T13" fmla="*/ 17 h 21"/>
              <a:gd name="T14" fmla="*/ 25 w 30"/>
              <a:gd name="T15" fmla="*/ 6 h 21"/>
              <a:gd name="T16" fmla="*/ 28 w 30"/>
              <a:gd name="T17" fmla="*/ 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21">
                <a:moveTo>
                  <a:pt x="28" y="2"/>
                </a:moveTo>
                <a:cubicBezTo>
                  <a:pt x="29" y="2"/>
                  <a:pt x="30" y="1"/>
                  <a:pt x="30" y="1"/>
                </a:cubicBezTo>
                <a:cubicBezTo>
                  <a:pt x="26" y="0"/>
                  <a:pt x="23" y="1"/>
                  <a:pt x="19" y="2"/>
                </a:cubicBezTo>
                <a:cubicBezTo>
                  <a:pt x="16" y="4"/>
                  <a:pt x="14" y="6"/>
                  <a:pt x="12" y="9"/>
                </a:cubicBezTo>
                <a:cubicBezTo>
                  <a:pt x="10" y="11"/>
                  <a:pt x="9" y="14"/>
                  <a:pt x="6" y="15"/>
                </a:cubicBezTo>
                <a:cubicBezTo>
                  <a:pt x="5" y="16"/>
                  <a:pt x="2" y="17"/>
                  <a:pt x="0" y="18"/>
                </a:cubicBezTo>
                <a:cubicBezTo>
                  <a:pt x="5" y="21"/>
                  <a:pt x="11" y="21"/>
                  <a:pt x="16" y="17"/>
                </a:cubicBezTo>
                <a:cubicBezTo>
                  <a:pt x="21" y="15"/>
                  <a:pt x="23" y="10"/>
                  <a:pt x="25" y="6"/>
                </a:cubicBezTo>
                <a:cubicBezTo>
                  <a:pt x="26" y="4"/>
                  <a:pt x="27" y="3"/>
                  <a:pt x="28" y="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8" name="íŝliḍé">
            <a:extLst>
              <a:ext uri="{FF2B5EF4-FFF2-40B4-BE49-F238E27FC236}">
                <a16:creationId xmlns:a16="http://schemas.microsoft.com/office/drawing/2014/main" id="{F8F1A07C-D365-443D-AD8B-FAF25F10477D}"/>
              </a:ext>
            </a:extLst>
          </p:cNvPr>
          <p:cNvSpPr/>
          <p:nvPr/>
        </p:nvSpPr>
        <p:spPr bwMode="auto">
          <a:xfrm>
            <a:off x="8778792" y="6277350"/>
            <a:ext cx="135147" cy="99203"/>
          </a:xfrm>
          <a:custGeom>
            <a:avLst/>
            <a:gdLst>
              <a:gd name="T0" fmla="*/ 9 w 26"/>
              <a:gd name="T1" fmla="*/ 5 h 19"/>
              <a:gd name="T2" fmla="*/ 17 w 26"/>
              <a:gd name="T3" fmla="*/ 15 h 19"/>
              <a:gd name="T4" fmla="*/ 26 w 26"/>
              <a:gd name="T5" fmla="*/ 19 h 19"/>
              <a:gd name="T6" fmla="*/ 21 w 26"/>
              <a:gd name="T7" fmla="*/ 12 h 19"/>
              <a:gd name="T8" fmla="*/ 18 w 26"/>
              <a:gd name="T9" fmla="*/ 7 h 19"/>
              <a:gd name="T10" fmla="*/ 11 w 26"/>
              <a:gd name="T11" fmla="*/ 1 h 19"/>
              <a:gd name="T12" fmla="*/ 0 w 26"/>
              <a:gd name="T13" fmla="*/ 0 h 19"/>
              <a:gd name="T14" fmla="*/ 3 w 26"/>
              <a:gd name="T15" fmla="*/ 1 h 19"/>
              <a:gd name="T16" fmla="*/ 9 w 26"/>
              <a:gd name="T17" fmla="*/ 5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" h="19">
                <a:moveTo>
                  <a:pt x="9" y="5"/>
                </a:moveTo>
                <a:cubicBezTo>
                  <a:pt x="12" y="9"/>
                  <a:pt x="14" y="12"/>
                  <a:pt x="17" y="15"/>
                </a:cubicBezTo>
                <a:cubicBezTo>
                  <a:pt x="20" y="17"/>
                  <a:pt x="23" y="19"/>
                  <a:pt x="26" y="19"/>
                </a:cubicBezTo>
                <a:cubicBezTo>
                  <a:pt x="24" y="18"/>
                  <a:pt x="22" y="15"/>
                  <a:pt x="21" y="12"/>
                </a:cubicBezTo>
                <a:cubicBezTo>
                  <a:pt x="20" y="11"/>
                  <a:pt x="19" y="9"/>
                  <a:pt x="18" y="7"/>
                </a:cubicBezTo>
                <a:cubicBezTo>
                  <a:pt x="16" y="4"/>
                  <a:pt x="14" y="2"/>
                  <a:pt x="11" y="1"/>
                </a:cubicBezTo>
                <a:cubicBezTo>
                  <a:pt x="7" y="0"/>
                  <a:pt x="3" y="0"/>
                  <a:pt x="0" y="0"/>
                </a:cubicBezTo>
                <a:cubicBezTo>
                  <a:pt x="1" y="0"/>
                  <a:pt x="2" y="1"/>
                  <a:pt x="3" y="1"/>
                </a:cubicBezTo>
                <a:cubicBezTo>
                  <a:pt x="5" y="2"/>
                  <a:pt x="7" y="4"/>
                  <a:pt x="9" y="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9" name="ïṥḻïḓê">
            <a:extLst>
              <a:ext uri="{FF2B5EF4-FFF2-40B4-BE49-F238E27FC236}">
                <a16:creationId xmlns:a16="http://schemas.microsoft.com/office/drawing/2014/main" id="{E3C1B2F7-F9BC-4C4A-8058-79FB72264295}"/>
              </a:ext>
            </a:extLst>
          </p:cNvPr>
          <p:cNvSpPr/>
          <p:nvPr/>
        </p:nvSpPr>
        <p:spPr bwMode="auto">
          <a:xfrm>
            <a:off x="8722721" y="6277350"/>
            <a:ext cx="181154" cy="125082"/>
          </a:xfrm>
          <a:custGeom>
            <a:avLst/>
            <a:gdLst>
              <a:gd name="T0" fmla="*/ 6 w 35"/>
              <a:gd name="T1" fmla="*/ 6 h 24"/>
              <a:gd name="T2" fmla="*/ 16 w 35"/>
              <a:gd name="T3" fmla="*/ 20 h 24"/>
              <a:gd name="T4" fmla="*/ 35 w 35"/>
              <a:gd name="T5" fmla="*/ 20 h 24"/>
              <a:gd name="T6" fmla="*/ 28 w 35"/>
              <a:gd name="T7" fmla="*/ 17 h 24"/>
              <a:gd name="T8" fmla="*/ 21 w 35"/>
              <a:gd name="T9" fmla="*/ 11 h 24"/>
              <a:gd name="T10" fmla="*/ 13 w 35"/>
              <a:gd name="T11" fmla="*/ 3 h 24"/>
              <a:gd name="T12" fmla="*/ 0 w 35"/>
              <a:gd name="T13" fmla="*/ 1 h 24"/>
              <a:gd name="T14" fmla="*/ 2 w 35"/>
              <a:gd name="T15" fmla="*/ 2 h 24"/>
              <a:gd name="T16" fmla="*/ 6 w 35"/>
              <a:gd name="T17" fmla="*/ 6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" h="24">
                <a:moveTo>
                  <a:pt x="6" y="6"/>
                </a:moveTo>
                <a:cubicBezTo>
                  <a:pt x="9" y="12"/>
                  <a:pt x="11" y="17"/>
                  <a:pt x="16" y="20"/>
                </a:cubicBezTo>
                <a:cubicBezTo>
                  <a:pt x="22" y="24"/>
                  <a:pt x="30" y="24"/>
                  <a:pt x="35" y="20"/>
                </a:cubicBezTo>
                <a:cubicBezTo>
                  <a:pt x="33" y="20"/>
                  <a:pt x="30" y="19"/>
                  <a:pt x="28" y="17"/>
                </a:cubicBezTo>
                <a:cubicBezTo>
                  <a:pt x="25" y="16"/>
                  <a:pt x="23" y="13"/>
                  <a:pt x="21" y="11"/>
                </a:cubicBezTo>
                <a:cubicBezTo>
                  <a:pt x="19" y="7"/>
                  <a:pt x="16" y="5"/>
                  <a:pt x="13" y="3"/>
                </a:cubicBezTo>
                <a:cubicBezTo>
                  <a:pt x="9" y="1"/>
                  <a:pt x="4" y="0"/>
                  <a:pt x="0" y="1"/>
                </a:cubicBezTo>
                <a:cubicBezTo>
                  <a:pt x="1" y="1"/>
                  <a:pt x="2" y="2"/>
                  <a:pt x="2" y="2"/>
                </a:cubicBezTo>
                <a:cubicBezTo>
                  <a:pt x="4" y="3"/>
                  <a:pt x="5" y="5"/>
                  <a:pt x="6" y="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0" name="ïšlîḓé">
            <a:extLst>
              <a:ext uri="{FF2B5EF4-FFF2-40B4-BE49-F238E27FC236}">
                <a16:creationId xmlns:a16="http://schemas.microsoft.com/office/drawing/2014/main" id="{9BB7A1F6-FC73-4A0D-83A8-5211F1CBE1CF}"/>
              </a:ext>
            </a:extLst>
          </p:cNvPr>
          <p:cNvSpPr/>
          <p:nvPr/>
        </p:nvSpPr>
        <p:spPr bwMode="auto">
          <a:xfrm>
            <a:off x="8794606" y="6173833"/>
            <a:ext cx="119331" cy="83388"/>
          </a:xfrm>
          <a:custGeom>
            <a:avLst/>
            <a:gdLst>
              <a:gd name="T0" fmla="*/ 10 w 23"/>
              <a:gd name="T1" fmla="*/ 1 h 16"/>
              <a:gd name="T2" fmla="*/ 0 w 23"/>
              <a:gd name="T3" fmla="*/ 0 h 16"/>
              <a:gd name="T4" fmla="*/ 3 w 23"/>
              <a:gd name="T5" fmla="*/ 1 h 16"/>
              <a:gd name="T6" fmla="*/ 8 w 23"/>
              <a:gd name="T7" fmla="*/ 5 h 16"/>
              <a:gd name="T8" fmla="*/ 15 w 23"/>
              <a:gd name="T9" fmla="*/ 13 h 16"/>
              <a:gd name="T10" fmla="*/ 23 w 23"/>
              <a:gd name="T11" fmla="*/ 16 h 16"/>
              <a:gd name="T12" fmla="*/ 19 w 23"/>
              <a:gd name="T13" fmla="*/ 11 h 16"/>
              <a:gd name="T14" fmla="*/ 16 w 23"/>
              <a:gd name="T15" fmla="*/ 6 h 16"/>
              <a:gd name="T16" fmla="*/ 10 w 23"/>
              <a:gd name="T17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16">
                <a:moveTo>
                  <a:pt x="10" y="1"/>
                </a:moveTo>
                <a:cubicBezTo>
                  <a:pt x="7" y="0"/>
                  <a:pt x="3" y="0"/>
                  <a:pt x="0" y="0"/>
                </a:cubicBezTo>
                <a:cubicBezTo>
                  <a:pt x="1" y="0"/>
                  <a:pt x="2" y="1"/>
                  <a:pt x="3" y="1"/>
                </a:cubicBezTo>
                <a:cubicBezTo>
                  <a:pt x="5" y="2"/>
                  <a:pt x="7" y="3"/>
                  <a:pt x="8" y="5"/>
                </a:cubicBezTo>
                <a:cubicBezTo>
                  <a:pt x="11" y="7"/>
                  <a:pt x="13" y="11"/>
                  <a:pt x="15" y="13"/>
                </a:cubicBezTo>
                <a:cubicBezTo>
                  <a:pt x="18" y="15"/>
                  <a:pt x="20" y="16"/>
                  <a:pt x="23" y="16"/>
                </a:cubicBezTo>
                <a:cubicBezTo>
                  <a:pt x="21" y="15"/>
                  <a:pt x="20" y="13"/>
                  <a:pt x="19" y="11"/>
                </a:cubicBezTo>
                <a:cubicBezTo>
                  <a:pt x="18" y="9"/>
                  <a:pt x="17" y="8"/>
                  <a:pt x="16" y="6"/>
                </a:cubicBezTo>
                <a:cubicBezTo>
                  <a:pt x="14" y="4"/>
                  <a:pt x="12" y="2"/>
                  <a:pt x="10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1" name="íśḻîdè">
            <a:extLst>
              <a:ext uri="{FF2B5EF4-FFF2-40B4-BE49-F238E27FC236}">
                <a16:creationId xmlns:a16="http://schemas.microsoft.com/office/drawing/2014/main" id="{C4BDBA0E-2126-4C5E-B6D8-14781FB44E68}"/>
              </a:ext>
            </a:extLst>
          </p:cNvPr>
          <p:cNvSpPr/>
          <p:nvPr/>
        </p:nvSpPr>
        <p:spPr bwMode="auto">
          <a:xfrm>
            <a:off x="8748599" y="6173833"/>
            <a:ext cx="155275" cy="109267"/>
          </a:xfrm>
          <a:custGeom>
            <a:avLst/>
            <a:gdLst>
              <a:gd name="T0" fmla="*/ 0 w 30"/>
              <a:gd name="T1" fmla="*/ 1 h 21"/>
              <a:gd name="T2" fmla="*/ 2 w 30"/>
              <a:gd name="T3" fmla="*/ 2 h 21"/>
              <a:gd name="T4" fmla="*/ 5 w 30"/>
              <a:gd name="T5" fmla="*/ 6 h 21"/>
              <a:gd name="T6" fmla="*/ 14 w 30"/>
              <a:gd name="T7" fmla="*/ 17 h 21"/>
              <a:gd name="T8" fmla="*/ 30 w 30"/>
              <a:gd name="T9" fmla="*/ 18 h 21"/>
              <a:gd name="T10" fmla="*/ 24 w 30"/>
              <a:gd name="T11" fmla="*/ 15 h 21"/>
              <a:gd name="T12" fmla="*/ 18 w 30"/>
              <a:gd name="T13" fmla="*/ 9 h 21"/>
              <a:gd name="T14" fmla="*/ 11 w 30"/>
              <a:gd name="T15" fmla="*/ 2 h 21"/>
              <a:gd name="T16" fmla="*/ 0 w 30"/>
              <a:gd name="T17" fmla="*/ 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21">
                <a:moveTo>
                  <a:pt x="0" y="1"/>
                </a:moveTo>
                <a:cubicBezTo>
                  <a:pt x="1" y="1"/>
                  <a:pt x="2" y="2"/>
                  <a:pt x="2" y="2"/>
                </a:cubicBezTo>
                <a:cubicBezTo>
                  <a:pt x="3" y="3"/>
                  <a:pt x="4" y="4"/>
                  <a:pt x="5" y="6"/>
                </a:cubicBezTo>
                <a:cubicBezTo>
                  <a:pt x="8" y="10"/>
                  <a:pt x="9" y="15"/>
                  <a:pt x="14" y="17"/>
                </a:cubicBezTo>
                <a:cubicBezTo>
                  <a:pt x="19" y="21"/>
                  <a:pt x="25" y="21"/>
                  <a:pt x="30" y="18"/>
                </a:cubicBezTo>
                <a:cubicBezTo>
                  <a:pt x="28" y="17"/>
                  <a:pt x="26" y="16"/>
                  <a:pt x="24" y="15"/>
                </a:cubicBezTo>
                <a:cubicBezTo>
                  <a:pt x="22" y="14"/>
                  <a:pt x="20" y="11"/>
                  <a:pt x="18" y="9"/>
                </a:cubicBezTo>
                <a:cubicBezTo>
                  <a:pt x="16" y="6"/>
                  <a:pt x="14" y="4"/>
                  <a:pt x="11" y="2"/>
                </a:cubicBezTo>
                <a:cubicBezTo>
                  <a:pt x="8" y="1"/>
                  <a:pt x="4" y="0"/>
                  <a:pt x="0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2" name="ïṣļíde">
            <a:extLst>
              <a:ext uri="{FF2B5EF4-FFF2-40B4-BE49-F238E27FC236}">
                <a16:creationId xmlns:a16="http://schemas.microsoft.com/office/drawing/2014/main" id="{F4B7C032-2113-40E9-8FAE-8FD61B7F6F5F}"/>
              </a:ext>
            </a:extLst>
          </p:cNvPr>
          <p:cNvSpPr/>
          <p:nvPr/>
        </p:nvSpPr>
        <p:spPr bwMode="auto">
          <a:xfrm>
            <a:off x="8919689" y="6101948"/>
            <a:ext cx="66135" cy="133708"/>
          </a:xfrm>
          <a:custGeom>
            <a:avLst/>
            <a:gdLst>
              <a:gd name="T0" fmla="*/ 9 w 13"/>
              <a:gd name="T1" fmla="*/ 8 h 26"/>
              <a:gd name="T2" fmla="*/ 2 w 13"/>
              <a:gd name="T3" fmla="*/ 17 h 26"/>
              <a:gd name="T4" fmla="*/ 1 w 13"/>
              <a:gd name="T5" fmla="*/ 26 h 26"/>
              <a:gd name="T6" fmla="*/ 5 w 13"/>
              <a:gd name="T7" fmla="*/ 20 h 26"/>
              <a:gd name="T8" fmla="*/ 9 w 13"/>
              <a:gd name="T9" fmla="*/ 16 h 26"/>
              <a:gd name="T10" fmla="*/ 12 w 13"/>
              <a:gd name="T11" fmla="*/ 9 h 26"/>
              <a:gd name="T12" fmla="*/ 11 w 13"/>
              <a:gd name="T13" fmla="*/ 0 h 26"/>
              <a:gd name="T14" fmla="*/ 11 w 13"/>
              <a:gd name="T15" fmla="*/ 3 h 26"/>
              <a:gd name="T16" fmla="*/ 9 w 13"/>
              <a:gd name="T17" fmla="*/ 8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6">
                <a:moveTo>
                  <a:pt x="9" y="8"/>
                </a:moveTo>
                <a:cubicBezTo>
                  <a:pt x="6" y="11"/>
                  <a:pt x="4" y="14"/>
                  <a:pt x="2" y="17"/>
                </a:cubicBezTo>
                <a:cubicBezTo>
                  <a:pt x="1" y="20"/>
                  <a:pt x="0" y="23"/>
                  <a:pt x="1" y="26"/>
                </a:cubicBezTo>
                <a:cubicBezTo>
                  <a:pt x="1" y="23"/>
                  <a:pt x="3" y="21"/>
                  <a:pt x="5" y="20"/>
                </a:cubicBezTo>
                <a:cubicBezTo>
                  <a:pt x="6" y="19"/>
                  <a:pt x="8" y="18"/>
                  <a:pt x="9" y="16"/>
                </a:cubicBezTo>
                <a:cubicBezTo>
                  <a:pt x="11" y="14"/>
                  <a:pt x="12" y="12"/>
                  <a:pt x="12" y="9"/>
                </a:cubicBezTo>
                <a:cubicBezTo>
                  <a:pt x="13" y="6"/>
                  <a:pt x="12" y="3"/>
                  <a:pt x="11" y="0"/>
                </a:cubicBezTo>
                <a:cubicBezTo>
                  <a:pt x="11" y="0"/>
                  <a:pt x="11" y="2"/>
                  <a:pt x="11" y="3"/>
                </a:cubicBezTo>
                <a:cubicBezTo>
                  <a:pt x="10" y="5"/>
                  <a:pt x="10" y="7"/>
                  <a:pt x="9" y="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3" name="îsļîḍé">
            <a:extLst>
              <a:ext uri="{FF2B5EF4-FFF2-40B4-BE49-F238E27FC236}">
                <a16:creationId xmlns:a16="http://schemas.microsoft.com/office/drawing/2014/main" id="{15FE9632-28BF-45F2-B183-ABF21B57DA9C}"/>
              </a:ext>
            </a:extLst>
          </p:cNvPr>
          <p:cNvSpPr/>
          <p:nvPr/>
        </p:nvSpPr>
        <p:spPr bwMode="auto">
          <a:xfrm>
            <a:off x="8882308" y="6054502"/>
            <a:ext cx="89140" cy="171089"/>
          </a:xfrm>
          <a:custGeom>
            <a:avLst/>
            <a:gdLst>
              <a:gd name="T0" fmla="*/ 6 w 17"/>
              <a:gd name="T1" fmla="*/ 33 h 33"/>
              <a:gd name="T2" fmla="*/ 7 w 17"/>
              <a:gd name="T3" fmla="*/ 27 h 33"/>
              <a:gd name="T4" fmla="*/ 11 w 17"/>
              <a:gd name="T5" fmla="*/ 20 h 33"/>
              <a:gd name="T6" fmla="*/ 16 w 17"/>
              <a:gd name="T7" fmla="*/ 11 h 33"/>
              <a:gd name="T8" fmla="*/ 16 w 17"/>
              <a:gd name="T9" fmla="*/ 0 h 33"/>
              <a:gd name="T10" fmla="*/ 15 w 17"/>
              <a:gd name="T11" fmla="*/ 2 h 33"/>
              <a:gd name="T12" fmla="*/ 12 w 17"/>
              <a:gd name="T13" fmla="*/ 6 h 33"/>
              <a:gd name="T14" fmla="*/ 2 w 17"/>
              <a:gd name="T15" fmla="*/ 17 h 33"/>
              <a:gd name="T16" fmla="*/ 6 w 17"/>
              <a:gd name="T17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33">
                <a:moveTo>
                  <a:pt x="6" y="33"/>
                </a:moveTo>
                <a:cubicBezTo>
                  <a:pt x="5" y="31"/>
                  <a:pt x="6" y="29"/>
                  <a:pt x="7" y="27"/>
                </a:cubicBezTo>
                <a:cubicBezTo>
                  <a:pt x="8" y="24"/>
                  <a:pt x="9" y="22"/>
                  <a:pt x="11" y="20"/>
                </a:cubicBezTo>
                <a:cubicBezTo>
                  <a:pt x="13" y="17"/>
                  <a:pt x="15" y="15"/>
                  <a:pt x="16" y="11"/>
                </a:cubicBezTo>
                <a:cubicBezTo>
                  <a:pt x="17" y="8"/>
                  <a:pt x="17" y="4"/>
                  <a:pt x="16" y="0"/>
                </a:cubicBezTo>
                <a:cubicBezTo>
                  <a:pt x="16" y="1"/>
                  <a:pt x="15" y="2"/>
                  <a:pt x="15" y="2"/>
                </a:cubicBezTo>
                <a:cubicBezTo>
                  <a:pt x="14" y="4"/>
                  <a:pt x="13" y="5"/>
                  <a:pt x="12" y="6"/>
                </a:cubicBezTo>
                <a:cubicBezTo>
                  <a:pt x="8" y="10"/>
                  <a:pt x="4" y="12"/>
                  <a:pt x="2" y="17"/>
                </a:cubicBezTo>
                <a:cubicBezTo>
                  <a:pt x="0" y="23"/>
                  <a:pt x="1" y="29"/>
                  <a:pt x="6" y="3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4" name="íṩļïḓé">
            <a:extLst>
              <a:ext uri="{FF2B5EF4-FFF2-40B4-BE49-F238E27FC236}">
                <a16:creationId xmlns:a16="http://schemas.microsoft.com/office/drawing/2014/main" id="{ED16D030-BD60-4EB7-991F-FB79F5800A3C}"/>
              </a:ext>
            </a:extLst>
          </p:cNvPr>
          <p:cNvSpPr/>
          <p:nvPr/>
        </p:nvSpPr>
        <p:spPr bwMode="auto">
          <a:xfrm>
            <a:off x="10251024" y="2220087"/>
            <a:ext cx="165338" cy="165338"/>
          </a:xfrm>
          <a:custGeom>
            <a:avLst/>
            <a:gdLst>
              <a:gd name="T0" fmla="*/ 7 w 32"/>
              <a:gd name="T1" fmla="*/ 30 h 32"/>
              <a:gd name="T2" fmla="*/ 16 w 32"/>
              <a:gd name="T3" fmla="*/ 32 h 32"/>
              <a:gd name="T4" fmla="*/ 32 w 32"/>
              <a:gd name="T5" fmla="*/ 16 h 32"/>
              <a:gd name="T6" fmla="*/ 16 w 32"/>
              <a:gd name="T7" fmla="*/ 0 h 32"/>
              <a:gd name="T8" fmla="*/ 0 w 32"/>
              <a:gd name="T9" fmla="*/ 14 h 32"/>
              <a:gd name="T10" fmla="*/ 16 w 32"/>
              <a:gd name="T11" fmla="*/ 14 h 32"/>
              <a:gd name="T12" fmla="*/ 21 w 32"/>
              <a:gd name="T13" fmla="*/ 14 h 32"/>
              <a:gd name="T14" fmla="*/ 18 w 32"/>
              <a:gd name="T15" fmla="*/ 18 h 32"/>
              <a:gd name="T16" fmla="*/ 7 w 32"/>
              <a:gd name="T17" fmla="*/ 3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7" y="30"/>
                </a:moveTo>
                <a:cubicBezTo>
                  <a:pt x="10" y="31"/>
                  <a:pt x="13" y="32"/>
                  <a:pt x="16" y="32"/>
                </a:cubicBezTo>
                <a:cubicBezTo>
                  <a:pt x="25" y="32"/>
                  <a:pt x="32" y="25"/>
                  <a:pt x="32" y="16"/>
                </a:cubicBezTo>
                <a:cubicBezTo>
                  <a:pt x="32" y="7"/>
                  <a:pt x="25" y="0"/>
                  <a:pt x="16" y="0"/>
                </a:cubicBezTo>
                <a:cubicBezTo>
                  <a:pt x="8" y="0"/>
                  <a:pt x="1" y="6"/>
                  <a:pt x="0" y="14"/>
                </a:cubicBezTo>
                <a:cubicBezTo>
                  <a:pt x="16" y="14"/>
                  <a:pt x="16" y="14"/>
                  <a:pt x="16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8" y="18"/>
                  <a:pt x="18" y="18"/>
                  <a:pt x="18" y="18"/>
                </a:cubicBezTo>
                <a:lnTo>
                  <a:pt x="7" y="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5" name="ïŝļîḋé">
            <a:extLst>
              <a:ext uri="{FF2B5EF4-FFF2-40B4-BE49-F238E27FC236}">
                <a16:creationId xmlns:a16="http://schemas.microsoft.com/office/drawing/2014/main" id="{A517F378-F4C0-4C12-BC5D-9F7E9155D540}"/>
              </a:ext>
            </a:extLst>
          </p:cNvPr>
          <p:cNvSpPr/>
          <p:nvPr/>
        </p:nvSpPr>
        <p:spPr bwMode="auto">
          <a:xfrm>
            <a:off x="9986482" y="2303475"/>
            <a:ext cx="346492" cy="326364"/>
          </a:xfrm>
          <a:custGeom>
            <a:avLst/>
            <a:gdLst>
              <a:gd name="T0" fmla="*/ 30 w 67"/>
              <a:gd name="T1" fmla="*/ 34 h 63"/>
              <a:gd name="T2" fmla="*/ 30 w 67"/>
              <a:gd name="T3" fmla="*/ 36 h 63"/>
              <a:gd name="T4" fmla="*/ 30 w 67"/>
              <a:gd name="T5" fmla="*/ 37 h 63"/>
              <a:gd name="T6" fmla="*/ 30 w 67"/>
              <a:gd name="T7" fmla="*/ 58 h 63"/>
              <a:gd name="T8" fmla="*/ 22 w 67"/>
              <a:gd name="T9" fmla="*/ 63 h 63"/>
              <a:gd name="T10" fmla="*/ 44 w 67"/>
              <a:gd name="T11" fmla="*/ 63 h 63"/>
              <a:gd name="T12" fmla="*/ 37 w 67"/>
              <a:gd name="T13" fmla="*/ 58 h 63"/>
              <a:gd name="T14" fmla="*/ 37 w 67"/>
              <a:gd name="T15" fmla="*/ 37 h 63"/>
              <a:gd name="T16" fmla="*/ 37 w 67"/>
              <a:gd name="T17" fmla="*/ 36 h 63"/>
              <a:gd name="T18" fmla="*/ 37 w 67"/>
              <a:gd name="T19" fmla="*/ 34 h 63"/>
              <a:gd name="T20" fmla="*/ 56 w 67"/>
              <a:gd name="T21" fmla="*/ 12 h 63"/>
              <a:gd name="T22" fmla="*/ 67 w 67"/>
              <a:gd name="T23" fmla="*/ 0 h 63"/>
              <a:gd name="T24" fmla="*/ 51 w 67"/>
              <a:gd name="T25" fmla="*/ 0 h 63"/>
              <a:gd name="T26" fmla="*/ 0 w 67"/>
              <a:gd name="T27" fmla="*/ 0 h 63"/>
              <a:gd name="T28" fmla="*/ 30 w 67"/>
              <a:gd name="T29" fmla="*/ 34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7" h="63">
                <a:moveTo>
                  <a:pt x="30" y="34"/>
                </a:moveTo>
                <a:cubicBezTo>
                  <a:pt x="30" y="36"/>
                  <a:pt x="30" y="36"/>
                  <a:pt x="30" y="36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58"/>
                  <a:pt x="30" y="58"/>
                  <a:pt x="30" y="58"/>
                </a:cubicBezTo>
                <a:cubicBezTo>
                  <a:pt x="25" y="58"/>
                  <a:pt x="22" y="61"/>
                  <a:pt x="22" y="63"/>
                </a:cubicBezTo>
                <a:cubicBezTo>
                  <a:pt x="44" y="63"/>
                  <a:pt x="44" y="63"/>
                  <a:pt x="44" y="63"/>
                </a:cubicBezTo>
                <a:cubicBezTo>
                  <a:pt x="44" y="61"/>
                  <a:pt x="41" y="59"/>
                  <a:pt x="37" y="58"/>
                </a:cubicBezTo>
                <a:cubicBezTo>
                  <a:pt x="37" y="37"/>
                  <a:pt x="37" y="37"/>
                  <a:pt x="37" y="37"/>
                </a:cubicBezTo>
                <a:cubicBezTo>
                  <a:pt x="37" y="36"/>
                  <a:pt x="37" y="36"/>
                  <a:pt x="37" y="36"/>
                </a:cubicBezTo>
                <a:cubicBezTo>
                  <a:pt x="37" y="34"/>
                  <a:pt x="37" y="34"/>
                  <a:pt x="37" y="34"/>
                </a:cubicBezTo>
                <a:cubicBezTo>
                  <a:pt x="56" y="12"/>
                  <a:pt x="56" y="12"/>
                  <a:pt x="56" y="12"/>
                </a:cubicBezTo>
                <a:cubicBezTo>
                  <a:pt x="67" y="0"/>
                  <a:pt x="67" y="0"/>
                  <a:pt x="67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0" y="0"/>
                  <a:pt x="0" y="0"/>
                  <a:pt x="0" y="0"/>
                </a:cubicBezTo>
                <a:lnTo>
                  <a:pt x="30" y="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6" name="ïṣ1íḍê">
            <a:extLst>
              <a:ext uri="{FF2B5EF4-FFF2-40B4-BE49-F238E27FC236}">
                <a16:creationId xmlns:a16="http://schemas.microsoft.com/office/drawing/2014/main" id="{E6A0C33D-57B9-457F-8858-67CB5AE63373}"/>
              </a:ext>
            </a:extLst>
          </p:cNvPr>
          <p:cNvSpPr/>
          <p:nvPr/>
        </p:nvSpPr>
        <p:spPr bwMode="auto">
          <a:xfrm>
            <a:off x="9825457" y="1941168"/>
            <a:ext cx="258791" cy="159588"/>
          </a:xfrm>
          <a:custGeom>
            <a:avLst/>
            <a:gdLst>
              <a:gd name="T0" fmla="*/ 141 w 180"/>
              <a:gd name="T1" fmla="*/ 61 h 111"/>
              <a:gd name="T2" fmla="*/ 180 w 180"/>
              <a:gd name="T3" fmla="*/ 61 h 111"/>
              <a:gd name="T4" fmla="*/ 180 w 180"/>
              <a:gd name="T5" fmla="*/ 111 h 111"/>
              <a:gd name="T6" fmla="*/ 141 w 180"/>
              <a:gd name="T7" fmla="*/ 111 h 111"/>
              <a:gd name="T8" fmla="*/ 141 w 180"/>
              <a:gd name="T9" fmla="*/ 100 h 111"/>
              <a:gd name="T10" fmla="*/ 155 w 180"/>
              <a:gd name="T11" fmla="*/ 100 h 111"/>
              <a:gd name="T12" fmla="*/ 155 w 180"/>
              <a:gd name="T13" fmla="*/ 79 h 111"/>
              <a:gd name="T14" fmla="*/ 141 w 180"/>
              <a:gd name="T15" fmla="*/ 79 h 111"/>
              <a:gd name="T16" fmla="*/ 141 w 180"/>
              <a:gd name="T17" fmla="*/ 61 h 111"/>
              <a:gd name="T18" fmla="*/ 90 w 180"/>
              <a:gd name="T19" fmla="*/ 61 h 111"/>
              <a:gd name="T20" fmla="*/ 141 w 180"/>
              <a:gd name="T21" fmla="*/ 61 h 111"/>
              <a:gd name="T22" fmla="*/ 141 w 180"/>
              <a:gd name="T23" fmla="*/ 79 h 111"/>
              <a:gd name="T24" fmla="*/ 126 w 180"/>
              <a:gd name="T25" fmla="*/ 79 h 111"/>
              <a:gd name="T26" fmla="*/ 126 w 180"/>
              <a:gd name="T27" fmla="*/ 100 h 111"/>
              <a:gd name="T28" fmla="*/ 126 w 180"/>
              <a:gd name="T29" fmla="*/ 100 h 111"/>
              <a:gd name="T30" fmla="*/ 141 w 180"/>
              <a:gd name="T31" fmla="*/ 100 h 111"/>
              <a:gd name="T32" fmla="*/ 141 w 180"/>
              <a:gd name="T33" fmla="*/ 111 h 111"/>
              <a:gd name="T34" fmla="*/ 90 w 180"/>
              <a:gd name="T35" fmla="*/ 111 h 111"/>
              <a:gd name="T36" fmla="*/ 90 w 180"/>
              <a:gd name="T37" fmla="*/ 100 h 111"/>
              <a:gd name="T38" fmla="*/ 105 w 180"/>
              <a:gd name="T39" fmla="*/ 100 h 111"/>
              <a:gd name="T40" fmla="*/ 105 w 180"/>
              <a:gd name="T41" fmla="*/ 79 h 111"/>
              <a:gd name="T42" fmla="*/ 90 w 180"/>
              <a:gd name="T43" fmla="*/ 79 h 111"/>
              <a:gd name="T44" fmla="*/ 90 w 180"/>
              <a:gd name="T45" fmla="*/ 61 h 111"/>
              <a:gd name="T46" fmla="*/ 65 w 180"/>
              <a:gd name="T47" fmla="*/ 0 h 111"/>
              <a:gd name="T48" fmla="*/ 65 w 180"/>
              <a:gd name="T49" fmla="*/ 61 h 111"/>
              <a:gd name="T50" fmla="*/ 90 w 180"/>
              <a:gd name="T51" fmla="*/ 61 h 111"/>
              <a:gd name="T52" fmla="*/ 90 w 180"/>
              <a:gd name="T53" fmla="*/ 79 h 111"/>
              <a:gd name="T54" fmla="*/ 76 w 180"/>
              <a:gd name="T55" fmla="*/ 79 h 111"/>
              <a:gd name="T56" fmla="*/ 76 w 180"/>
              <a:gd name="T57" fmla="*/ 100 h 111"/>
              <a:gd name="T58" fmla="*/ 76 w 180"/>
              <a:gd name="T59" fmla="*/ 100 h 111"/>
              <a:gd name="T60" fmla="*/ 90 w 180"/>
              <a:gd name="T61" fmla="*/ 100 h 111"/>
              <a:gd name="T62" fmla="*/ 90 w 180"/>
              <a:gd name="T63" fmla="*/ 111 h 111"/>
              <a:gd name="T64" fmla="*/ 40 w 180"/>
              <a:gd name="T65" fmla="*/ 111 h 111"/>
              <a:gd name="T66" fmla="*/ 40 w 180"/>
              <a:gd name="T67" fmla="*/ 100 h 111"/>
              <a:gd name="T68" fmla="*/ 54 w 180"/>
              <a:gd name="T69" fmla="*/ 100 h 111"/>
              <a:gd name="T70" fmla="*/ 54 w 180"/>
              <a:gd name="T71" fmla="*/ 79 h 111"/>
              <a:gd name="T72" fmla="*/ 40 w 180"/>
              <a:gd name="T73" fmla="*/ 79 h 111"/>
              <a:gd name="T74" fmla="*/ 40 w 180"/>
              <a:gd name="T75" fmla="*/ 0 h 111"/>
              <a:gd name="T76" fmla="*/ 65 w 180"/>
              <a:gd name="T77" fmla="*/ 0 h 111"/>
              <a:gd name="T78" fmla="*/ 40 w 180"/>
              <a:gd name="T79" fmla="*/ 111 h 111"/>
              <a:gd name="T80" fmla="*/ 0 w 180"/>
              <a:gd name="T81" fmla="*/ 111 h 111"/>
              <a:gd name="T82" fmla="*/ 0 w 180"/>
              <a:gd name="T83" fmla="*/ 61 h 111"/>
              <a:gd name="T84" fmla="*/ 22 w 180"/>
              <a:gd name="T85" fmla="*/ 61 h 111"/>
              <a:gd name="T86" fmla="*/ 22 w 180"/>
              <a:gd name="T87" fmla="*/ 0 h 111"/>
              <a:gd name="T88" fmla="*/ 40 w 180"/>
              <a:gd name="T89" fmla="*/ 0 h 111"/>
              <a:gd name="T90" fmla="*/ 40 w 180"/>
              <a:gd name="T91" fmla="*/ 79 h 111"/>
              <a:gd name="T92" fmla="*/ 25 w 180"/>
              <a:gd name="T93" fmla="*/ 79 h 111"/>
              <a:gd name="T94" fmla="*/ 25 w 180"/>
              <a:gd name="T95" fmla="*/ 100 h 111"/>
              <a:gd name="T96" fmla="*/ 25 w 180"/>
              <a:gd name="T97" fmla="*/ 100 h 111"/>
              <a:gd name="T98" fmla="*/ 40 w 180"/>
              <a:gd name="T99" fmla="*/ 100 h 111"/>
              <a:gd name="T100" fmla="*/ 40 w 180"/>
              <a:gd name="T101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80" h="111">
                <a:moveTo>
                  <a:pt x="141" y="61"/>
                </a:moveTo>
                <a:lnTo>
                  <a:pt x="180" y="61"/>
                </a:lnTo>
                <a:lnTo>
                  <a:pt x="180" y="111"/>
                </a:lnTo>
                <a:lnTo>
                  <a:pt x="141" y="111"/>
                </a:lnTo>
                <a:lnTo>
                  <a:pt x="141" y="100"/>
                </a:lnTo>
                <a:lnTo>
                  <a:pt x="155" y="100"/>
                </a:lnTo>
                <a:lnTo>
                  <a:pt x="155" y="79"/>
                </a:lnTo>
                <a:lnTo>
                  <a:pt x="141" y="79"/>
                </a:lnTo>
                <a:lnTo>
                  <a:pt x="141" y="61"/>
                </a:lnTo>
                <a:close/>
                <a:moveTo>
                  <a:pt x="90" y="61"/>
                </a:moveTo>
                <a:lnTo>
                  <a:pt x="141" y="61"/>
                </a:lnTo>
                <a:lnTo>
                  <a:pt x="141" y="79"/>
                </a:lnTo>
                <a:lnTo>
                  <a:pt x="126" y="79"/>
                </a:lnTo>
                <a:lnTo>
                  <a:pt x="126" y="100"/>
                </a:lnTo>
                <a:lnTo>
                  <a:pt x="126" y="100"/>
                </a:lnTo>
                <a:lnTo>
                  <a:pt x="141" y="100"/>
                </a:lnTo>
                <a:lnTo>
                  <a:pt x="141" y="111"/>
                </a:lnTo>
                <a:lnTo>
                  <a:pt x="90" y="111"/>
                </a:lnTo>
                <a:lnTo>
                  <a:pt x="90" y="100"/>
                </a:lnTo>
                <a:lnTo>
                  <a:pt x="105" y="100"/>
                </a:lnTo>
                <a:lnTo>
                  <a:pt x="105" y="79"/>
                </a:lnTo>
                <a:lnTo>
                  <a:pt x="90" y="79"/>
                </a:lnTo>
                <a:lnTo>
                  <a:pt x="90" y="61"/>
                </a:lnTo>
                <a:close/>
                <a:moveTo>
                  <a:pt x="65" y="0"/>
                </a:moveTo>
                <a:lnTo>
                  <a:pt x="65" y="61"/>
                </a:lnTo>
                <a:lnTo>
                  <a:pt x="90" y="61"/>
                </a:lnTo>
                <a:lnTo>
                  <a:pt x="90" y="79"/>
                </a:lnTo>
                <a:lnTo>
                  <a:pt x="76" y="79"/>
                </a:lnTo>
                <a:lnTo>
                  <a:pt x="76" y="100"/>
                </a:lnTo>
                <a:lnTo>
                  <a:pt x="76" y="100"/>
                </a:lnTo>
                <a:lnTo>
                  <a:pt x="90" y="100"/>
                </a:lnTo>
                <a:lnTo>
                  <a:pt x="90" y="111"/>
                </a:lnTo>
                <a:lnTo>
                  <a:pt x="40" y="111"/>
                </a:lnTo>
                <a:lnTo>
                  <a:pt x="40" y="100"/>
                </a:lnTo>
                <a:lnTo>
                  <a:pt x="54" y="100"/>
                </a:lnTo>
                <a:lnTo>
                  <a:pt x="54" y="79"/>
                </a:lnTo>
                <a:lnTo>
                  <a:pt x="40" y="79"/>
                </a:lnTo>
                <a:lnTo>
                  <a:pt x="40" y="0"/>
                </a:lnTo>
                <a:lnTo>
                  <a:pt x="65" y="0"/>
                </a:lnTo>
                <a:close/>
                <a:moveTo>
                  <a:pt x="40" y="111"/>
                </a:moveTo>
                <a:lnTo>
                  <a:pt x="0" y="111"/>
                </a:lnTo>
                <a:lnTo>
                  <a:pt x="0" y="61"/>
                </a:lnTo>
                <a:lnTo>
                  <a:pt x="22" y="61"/>
                </a:lnTo>
                <a:lnTo>
                  <a:pt x="22" y="0"/>
                </a:lnTo>
                <a:lnTo>
                  <a:pt x="40" y="0"/>
                </a:lnTo>
                <a:lnTo>
                  <a:pt x="40" y="79"/>
                </a:lnTo>
                <a:lnTo>
                  <a:pt x="25" y="79"/>
                </a:lnTo>
                <a:lnTo>
                  <a:pt x="25" y="100"/>
                </a:lnTo>
                <a:lnTo>
                  <a:pt x="25" y="100"/>
                </a:lnTo>
                <a:lnTo>
                  <a:pt x="40" y="100"/>
                </a:lnTo>
                <a:lnTo>
                  <a:pt x="40" y="11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7" name="íṧļïḋê">
            <a:extLst>
              <a:ext uri="{FF2B5EF4-FFF2-40B4-BE49-F238E27FC236}">
                <a16:creationId xmlns:a16="http://schemas.microsoft.com/office/drawing/2014/main" id="{1CBBCA86-C1D6-43E9-8201-1AC42AB25D15}"/>
              </a:ext>
            </a:extLst>
          </p:cNvPr>
          <p:cNvSpPr/>
          <p:nvPr/>
        </p:nvSpPr>
        <p:spPr bwMode="auto">
          <a:xfrm>
            <a:off x="9799579" y="2110820"/>
            <a:ext cx="347930" cy="109267"/>
          </a:xfrm>
          <a:custGeom>
            <a:avLst/>
            <a:gdLst>
              <a:gd name="T0" fmla="*/ 7 w 242"/>
              <a:gd name="T1" fmla="*/ 76 h 76"/>
              <a:gd name="T2" fmla="*/ 0 w 242"/>
              <a:gd name="T3" fmla="*/ 0 h 76"/>
              <a:gd name="T4" fmla="*/ 242 w 242"/>
              <a:gd name="T5" fmla="*/ 0 h 76"/>
              <a:gd name="T6" fmla="*/ 213 w 242"/>
              <a:gd name="T7" fmla="*/ 76 h 76"/>
              <a:gd name="T8" fmla="*/ 7 w 242"/>
              <a:gd name="T9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2" h="76">
                <a:moveTo>
                  <a:pt x="7" y="76"/>
                </a:moveTo>
                <a:lnTo>
                  <a:pt x="0" y="0"/>
                </a:lnTo>
                <a:lnTo>
                  <a:pt x="242" y="0"/>
                </a:lnTo>
                <a:lnTo>
                  <a:pt x="213" y="76"/>
                </a:lnTo>
                <a:lnTo>
                  <a:pt x="7" y="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8" name="iṩļîḋé">
            <a:extLst>
              <a:ext uri="{FF2B5EF4-FFF2-40B4-BE49-F238E27FC236}">
                <a16:creationId xmlns:a16="http://schemas.microsoft.com/office/drawing/2014/main" id="{921A8FB2-6AB0-4758-896A-3D003E91DCDF}"/>
              </a:ext>
            </a:extLst>
          </p:cNvPr>
          <p:cNvSpPr/>
          <p:nvPr/>
        </p:nvSpPr>
        <p:spPr bwMode="auto">
          <a:xfrm>
            <a:off x="7831330" y="5976865"/>
            <a:ext cx="232912" cy="232912"/>
          </a:xfrm>
          <a:custGeom>
            <a:avLst/>
            <a:gdLst>
              <a:gd name="T0" fmla="*/ 22 w 45"/>
              <a:gd name="T1" fmla="*/ 42 h 45"/>
              <a:gd name="T2" fmla="*/ 26 w 45"/>
              <a:gd name="T3" fmla="*/ 42 h 45"/>
              <a:gd name="T4" fmla="*/ 27 w 45"/>
              <a:gd name="T5" fmla="*/ 45 h 45"/>
              <a:gd name="T6" fmla="*/ 35 w 45"/>
              <a:gd name="T7" fmla="*/ 41 h 45"/>
              <a:gd name="T8" fmla="*/ 34 w 45"/>
              <a:gd name="T9" fmla="*/ 38 h 45"/>
              <a:gd name="T10" fmla="*/ 38 w 45"/>
              <a:gd name="T11" fmla="*/ 33 h 45"/>
              <a:gd name="T12" fmla="*/ 42 w 45"/>
              <a:gd name="T13" fmla="*/ 35 h 45"/>
              <a:gd name="T14" fmla="*/ 45 w 45"/>
              <a:gd name="T15" fmla="*/ 27 h 45"/>
              <a:gd name="T16" fmla="*/ 42 w 45"/>
              <a:gd name="T17" fmla="*/ 26 h 45"/>
              <a:gd name="T18" fmla="*/ 41 w 45"/>
              <a:gd name="T19" fmla="*/ 19 h 45"/>
              <a:gd name="T20" fmla="*/ 45 w 45"/>
              <a:gd name="T21" fmla="*/ 17 h 45"/>
              <a:gd name="T22" fmla="*/ 41 w 45"/>
              <a:gd name="T23" fmla="*/ 10 h 45"/>
              <a:gd name="T24" fmla="*/ 38 w 45"/>
              <a:gd name="T25" fmla="*/ 11 h 45"/>
              <a:gd name="T26" fmla="*/ 33 w 45"/>
              <a:gd name="T27" fmla="*/ 6 h 45"/>
              <a:gd name="T28" fmla="*/ 35 w 45"/>
              <a:gd name="T29" fmla="*/ 3 h 45"/>
              <a:gd name="T30" fmla="*/ 27 w 45"/>
              <a:gd name="T31" fmla="*/ 0 h 45"/>
              <a:gd name="T32" fmla="*/ 26 w 45"/>
              <a:gd name="T33" fmla="*/ 3 h 45"/>
              <a:gd name="T34" fmla="*/ 22 w 45"/>
              <a:gd name="T35" fmla="*/ 3 h 45"/>
              <a:gd name="T36" fmla="*/ 22 w 45"/>
              <a:gd name="T37" fmla="*/ 9 h 45"/>
              <a:gd name="T38" fmla="*/ 34 w 45"/>
              <a:gd name="T39" fmla="*/ 17 h 45"/>
              <a:gd name="T40" fmla="*/ 27 w 45"/>
              <a:gd name="T41" fmla="*/ 34 h 45"/>
              <a:gd name="T42" fmla="*/ 22 w 45"/>
              <a:gd name="T43" fmla="*/ 35 h 45"/>
              <a:gd name="T44" fmla="*/ 22 w 45"/>
              <a:gd name="T45" fmla="*/ 35 h 45"/>
              <a:gd name="T46" fmla="*/ 22 w 45"/>
              <a:gd name="T47" fmla="*/ 42 h 45"/>
              <a:gd name="T48" fmla="*/ 3 w 45"/>
              <a:gd name="T49" fmla="*/ 26 h 45"/>
              <a:gd name="T50" fmla="*/ 0 w 45"/>
              <a:gd name="T51" fmla="*/ 27 h 45"/>
              <a:gd name="T52" fmla="*/ 3 w 45"/>
              <a:gd name="T53" fmla="*/ 35 h 45"/>
              <a:gd name="T54" fmla="*/ 6 w 45"/>
              <a:gd name="T55" fmla="*/ 34 h 45"/>
              <a:gd name="T56" fmla="*/ 11 w 45"/>
              <a:gd name="T57" fmla="*/ 38 h 45"/>
              <a:gd name="T58" fmla="*/ 10 w 45"/>
              <a:gd name="T59" fmla="*/ 42 h 45"/>
              <a:gd name="T60" fmla="*/ 18 w 45"/>
              <a:gd name="T61" fmla="*/ 45 h 45"/>
              <a:gd name="T62" fmla="*/ 19 w 45"/>
              <a:gd name="T63" fmla="*/ 42 h 45"/>
              <a:gd name="T64" fmla="*/ 22 w 45"/>
              <a:gd name="T65" fmla="*/ 42 h 45"/>
              <a:gd name="T66" fmla="*/ 22 w 45"/>
              <a:gd name="T67" fmla="*/ 35 h 45"/>
              <a:gd name="T68" fmla="*/ 10 w 45"/>
              <a:gd name="T69" fmla="*/ 28 h 45"/>
              <a:gd name="T70" fmla="*/ 17 w 45"/>
              <a:gd name="T71" fmla="*/ 10 h 45"/>
              <a:gd name="T72" fmla="*/ 17 w 45"/>
              <a:gd name="T73" fmla="*/ 10 h 45"/>
              <a:gd name="T74" fmla="*/ 22 w 45"/>
              <a:gd name="T75" fmla="*/ 9 h 45"/>
              <a:gd name="T76" fmla="*/ 22 w 45"/>
              <a:gd name="T77" fmla="*/ 9 h 45"/>
              <a:gd name="T78" fmla="*/ 22 w 45"/>
              <a:gd name="T79" fmla="*/ 3 h 45"/>
              <a:gd name="T80" fmla="*/ 19 w 45"/>
              <a:gd name="T81" fmla="*/ 3 h 45"/>
              <a:gd name="T82" fmla="*/ 17 w 45"/>
              <a:gd name="T83" fmla="*/ 0 h 45"/>
              <a:gd name="T84" fmla="*/ 10 w 45"/>
              <a:gd name="T85" fmla="*/ 3 h 45"/>
              <a:gd name="T86" fmla="*/ 11 w 45"/>
              <a:gd name="T87" fmla="*/ 7 h 45"/>
              <a:gd name="T88" fmla="*/ 6 w 45"/>
              <a:gd name="T89" fmla="*/ 11 h 45"/>
              <a:gd name="T90" fmla="*/ 3 w 45"/>
              <a:gd name="T91" fmla="*/ 10 h 45"/>
              <a:gd name="T92" fmla="*/ 0 w 45"/>
              <a:gd name="T93" fmla="*/ 18 h 45"/>
              <a:gd name="T94" fmla="*/ 3 w 45"/>
              <a:gd name="T95" fmla="*/ 19 h 45"/>
              <a:gd name="T96" fmla="*/ 3 w 45"/>
              <a:gd name="T97" fmla="*/ 26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" h="45">
                <a:moveTo>
                  <a:pt x="22" y="42"/>
                </a:moveTo>
                <a:cubicBezTo>
                  <a:pt x="24" y="42"/>
                  <a:pt x="25" y="42"/>
                  <a:pt x="26" y="42"/>
                </a:cubicBezTo>
                <a:cubicBezTo>
                  <a:pt x="27" y="45"/>
                  <a:pt x="27" y="45"/>
                  <a:pt x="27" y="45"/>
                </a:cubicBezTo>
                <a:cubicBezTo>
                  <a:pt x="35" y="41"/>
                  <a:pt x="35" y="41"/>
                  <a:pt x="35" y="41"/>
                </a:cubicBezTo>
                <a:cubicBezTo>
                  <a:pt x="34" y="38"/>
                  <a:pt x="34" y="38"/>
                  <a:pt x="34" y="38"/>
                </a:cubicBezTo>
                <a:cubicBezTo>
                  <a:pt x="36" y="37"/>
                  <a:pt x="37" y="35"/>
                  <a:pt x="38" y="33"/>
                </a:cubicBezTo>
                <a:cubicBezTo>
                  <a:pt x="42" y="35"/>
                  <a:pt x="42" y="35"/>
                  <a:pt x="42" y="35"/>
                </a:cubicBezTo>
                <a:cubicBezTo>
                  <a:pt x="45" y="27"/>
                  <a:pt x="45" y="27"/>
                  <a:pt x="45" y="27"/>
                </a:cubicBezTo>
                <a:cubicBezTo>
                  <a:pt x="42" y="26"/>
                  <a:pt x="42" y="26"/>
                  <a:pt x="42" y="26"/>
                </a:cubicBezTo>
                <a:cubicBezTo>
                  <a:pt x="42" y="23"/>
                  <a:pt x="42" y="21"/>
                  <a:pt x="41" y="19"/>
                </a:cubicBezTo>
                <a:cubicBezTo>
                  <a:pt x="45" y="17"/>
                  <a:pt x="45" y="17"/>
                  <a:pt x="45" y="17"/>
                </a:cubicBezTo>
                <a:cubicBezTo>
                  <a:pt x="41" y="10"/>
                  <a:pt x="41" y="10"/>
                  <a:pt x="41" y="10"/>
                </a:cubicBezTo>
                <a:cubicBezTo>
                  <a:pt x="38" y="11"/>
                  <a:pt x="38" y="11"/>
                  <a:pt x="38" y="11"/>
                </a:cubicBezTo>
                <a:cubicBezTo>
                  <a:pt x="37" y="9"/>
                  <a:pt x="35" y="8"/>
                  <a:pt x="33" y="6"/>
                </a:cubicBezTo>
                <a:cubicBezTo>
                  <a:pt x="35" y="3"/>
                  <a:pt x="35" y="3"/>
                  <a:pt x="35" y="3"/>
                </a:cubicBezTo>
                <a:cubicBezTo>
                  <a:pt x="27" y="0"/>
                  <a:pt x="27" y="0"/>
                  <a:pt x="27" y="0"/>
                </a:cubicBezTo>
                <a:cubicBezTo>
                  <a:pt x="26" y="3"/>
                  <a:pt x="26" y="3"/>
                  <a:pt x="26" y="3"/>
                </a:cubicBezTo>
                <a:cubicBezTo>
                  <a:pt x="24" y="3"/>
                  <a:pt x="23" y="3"/>
                  <a:pt x="22" y="3"/>
                </a:cubicBezTo>
                <a:cubicBezTo>
                  <a:pt x="22" y="9"/>
                  <a:pt x="22" y="9"/>
                  <a:pt x="22" y="9"/>
                </a:cubicBezTo>
                <a:cubicBezTo>
                  <a:pt x="28" y="9"/>
                  <a:pt x="32" y="12"/>
                  <a:pt x="34" y="17"/>
                </a:cubicBezTo>
                <a:cubicBezTo>
                  <a:pt x="37" y="24"/>
                  <a:pt x="34" y="32"/>
                  <a:pt x="27" y="34"/>
                </a:cubicBezTo>
                <a:cubicBezTo>
                  <a:pt x="26" y="35"/>
                  <a:pt x="24" y="35"/>
                  <a:pt x="22" y="35"/>
                </a:cubicBezTo>
                <a:cubicBezTo>
                  <a:pt x="22" y="35"/>
                  <a:pt x="22" y="35"/>
                  <a:pt x="22" y="35"/>
                </a:cubicBezTo>
                <a:lnTo>
                  <a:pt x="22" y="42"/>
                </a:lnTo>
                <a:close/>
                <a:moveTo>
                  <a:pt x="3" y="26"/>
                </a:moveTo>
                <a:cubicBezTo>
                  <a:pt x="0" y="27"/>
                  <a:pt x="0" y="27"/>
                  <a:pt x="0" y="27"/>
                </a:cubicBezTo>
                <a:cubicBezTo>
                  <a:pt x="3" y="35"/>
                  <a:pt x="3" y="35"/>
                  <a:pt x="3" y="35"/>
                </a:cubicBezTo>
                <a:cubicBezTo>
                  <a:pt x="6" y="34"/>
                  <a:pt x="6" y="34"/>
                  <a:pt x="6" y="34"/>
                </a:cubicBezTo>
                <a:cubicBezTo>
                  <a:pt x="8" y="36"/>
                  <a:pt x="9" y="37"/>
                  <a:pt x="11" y="38"/>
                </a:cubicBezTo>
                <a:cubicBezTo>
                  <a:pt x="10" y="42"/>
                  <a:pt x="10" y="42"/>
                  <a:pt x="10" y="42"/>
                </a:cubicBezTo>
                <a:cubicBezTo>
                  <a:pt x="18" y="45"/>
                  <a:pt x="18" y="45"/>
                  <a:pt x="18" y="45"/>
                </a:cubicBezTo>
                <a:cubicBezTo>
                  <a:pt x="19" y="42"/>
                  <a:pt x="19" y="42"/>
                  <a:pt x="19" y="42"/>
                </a:cubicBezTo>
                <a:cubicBezTo>
                  <a:pt x="20" y="42"/>
                  <a:pt x="21" y="42"/>
                  <a:pt x="22" y="42"/>
                </a:cubicBezTo>
                <a:cubicBezTo>
                  <a:pt x="22" y="35"/>
                  <a:pt x="22" y="35"/>
                  <a:pt x="22" y="35"/>
                </a:cubicBezTo>
                <a:cubicBezTo>
                  <a:pt x="17" y="35"/>
                  <a:pt x="12" y="32"/>
                  <a:pt x="10" y="28"/>
                </a:cubicBezTo>
                <a:cubicBezTo>
                  <a:pt x="7" y="21"/>
                  <a:pt x="11" y="13"/>
                  <a:pt x="17" y="10"/>
                </a:cubicBezTo>
                <a:cubicBezTo>
                  <a:pt x="17" y="10"/>
                  <a:pt x="17" y="10"/>
                  <a:pt x="17" y="10"/>
                </a:cubicBezTo>
                <a:cubicBezTo>
                  <a:pt x="19" y="10"/>
                  <a:pt x="21" y="9"/>
                  <a:pt x="22" y="9"/>
                </a:cubicBezTo>
                <a:cubicBezTo>
                  <a:pt x="22" y="9"/>
                  <a:pt x="22" y="9"/>
                  <a:pt x="22" y="9"/>
                </a:cubicBezTo>
                <a:cubicBezTo>
                  <a:pt x="22" y="3"/>
                  <a:pt x="22" y="3"/>
                  <a:pt x="22" y="3"/>
                </a:cubicBezTo>
                <a:cubicBezTo>
                  <a:pt x="21" y="3"/>
                  <a:pt x="20" y="3"/>
                  <a:pt x="19" y="3"/>
                </a:cubicBezTo>
                <a:cubicBezTo>
                  <a:pt x="17" y="0"/>
                  <a:pt x="17" y="0"/>
                  <a:pt x="17" y="0"/>
                </a:cubicBezTo>
                <a:cubicBezTo>
                  <a:pt x="10" y="3"/>
                  <a:pt x="10" y="3"/>
                  <a:pt x="10" y="3"/>
                </a:cubicBezTo>
                <a:cubicBezTo>
                  <a:pt x="11" y="7"/>
                  <a:pt x="11" y="7"/>
                  <a:pt x="11" y="7"/>
                </a:cubicBezTo>
                <a:cubicBezTo>
                  <a:pt x="9" y="8"/>
                  <a:pt x="8" y="9"/>
                  <a:pt x="6" y="11"/>
                </a:cubicBezTo>
                <a:cubicBezTo>
                  <a:pt x="3" y="10"/>
                  <a:pt x="3" y="10"/>
                  <a:pt x="3" y="10"/>
                </a:cubicBezTo>
                <a:cubicBezTo>
                  <a:pt x="0" y="18"/>
                  <a:pt x="0" y="18"/>
                  <a:pt x="0" y="18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1"/>
                  <a:pt x="3" y="24"/>
                  <a:pt x="3" y="2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9" name="íṡľîḋè">
            <a:extLst>
              <a:ext uri="{FF2B5EF4-FFF2-40B4-BE49-F238E27FC236}">
                <a16:creationId xmlns:a16="http://schemas.microsoft.com/office/drawing/2014/main" id="{F80C96AB-AFC9-450D-A7CF-872A74FBCC8B}"/>
              </a:ext>
            </a:extLst>
          </p:cNvPr>
          <p:cNvSpPr/>
          <p:nvPr/>
        </p:nvSpPr>
        <p:spPr bwMode="auto">
          <a:xfrm>
            <a:off x="11017333" y="4562143"/>
            <a:ext cx="129395" cy="125082"/>
          </a:xfrm>
          <a:custGeom>
            <a:avLst/>
            <a:gdLst>
              <a:gd name="T0" fmla="*/ 4 w 25"/>
              <a:gd name="T1" fmla="*/ 24 h 24"/>
              <a:gd name="T2" fmla="*/ 8 w 25"/>
              <a:gd name="T3" fmla="*/ 20 h 24"/>
              <a:gd name="T4" fmla="*/ 8 w 25"/>
              <a:gd name="T5" fmla="*/ 20 h 24"/>
              <a:gd name="T6" fmla="*/ 8 w 25"/>
              <a:gd name="T7" fmla="*/ 6 h 24"/>
              <a:gd name="T8" fmla="*/ 23 w 25"/>
              <a:gd name="T9" fmla="*/ 6 h 24"/>
              <a:gd name="T10" fmla="*/ 23 w 25"/>
              <a:gd name="T11" fmla="*/ 16 h 24"/>
              <a:gd name="T12" fmla="*/ 21 w 25"/>
              <a:gd name="T13" fmla="*/ 15 h 24"/>
              <a:gd name="T14" fmla="*/ 17 w 25"/>
              <a:gd name="T15" fmla="*/ 20 h 24"/>
              <a:gd name="T16" fmla="*/ 21 w 25"/>
              <a:gd name="T17" fmla="*/ 24 h 24"/>
              <a:gd name="T18" fmla="*/ 25 w 25"/>
              <a:gd name="T19" fmla="*/ 20 h 24"/>
              <a:gd name="T20" fmla="*/ 25 w 25"/>
              <a:gd name="T21" fmla="*/ 20 h 24"/>
              <a:gd name="T22" fmla="*/ 25 w 25"/>
              <a:gd name="T23" fmla="*/ 20 h 24"/>
              <a:gd name="T24" fmla="*/ 25 w 25"/>
              <a:gd name="T25" fmla="*/ 6 h 24"/>
              <a:gd name="T26" fmla="*/ 25 w 25"/>
              <a:gd name="T27" fmla="*/ 0 h 24"/>
              <a:gd name="T28" fmla="*/ 23 w 25"/>
              <a:gd name="T29" fmla="*/ 0 h 24"/>
              <a:gd name="T30" fmla="*/ 8 w 25"/>
              <a:gd name="T31" fmla="*/ 0 h 24"/>
              <a:gd name="T32" fmla="*/ 6 w 25"/>
              <a:gd name="T33" fmla="*/ 0 h 24"/>
              <a:gd name="T34" fmla="*/ 6 w 25"/>
              <a:gd name="T35" fmla="*/ 6 h 24"/>
              <a:gd name="T36" fmla="*/ 6 w 25"/>
              <a:gd name="T37" fmla="*/ 16 h 24"/>
              <a:gd name="T38" fmla="*/ 4 w 25"/>
              <a:gd name="T39" fmla="*/ 15 h 24"/>
              <a:gd name="T40" fmla="*/ 0 w 25"/>
              <a:gd name="T41" fmla="*/ 20 h 24"/>
              <a:gd name="T42" fmla="*/ 4 w 25"/>
              <a:gd name="T43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5" h="24">
                <a:moveTo>
                  <a:pt x="4" y="24"/>
                </a:moveTo>
                <a:cubicBezTo>
                  <a:pt x="7" y="24"/>
                  <a:pt x="8" y="22"/>
                  <a:pt x="8" y="20"/>
                </a:cubicBezTo>
                <a:cubicBezTo>
                  <a:pt x="8" y="20"/>
                  <a:pt x="8" y="20"/>
                  <a:pt x="8" y="20"/>
                </a:cubicBezTo>
                <a:cubicBezTo>
                  <a:pt x="8" y="6"/>
                  <a:pt x="8" y="6"/>
                  <a:pt x="8" y="6"/>
                </a:cubicBezTo>
                <a:cubicBezTo>
                  <a:pt x="23" y="6"/>
                  <a:pt x="23" y="6"/>
                  <a:pt x="23" y="6"/>
                </a:cubicBezTo>
                <a:cubicBezTo>
                  <a:pt x="23" y="16"/>
                  <a:pt x="23" y="16"/>
                  <a:pt x="23" y="16"/>
                </a:cubicBezTo>
                <a:cubicBezTo>
                  <a:pt x="22" y="15"/>
                  <a:pt x="21" y="15"/>
                  <a:pt x="21" y="15"/>
                </a:cubicBezTo>
                <a:cubicBezTo>
                  <a:pt x="18" y="15"/>
                  <a:pt x="17" y="17"/>
                  <a:pt x="17" y="20"/>
                </a:cubicBezTo>
                <a:cubicBezTo>
                  <a:pt x="17" y="22"/>
                  <a:pt x="18" y="24"/>
                  <a:pt x="21" y="24"/>
                </a:cubicBezTo>
                <a:cubicBezTo>
                  <a:pt x="23" y="24"/>
                  <a:pt x="25" y="22"/>
                  <a:pt x="25" y="20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8" y="0"/>
                  <a:pt x="8" y="0"/>
                  <a:pt x="8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6"/>
                  <a:pt x="6" y="6"/>
                  <a:pt x="6" y="6"/>
                </a:cubicBezTo>
                <a:cubicBezTo>
                  <a:pt x="6" y="16"/>
                  <a:pt x="6" y="16"/>
                  <a:pt x="6" y="16"/>
                </a:cubicBezTo>
                <a:cubicBezTo>
                  <a:pt x="5" y="15"/>
                  <a:pt x="5" y="15"/>
                  <a:pt x="4" y="15"/>
                </a:cubicBezTo>
                <a:cubicBezTo>
                  <a:pt x="2" y="15"/>
                  <a:pt x="0" y="17"/>
                  <a:pt x="0" y="20"/>
                </a:cubicBezTo>
                <a:cubicBezTo>
                  <a:pt x="0" y="22"/>
                  <a:pt x="2" y="24"/>
                  <a:pt x="4" y="2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0" name="iṩľíďè">
            <a:extLst>
              <a:ext uri="{FF2B5EF4-FFF2-40B4-BE49-F238E27FC236}">
                <a16:creationId xmlns:a16="http://schemas.microsoft.com/office/drawing/2014/main" id="{461DCCC4-A015-48C5-A968-EC07D83963A4}"/>
              </a:ext>
            </a:extLst>
          </p:cNvPr>
          <p:cNvSpPr/>
          <p:nvPr/>
        </p:nvSpPr>
        <p:spPr bwMode="auto">
          <a:xfrm>
            <a:off x="10716848" y="2727604"/>
            <a:ext cx="135147" cy="125082"/>
          </a:xfrm>
          <a:custGeom>
            <a:avLst/>
            <a:gdLst>
              <a:gd name="T0" fmla="*/ 5 w 26"/>
              <a:gd name="T1" fmla="*/ 24 h 24"/>
              <a:gd name="T2" fmla="*/ 9 w 26"/>
              <a:gd name="T3" fmla="*/ 20 h 24"/>
              <a:gd name="T4" fmla="*/ 9 w 26"/>
              <a:gd name="T5" fmla="*/ 20 h 24"/>
              <a:gd name="T6" fmla="*/ 9 w 26"/>
              <a:gd name="T7" fmla="*/ 6 h 24"/>
              <a:gd name="T8" fmla="*/ 23 w 26"/>
              <a:gd name="T9" fmla="*/ 6 h 24"/>
              <a:gd name="T10" fmla="*/ 23 w 26"/>
              <a:gd name="T11" fmla="*/ 16 h 24"/>
              <a:gd name="T12" fmla="*/ 21 w 26"/>
              <a:gd name="T13" fmla="*/ 15 h 24"/>
              <a:gd name="T14" fmla="*/ 17 w 26"/>
              <a:gd name="T15" fmla="*/ 20 h 24"/>
              <a:gd name="T16" fmla="*/ 21 w 26"/>
              <a:gd name="T17" fmla="*/ 24 h 24"/>
              <a:gd name="T18" fmla="*/ 26 w 26"/>
              <a:gd name="T19" fmla="*/ 20 h 24"/>
              <a:gd name="T20" fmla="*/ 26 w 26"/>
              <a:gd name="T21" fmla="*/ 20 h 24"/>
              <a:gd name="T22" fmla="*/ 26 w 26"/>
              <a:gd name="T23" fmla="*/ 20 h 24"/>
              <a:gd name="T24" fmla="*/ 26 w 26"/>
              <a:gd name="T25" fmla="*/ 6 h 24"/>
              <a:gd name="T26" fmla="*/ 26 w 26"/>
              <a:gd name="T27" fmla="*/ 0 h 24"/>
              <a:gd name="T28" fmla="*/ 23 w 26"/>
              <a:gd name="T29" fmla="*/ 0 h 24"/>
              <a:gd name="T30" fmla="*/ 9 w 26"/>
              <a:gd name="T31" fmla="*/ 0 h 24"/>
              <a:gd name="T32" fmla="*/ 6 w 26"/>
              <a:gd name="T33" fmla="*/ 0 h 24"/>
              <a:gd name="T34" fmla="*/ 6 w 26"/>
              <a:gd name="T35" fmla="*/ 6 h 24"/>
              <a:gd name="T36" fmla="*/ 6 w 26"/>
              <a:gd name="T37" fmla="*/ 16 h 24"/>
              <a:gd name="T38" fmla="*/ 5 w 26"/>
              <a:gd name="T39" fmla="*/ 15 h 24"/>
              <a:gd name="T40" fmla="*/ 0 w 26"/>
              <a:gd name="T41" fmla="*/ 20 h 24"/>
              <a:gd name="T42" fmla="*/ 5 w 26"/>
              <a:gd name="T43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6" h="24">
                <a:moveTo>
                  <a:pt x="5" y="24"/>
                </a:moveTo>
                <a:cubicBezTo>
                  <a:pt x="7" y="24"/>
                  <a:pt x="9" y="22"/>
                  <a:pt x="9" y="20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6"/>
                  <a:pt x="9" y="6"/>
                  <a:pt x="9" y="6"/>
                </a:cubicBezTo>
                <a:cubicBezTo>
                  <a:pt x="23" y="6"/>
                  <a:pt x="23" y="6"/>
                  <a:pt x="23" y="6"/>
                </a:cubicBezTo>
                <a:cubicBezTo>
                  <a:pt x="23" y="16"/>
                  <a:pt x="23" y="16"/>
                  <a:pt x="23" y="16"/>
                </a:cubicBezTo>
                <a:cubicBezTo>
                  <a:pt x="23" y="16"/>
                  <a:pt x="22" y="15"/>
                  <a:pt x="21" y="15"/>
                </a:cubicBezTo>
                <a:cubicBezTo>
                  <a:pt x="19" y="15"/>
                  <a:pt x="17" y="17"/>
                  <a:pt x="17" y="20"/>
                </a:cubicBezTo>
                <a:cubicBezTo>
                  <a:pt x="17" y="22"/>
                  <a:pt x="19" y="24"/>
                  <a:pt x="21" y="24"/>
                </a:cubicBezTo>
                <a:cubicBezTo>
                  <a:pt x="24" y="24"/>
                  <a:pt x="26" y="22"/>
                  <a:pt x="26" y="20"/>
                </a:cubicBezTo>
                <a:cubicBezTo>
                  <a:pt x="26" y="20"/>
                  <a:pt x="26" y="20"/>
                  <a:pt x="26" y="20"/>
                </a:cubicBezTo>
                <a:cubicBezTo>
                  <a:pt x="26" y="20"/>
                  <a:pt x="26" y="20"/>
                  <a:pt x="26" y="20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0"/>
                  <a:pt x="26" y="0"/>
                  <a:pt x="26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9" y="0"/>
                  <a:pt x="9" y="0"/>
                  <a:pt x="9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6"/>
                  <a:pt x="6" y="6"/>
                  <a:pt x="6" y="6"/>
                </a:cubicBezTo>
                <a:cubicBezTo>
                  <a:pt x="6" y="16"/>
                  <a:pt x="6" y="16"/>
                  <a:pt x="6" y="16"/>
                </a:cubicBezTo>
                <a:cubicBezTo>
                  <a:pt x="6" y="16"/>
                  <a:pt x="5" y="15"/>
                  <a:pt x="5" y="15"/>
                </a:cubicBezTo>
                <a:cubicBezTo>
                  <a:pt x="2" y="15"/>
                  <a:pt x="0" y="17"/>
                  <a:pt x="0" y="20"/>
                </a:cubicBezTo>
                <a:cubicBezTo>
                  <a:pt x="0" y="22"/>
                  <a:pt x="2" y="24"/>
                  <a:pt x="5" y="2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1" name="ïsľïḍè">
            <a:extLst>
              <a:ext uri="{FF2B5EF4-FFF2-40B4-BE49-F238E27FC236}">
                <a16:creationId xmlns:a16="http://schemas.microsoft.com/office/drawing/2014/main" id="{B2E645E9-2FD5-444A-ACCE-AB660DB8ACF5}"/>
              </a:ext>
            </a:extLst>
          </p:cNvPr>
          <p:cNvSpPr/>
          <p:nvPr/>
        </p:nvSpPr>
        <p:spPr bwMode="auto">
          <a:xfrm>
            <a:off x="6643766" y="3365954"/>
            <a:ext cx="156712" cy="145211"/>
          </a:xfrm>
          <a:custGeom>
            <a:avLst/>
            <a:gdLst>
              <a:gd name="T0" fmla="*/ 5 w 30"/>
              <a:gd name="T1" fmla="*/ 28 h 28"/>
              <a:gd name="T2" fmla="*/ 10 w 30"/>
              <a:gd name="T3" fmla="*/ 23 h 28"/>
              <a:gd name="T4" fmla="*/ 10 w 30"/>
              <a:gd name="T5" fmla="*/ 23 h 28"/>
              <a:gd name="T6" fmla="*/ 10 w 30"/>
              <a:gd name="T7" fmla="*/ 6 h 28"/>
              <a:gd name="T8" fmla="*/ 27 w 30"/>
              <a:gd name="T9" fmla="*/ 6 h 28"/>
              <a:gd name="T10" fmla="*/ 27 w 30"/>
              <a:gd name="T11" fmla="*/ 18 h 28"/>
              <a:gd name="T12" fmla="*/ 25 w 30"/>
              <a:gd name="T13" fmla="*/ 18 h 28"/>
              <a:gd name="T14" fmla="*/ 20 w 30"/>
              <a:gd name="T15" fmla="*/ 23 h 28"/>
              <a:gd name="T16" fmla="*/ 25 w 30"/>
              <a:gd name="T17" fmla="*/ 28 h 28"/>
              <a:gd name="T18" fmla="*/ 30 w 30"/>
              <a:gd name="T19" fmla="*/ 23 h 28"/>
              <a:gd name="T20" fmla="*/ 30 w 30"/>
              <a:gd name="T21" fmla="*/ 23 h 28"/>
              <a:gd name="T22" fmla="*/ 30 w 30"/>
              <a:gd name="T23" fmla="*/ 23 h 28"/>
              <a:gd name="T24" fmla="*/ 30 w 30"/>
              <a:gd name="T25" fmla="*/ 6 h 28"/>
              <a:gd name="T26" fmla="*/ 30 w 30"/>
              <a:gd name="T27" fmla="*/ 0 h 28"/>
              <a:gd name="T28" fmla="*/ 27 w 30"/>
              <a:gd name="T29" fmla="*/ 0 h 28"/>
              <a:gd name="T30" fmla="*/ 10 w 30"/>
              <a:gd name="T31" fmla="*/ 0 h 28"/>
              <a:gd name="T32" fmla="*/ 7 w 30"/>
              <a:gd name="T33" fmla="*/ 0 h 28"/>
              <a:gd name="T34" fmla="*/ 7 w 30"/>
              <a:gd name="T35" fmla="*/ 6 h 28"/>
              <a:gd name="T36" fmla="*/ 7 w 30"/>
              <a:gd name="T37" fmla="*/ 18 h 28"/>
              <a:gd name="T38" fmla="*/ 5 w 30"/>
              <a:gd name="T39" fmla="*/ 18 h 28"/>
              <a:gd name="T40" fmla="*/ 0 w 30"/>
              <a:gd name="T41" fmla="*/ 23 h 28"/>
              <a:gd name="T42" fmla="*/ 5 w 30"/>
              <a:gd name="T43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0" h="28">
                <a:moveTo>
                  <a:pt x="5" y="28"/>
                </a:moveTo>
                <a:cubicBezTo>
                  <a:pt x="8" y="28"/>
                  <a:pt x="10" y="26"/>
                  <a:pt x="10" y="23"/>
                </a:cubicBezTo>
                <a:cubicBezTo>
                  <a:pt x="10" y="23"/>
                  <a:pt x="10" y="23"/>
                  <a:pt x="10" y="23"/>
                </a:cubicBezTo>
                <a:cubicBezTo>
                  <a:pt x="10" y="6"/>
                  <a:pt x="10" y="6"/>
                  <a:pt x="10" y="6"/>
                </a:cubicBezTo>
                <a:cubicBezTo>
                  <a:pt x="27" y="6"/>
                  <a:pt x="27" y="6"/>
                  <a:pt x="27" y="6"/>
                </a:cubicBezTo>
                <a:cubicBezTo>
                  <a:pt x="27" y="18"/>
                  <a:pt x="27" y="18"/>
                  <a:pt x="27" y="18"/>
                </a:cubicBezTo>
                <a:cubicBezTo>
                  <a:pt x="26" y="18"/>
                  <a:pt x="26" y="18"/>
                  <a:pt x="25" y="18"/>
                </a:cubicBezTo>
                <a:cubicBezTo>
                  <a:pt x="22" y="18"/>
                  <a:pt x="20" y="20"/>
                  <a:pt x="20" y="23"/>
                </a:cubicBezTo>
                <a:cubicBezTo>
                  <a:pt x="20" y="26"/>
                  <a:pt x="22" y="28"/>
                  <a:pt x="25" y="28"/>
                </a:cubicBezTo>
                <a:cubicBezTo>
                  <a:pt x="28" y="28"/>
                  <a:pt x="30" y="26"/>
                  <a:pt x="30" y="23"/>
                </a:cubicBezTo>
                <a:cubicBezTo>
                  <a:pt x="30" y="23"/>
                  <a:pt x="30" y="23"/>
                  <a:pt x="30" y="23"/>
                </a:cubicBezTo>
                <a:cubicBezTo>
                  <a:pt x="30" y="23"/>
                  <a:pt x="30" y="23"/>
                  <a:pt x="30" y="23"/>
                </a:cubicBezTo>
                <a:cubicBezTo>
                  <a:pt x="30" y="6"/>
                  <a:pt x="30" y="6"/>
                  <a:pt x="30" y="6"/>
                </a:cubicBezTo>
                <a:cubicBezTo>
                  <a:pt x="30" y="0"/>
                  <a:pt x="30" y="0"/>
                  <a:pt x="30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6"/>
                  <a:pt x="7" y="6"/>
                  <a:pt x="7" y="6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8"/>
                  <a:pt x="5" y="18"/>
                  <a:pt x="5" y="18"/>
                </a:cubicBezTo>
                <a:cubicBezTo>
                  <a:pt x="2" y="18"/>
                  <a:pt x="0" y="20"/>
                  <a:pt x="0" y="23"/>
                </a:cubicBezTo>
                <a:cubicBezTo>
                  <a:pt x="0" y="26"/>
                  <a:pt x="2" y="28"/>
                  <a:pt x="5" y="2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2" name="i$ḷîḋé">
            <a:extLst>
              <a:ext uri="{FF2B5EF4-FFF2-40B4-BE49-F238E27FC236}">
                <a16:creationId xmlns:a16="http://schemas.microsoft.com/office/drawing/2014/main" id="{A84BBBF9-CD28-4C21-9DE5-85886DC8453C}"/>
              </a:ext>
            </a:extLst>
          </p:cNvPr>
          <p:cNvSpPr/>
          <p:nvPr/>
        </p:nvSpPr>
        <p:spPr bwMode="auto">
          <a:xfrm>
            <a:off x="7773820" y="5883413"/>
            <a:ext cx="93452" cy="119331"/>
          </a:xfrm>
          <a:custGeom>
            <a:avLst/>
            <a:gdLst>
              <a:gd name="T0" fmla="*/ 0 w 18"/>
              <a:gd name="T1" fmla="*/ 0 h 23"/>
              <a:gd name="T2" fmla="*/ 7 w 18"/>
              <a:gd name="T3" fmla="*/ 23 h 23"/>
              <a:gd name="T4" fmla="*/ 18 w 18"/>
              <a:gd name="T5" fmla="*/ 0 h 23"/>
              <a:gd name="T6" fmla="*/ 0 w 18"/>
              <a:gd name="T7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3">
                <a:moveTo>
                  <a:pt x="0" y="0"/>
                </a:moveTo>
                <a:cubicBezTo>
                  <a:pt x="1" y="9"/>
                  <a:pt x="3" y="17"/>
                  <a:pt x="7" y="23"/>
                </a:cubicBezTo>
                <a:cubicBezTo>
                  <a:pt x="13" y="17"/>
                  <a:pt x="18" y="9"/>
                  <a:pt x="1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3" name="iṣlîďè">
            <a:extLst>
              <a:ext uri="{FF2B5EF4-FFF2-40B4-BE49-F238E27FC236}">
                <a16:creationId xmlns:a16="http://schemas.microsoft.com/office/drawing/2014/main" id="{8BB4EB15-F9BA-4746-89A5-D3C8BD260DF1}"/>
              </a:ext>
            </a:extLst>
          </p:cNvPr>
          <p:cNvSpPr/>
          <p:nvPr/>
        </p:nvSpPr>
        <p:spPr bwMode="auto">
          <a:xfrm>
            <a:off x="7773820" y="5733889"/>
            <a:ext cx="93452" cy="119331"/>
          </a:xfrm>
          <a:custGeom>
            <a:avLst/>
            <a:gdLst>
              <a:gd name="T0" fmla="*/ 7 w 18"/>
              <a:gd name="T1" fmla="*/ 0 h 23"/>
              <a:gd name="T2" fmla="*/ 0 w 18"/>
              <a:gd name="T3" fmla="*/ 23 h 23"/>
              <a:gd name="T4" fmla="*/ 18 w 18"/>
              <a:gd name="T5" fmla="*/ 23 h 23"/>
              <a:gd name="T6" fmla="*/ 7 w 18"/>
              <a:gd name="T7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3">
                <a:moveTo>
                  <a:pt x="7" y="0"/>
                </a:moveTo>
                <a:cubicBezTo>
                  <a:pt x="3" y="6"/>
                  <a:pt x="1" y="14"/>
                  <a:pt x="0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8" y="14"/>
                  <a:pt x="13" y="6"/>
                  <a:pt x="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4" name="iSļïḍê">
            <a:extLst>
              <a:ext uri="{FF2B5EF4-FFF2-40B4-BE49-F238E27FC236}">
                <a16:creationId xmlns:a16="http://schemas.microsoft.com/office/drawing/2014/main" id="{97F045C8-B641-44AE-8266-2CED4362AB2D}"/>
              </a:ext>
            </a:extLst>
          </p:cNvPr>
          <p:cNvSpPr/>
          <p:nvPr/>
        </p:nvSpPr>
        <p:spPr bwMode="auto">
          <a:xfrm>
            <a:off x="7701934" y="5686444"/>
            <a:ext cx="81951" cy="166776"/>
          </a:xfrm>
          <a:custGeom>
            <a:avLst/>
            <a:gdLst>
              <a:gd name="T0" fmla="*/ 0 w 16"/>
              <a:gd name="T1" fmla="*/ 0 h 32"/>
              <a:gd name="T2" fmla="*/ 0 w 16"/>
              <a:gd name="T3" fmla="*/ 32 h 32"/>
              <a:gd name="T4" fmla="*/ 8 w 16"/>
              <a:gd name="T5" fmla="*/ 32 h 32"/>
              <a:gd name="T6" fmla="*/ 16 w 16"/>
              <a:gd name="T7" fmla="*/ 5 h 32"/>
              <a:gd name="T8" fmla="*/ 0 w 16"/>
              <a:gd name="T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32">
                <a:moveTo>
                  <a:pt x="0" y="0"/>
                </a:moveTo>
                <a:cubicBezTo>
                  <a:pt x="0" y="32"/>
                  <a:pt x="0" y="32"/>
                  <a:pt x="0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9" y="21"/>
                  <a:pt x="12" y="12"/>
                  <a:pt x="16" y="5"/>
                </a:cubicBezTo>
                <a:cubicBezTo>
                  <a:pt x="12" y="2"/>
                  <a:pt x="6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5" name="íśľîḍe">
            <a:extLst>
              <a:ext uri="{FF2B5EF4-FFF2-40B4-BE49-F238E27FC236}">
                <a16:creationId xmlns:a16="http://schemas.microsoft.com/office/drawing/2014/main" id="{ED2F3251-44E5-4868-8FF0-14F3458E078B}"/>
              </a:ext>
            </a:extLst>
          </p:cNvPr>
          <p:cNvSpPr/>
          <p:nvPr/>
        </p:nvSpPr>
        <p:spPr bwMode="auto">
          <a:xfrm>
            <a:off x="7586916" y="5883413"/>
            <a:ext cx="83388" cy="166776"/>
          </a:xfrm>
          <a:custGeom>
            <a:avLst/>
            <a:gdLst>
              <a:gd name="T0" fmla="*/ 16 w 16"/>
              <a:gd name="T1" fmla="*/ 32 h 32"/>
              <a:gd name="T2" fmla="*/ 16 w 16"/>
              <a:gd name="T3" fmla="*/ 0 h 32"/>
              <a:gd name="T4" fmla="*/ 8 w 16"/>
              <a:gd name="T5" fmla="*/ 0 h 32"/>
              <a:gd name="T6" fmla="*/ 0 w 16"/>
              <a:gd name="T7" fmla="*/ 27 h 32"/>
              <a:gd name="T8" fmla="*/ 16 w 16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32">
                <a:moveTo>
                  <a:pt x="16" y="32"/>
                </a:moveTo>
                <a:cubicBezTo>
                  <a:pt x="16" y="0"/>
                  <a:pt x="16" y="0"/>
                  <a:pt x="16" y="0"/>
                </a:cubicBezTo>
                <a:cubicBezTo>
                  <a:pt x="8" y="0"/>
                  <a:pt x="8" y="0"/>
                  <a:pt x="8" y="0"/>
                </a:cubicBezTo>
                <a:cubicBezTo>
                  <a:pt x="7" y="11"/>
                  <a:pt x="4" y="20"/>
                  <a:pt x="0" y="27"/>
                </a:cubicBezTo>
                <a:cubicBezTo>
                  <a:pt x="5" y="30"/>
                  <a:pt x="10" y="32"/>
                  <a:pt x="16" y="3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6" name="íSḻiďe">
            <a:extLst>
              <a:ext uri="{FF2B5EF4-FFF2-40B4-BE49-F238E27FC236}">
                <a16:creationId xmlns:a16="http://schemas.microsoft.com/office/drawing/2014/main" id="{A9121C25-FB16-4550-8124-3C0EB2990A8E}"/>
              </a:ext>
            </a:extLst>
          </p:cNvPr>
          <p:cNvSpPr/>
          <p:nvPr/>
        </p:nvSpPr>
        <p:spPr bwMode="auto">
          <a:xfrm>
            <a:off x="7586916" y="5686444"/>
            <a:ext cx="83388" cy="166776"/>
          </a:xfrm>
          <a:custGeom>
            <a:avLst/>
            <a:gdLst>
              <a:gd name="T0" fmla="*/ 8 w 16"/>
              <a:gd name="T1" fmla="*/ 32 h 32"/>
              <a:gd name="T2" fmla="*/ 16 w 16"/>
              <a:gd name="T3" fmla="*/ 32 h 32"/>
              <a:gd name="T4" fmla="*/ 16 w 16"/>
              <a:gd name="T5" fmla="*/ 0 h 32"/>
              <a:gd name="T6" fmla="*/ 0 w 16"/>
              <a:gd name="T7" fmla="*/ 6 h 32"/>
              <a:gd name="T8" fmla="*/ 8 w 16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32">
                <a:moveTo>
                  <a:pt x="8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16" y="0"/>
                  <a:pt x="16" y="0"/>
                  <a:pt x="16" y="0"/>
                </a:cubicBezTo>
                <a:cubicBezTo>
                  <a:pt x="10" y="0"/>
                  <a:pt x="5" y="2"/>
                  <a:pt x="0" y="6"/>
                </a:cubicBezTo>
                <a:cubicBezTo>
                  <a:pt x="4" y="12"/>
                  <a:pt x="7" y="21"/>
                  <a:pt x="8" y="3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7" name="í$1iḑê">
            <a:extLst>
              <a:ext uri="{FF2B5EF4-FFF2-40B4-BE49-F238E27FC236}">
                <a16:creationId xmlns:a16="http://schemas.microsoft.com/office/drawing/2014/main" id="{26844210-E876-4D65-9714-D98945C1D272}"/>
              </a:ext>
            </a:extLst>
          </p:cNvPr>
          <p:cNvSpPr/>
          <p:nvPr/>
        </p:nvSpPr>
        <p:spPr bwMode="auto">
          <a:xfrm>
            <a:off x="7504965" y="5883413"/>
            <a:ext cx="93452" cy="119331"/>
          </a:xfrm>
          <a:custGeom>
            <a:avLst/>
            <a:gdLst>
              <a:gd name="T0" fmla="*/ 11 w 18"/>
              <a:gd name="T1" fmla="*/ 23 h 23"/>
              <a:gd name="T2" fmla="*/ 18 w 18"/>
              <a:gd name="T3" fmla="*/ 0 h 23"/>
              <a:gd name="T4" fmla="*/ 0 w 18"/>
              <a:gd name="T5" fmla="*/ 0 h 23"/>
              <a:gd name="T6" fmla="*/ 11 w 18"/>
              <a:gd name="T7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3">
                <a:moveTo>
                  <a:pt x="11" y="23"/>
                </a:moveTo>
                <a:cubicBezTo>
                  <a:pt x="15" y="17"/>
                  <a:pt x="18" y="9"/>
                  <a:pt x="18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9"/>
                  <a:pt x="5" y="17"/>
                  <a:pt x="11" y="2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8" name="ïṣ1ïḑé">
            <a:extLst>
              <a:ext uri="{FF2B5EF4-FFF2-40B4-BE49-F238E27FC236}">
                <a16:creationId xmlns:a16="http://schemas.microsoft.com/office/drawing/2014/main" id="{B8289BA5-93F0-4E7C-BEA4-78D91CECBDC1}"/>
              </a:ext>
            </a:extLst>
          </p:cNvPr>
          <p:cNvSpPr/>
          <p:nvPr/>
        </p:nvSpPr>
        <p:spPr bwMode="auto">
          <a:xfrm>
            <a:off x="7504965" y="5733889"/>
            <a:ext cx="93452" cy="119331"/>
          </a:xfrm>
          <a:custGeom>
            <a:avLst/>
            <a:gdLst>
              <a:gd name="T0" fmla="*/ 11 w 18"/>
              <a:gd name="T1" fmla="*/ 0 h 23"/>
              <a:gd name="T2" fmla="*/ 0 w 18"/>
              <a:gd name="T3" fmla="*/ 23 h 23"/>
              <a:gd name="T4" fmla="*/ 18 w 18"/>
              <a:gd name="T5" fmla="*/ 23 h 23"/>
              <a:gd name="T6" fmla="*/ 11 w 18"/>
              <a:gd name="T7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3">
                <a:moveTo>
                  <a:pt x="11" y="0"/>
                </a:moveTo>
                <a:cubicBezTo>
                  <a:pt x="5" y="6"/>
                  <a:pt x="1" y="14"/>
                  <a:pt x="0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8" y="14"/>
                  <a:pt x="15" y="6"/>
                  <a:pt x="1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9" name="iṩļidê">
            <a:extLst>
              <a:ext uri="{FF2B5EF4-FFF2-40B4-BE49-F238E27FC236}">
                <a16:creationId xmlns:a16="http://schemas.microsoft.com/office/drawing/2014/main" id="{F88600C6-3498-4DCA-9990-E682A59E0D6C}"/>
              </a:ext>
            </a:extLst>
          </p:cNvPr>
          <p:cNvSpPr/>
          <p:nvPr/>
        </p:nvSpPr>
        <p:spPr bwMode="auto">
          <a:xfrm>
            <a:off x="7701934" y="5883413"/>
            <a:ext cx="81951" cy="166776"/>
          </a:xfrm>
          <a:custGeom>
            <a:avLst/>
            <a:gdLst>
              <a:gd name="T0" fmla="*/ 0 w 16"/>
              <a:gd name="T1" fmla="*/ 32 h 32"/>
              <a:gd name="T2" fmla="*/ 16 w 16"/>
              <a:gd name="T3" fmla="*/ 27 h 32"/>
              <a:gd name="T4" fmla="*/ 8 w 16"/>
              <a:gd name="T5" fmla="*/ 0 h 32"/>
              <a:gd name="T6" fmla="*/ 0 w 16"/>
              <a:gd name="T7" fmla="*/ 0 h 32"/>
              <a:gd name="T8" fmla="*/ 0 w 16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32">
                <a:moveTo>
                  <a:pt x="0" y="32"/>
                </a:moveTo>
                <a:cubicBezTo>
                  <a:pt x="6" y="32"/>
                  <a:pt x="12" y="30"/>
                  <a:pt x="16" y="27"/>
                </a:cubicBezTo>
                <a:cubicBezTo>
                  <a:pt x="12" y="20"/>
                  <a:pt x="9" y="11"/>
                  <a:pt x="8" y="0"/>
                </a:cubicBezTo>
                <a:cubicBezTo>
                  <a:pt x="0" y="0"/>
                  <a:pt x="0" y="0"/>
                  <a:pt x="0" y="0"/>
                </a:cubicBezTo>
                <a:lnTo>
                  <a:pt x="0" y="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0" name="ïSḷîḑe">
            <a:extLst>
              <a:ext uri="{FF2B5EF4-FFF2-40B4-BE49-F238E27FC236}">
                <a16:creationId xmlns:a16="http://schemas.microsoft.com/office/drawing/2014/main" id="{05668F71-6CA9-4F73-AE7C-2E9431D3BBB9}"/>
              </a:ext>
            </a:extLst>
          </p:cNvPr>
          <p:cNvSpPr/>
          <p:nvPr/>
        </p:nvSpPr>
        <p:spPr bwMode="auto">
          <a:xfrm>
            <a:off x="7230359" y="5562800"/>
            <a:ext cx="242976" cy="232912"/>
          </a:xfrm>
          <a:custGeom>
            <a:avLst/>
            <a:gdLst>
              <a:gd name="T0" fmla="*/ 34 w 47"/>
              <a:gd name="T1" fmla="*/ 27 h 45"/>
              <a:gd name="T2" fmla="*/ 32 w 47"/>
              <a:gd name="T3" fmla="*/ 5 h 45"/>
              <a:gd name="T4" fmla="*/ 19 w 47"/>
              <a:gd name="T5" fmla="*/ 0 h 45"/>
              <a:gd name="T6" fmla="*/ 19 w 47"/>
              <a:gd name="T7" fmla="*/ 15 h 45"/>
              <a:gd name="T8" fmla="*/ 30 w 47"/>
              <a:gd name="T9" fmla="*/ 15 h 45"/>
              <a:gd name="T10" fmla="*/ 30 w 47"/>
              <a:gd name="T11" fmla="*/ 21 h 45"/>
              <a:gd name="T12" fmla="*/ 30 w 47"/>
              <a:gd name="T13" fmla="*/ 21 h 45"/>
              <a:gd name="T14" fmla="*/ 30 w 47"/>
              <a:gd name="T15" fmla="*/ 21 h 45"/>
              <a:gd name="T16" fmla="*/ 19 w 47"/>
              <a:gd name="T17" fmla="*/ 21 h 45"/>
              <a:gd name="T18" fmla="*/ 19 w 47"/>
              <a:gd name="T19" fmla="*/ 36 h 45"/>
              <a:gd name="T20" fmla="*/ 28 w 47"/>
              <a:gd name="T21" fmla="*/ 33 h 45"/>
              <a:gd name="T22" fmla="*/ 41 w 47"/>
              <a:gd name="T23" fmla="*/ 45 h 45"/>
              <a:gd name="T24" fmla="*/ 47 w 47"/>
              <a:gd name="T25" fmla="*/ 40 h 45"/>
              <a:gd name="T26" fmla="*/ 34 w 47"/>
              <a:gd name="T27" fmla="*/ 27 h 45"/>
              <a:gd name="T28" fmla="*/ 19 w 47"/>
              <a:gd name="T29" fmla="*/ 0 h 45"/>
              <a:gd name="T30" fmla="*/ 7 w 47"/>
              <a:gd name="T31" fmla="*/ 5 h 45"/>
              <a:gd name="T32" fmla="*/ 7 w 47"/>
              <a:gd name="T33" fmla="*/ 30 h 45"/>
              <a:gd name="T34" fmla="*/ 19 w 47"/>
              <a:gd name="T35" fmla="*/ 36 h 45"/>
              <a:gd name="T36" fmla="*/ 19 w 47"/>
              <a:gd name="T37" fmla="*/ 21 h 45"/>
              <a:gd name="T38" fmla="*/ 8 w 47"/>
              <a:gd name="T39" fmla="*/ 21 h 45"/>
              <a:gd name="T40" fmla="*/ 8 w 47"/>
              <a:gd name="T41" fmla="*/ 15 h 45"/>
              <a:gd name="T42" fmla="*/ 19 w 47"/>
              <a:gd name="T43" fmla="*/ 15 h 45"/>
              <a:gd name="T44" fmla="*/ 19 w 47"/>
              <a:gd name="T45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34" y="27"/>
                </a:moveTo>
                <a:cubicBezTo>
                  <a:pt x="38" y="20"/>
                  <a:pt x="38" y="11"/>
                  <a:pt x="32" y="5"/>
                </a:cubicBezTo>
                <a:cubicBezTo>
                  <a:pt x="28" y="2"/>
                  <a:pt x="24" y="0"/>
                  <a:pt x="19" y="0"/>
                </a:cubicBezTo>
                <a:cubicBezTo>
                  <a:pt x="19" y="15"/>
                  <a:pt x="19" y="15"/>
                  <a:pt x="19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21"/>
                  <a:pt x="30" y="21"/>
                  <a:pt x="30" y="21"/>
                </a:cubicBezTo>
                <a:cubicBezTo>
                  <a:pt x="30" y="21"/>
                  <a:pt x="30" y="21"/>
                  <a:pt x="30" y="21"/>
                </a:cubicBezTo>
                <a:cubicBezTo>
                  <a:pt x="30" y="21"/>
                  <a:pt x="30" y="21"/>
                  <a:pt x="30" y="21"/>
                </a:cubicBezTo>
                <a:cubicBezTo>
                  <a:pt x="19" y="21"/>
                  <a:pt x="19" y="21"/>
                  <a:pt x="19" y="21"/>
                </a:cubicBezTo>
                <a:cubicBezTo>
                  <a:pt x="19" y="36"/>
                  <a:pt x="19" y="36"/>
                  <a:pt x="19" y="36"/>
                </a:cubicBezTo>
                <a:cubicBezTo>
                  <a:pt x="22" y="36"/>
                  <a:pt x="26" y="35"/>
                  <a:pt x="28" y="33"/>
                </a:cubicBezTo>
                <a:cubicBezTo>
                  <a:pt x="41" y="45"/>
                  <a:pt x="41" y="45"/>
                  <a:pt x="41" y="45"/>
                </a:cubicBezTo>
                <a:cubicBezTo>
                  <a:pt x="47" y="40"/>
                  <a:pt x="47" y="40"/>
                  <a:pt x="47" y="40"/>
                </a:cubicBezTo>
                <a:lnTo>
                  <a:pt x="34" y="27"/>
                </a:lnTo>
                <a:close/>
                <a:moveTo>
                  <a:pt x="19" y="0"/>
                </a:moveTo>
                <a:cubicBezTo>
                  <a:pt x="15" y="0"/>
                  <a:pt x="10" y="2"/>
                  <a:pt x="7" y="5"/>
                </a:cubicBezTo>
                <a:cubicBezTo>
                  <a:pt x="0" y="12"/>
                  <a:pt x="0" y="23"/>
                  <a:pt x="7" y="30"/>
                </a:cubicBezTo>
                <a:cubicBezTo>
                  <a:pt x="10" y="34"/>
                  <a:pt x="15" y="36"/>
                  <a:pt x="19" y="36"/>
                </a:cubicBezTo>
                <a:cubicBezTo>
                  <a:pt x="19" y="21"/>
                  <a:pt x="19" y="21"/>
                  <a:pt x="19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15"/>
                  <a:pt x="8" y="15"/>
                  <a:pt x="8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1" name="iṩḻîḋe">
            <a:extLst>
              <a:ext uri="{FF2B5EF4-FFF2-40B4-BE49-F238E27FC236}">
                <a16:creationId xmlns:a16="http://schemas.microsoft.com/office/drawing/2014/main" id="{551F6354-8574-4974-A332-003965D4DEAE}"/>
              </a:ext>
            </a:extLst>
          </p:cNvPr>
          <p:cNvSpPr/>
          <p:nvPr/>
        </p:nvSpPr>
        <p:spPr bwMode="auto">
          <a:xfrm>
            <a:off x="8484057" y="6012808"/>
            <a:ext cx="35943" cy="2544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2" name="îṧļiḋé">
            <a:extLst>
              <a:ext uri="{FF2B5EF4-FFF2-40B4-BE49-F238E27FC236}">
                <a16:creationId xmlns:a16="http://schemas.microsoft.com/office/drawing/2014/main" id="{8544ABA5-6732-42EE-9F16-6765D9539C4F}"/>
              </a:ext>
            </a:extLst>
          </p:cNvPr>
          <p:cNvSpPr/>
          <p:nvPr/>
        </p:nvSpPr>
        <p:spPr bwMode="auto">
          <a:xfrm>
            <a:off x="8426549" y="6153705"/>
            <a:ext cx="41694" cy="1135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3" name="íşļîdé">
            <a:extLst>
              <a:ext uri="{FF2B5EF4-FFF2-40B4-BE49-F238E27FC236}">
                <a16:creationId xmlns:a16="http://schemas.microsoft.com/office/drawing/2014/main" id="{FD32EBE8-573F-4242-8FF9-2ED3799919F3}"/>
              </a:ext>
            </a:extLst>
          </p:cNvPr>
          <p:cNvSpPr/>
          <p:nvPr/>
        </p:nvSpPr>
        <p:spPr bwMode="auto">
          <a:xfrm>
            <a:off x="8374791" y="6050189"/>
            <a:ext cx="35943" cy="2170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4" name="îṡļîḑê">
            <a:extLst>
              <a:ext uri="{FF2B5EF4-FFF2-40B4-BE49-F238E27FC236}">
                <a16:creationId xmlns:a16="http://schemas.microsoft.com/office/drawing/2014/main" id="{E619A8C2-CF81-4A2A-9DB3-804ACFB60428}"/>
              </a:ext>
            </a:extLst>
          </p:cNvPr>
          <p:cNvSpPr/>
          <p:nvPr/>
        </p:nvSpPr>
        <p:spPr bwMode="auto">
          <a:xfrm>
            <a:off x="8317281" y="6116325"/>
            <a:ext cx="37381" cy="150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5" name="íṡḻiḋê">
            <a:extLst>
              <a:ext uri="{FF2B5EF4-FFF2-40B4-BE49-F238E27FC236}">
                <a16:creationId xmlns:a16="http://schemas.microsoft.com/office/drawing/2014/main" id="{A202D63F-F850-4401-8578-DA70D17D4CC7}"/>
              </a:ext>
            </a:extLst>
          </p:cNvPr>
          <p:cNvSpPr/>
          <p:nvPr/>
        </p:nvSpPr>
        <p:spPr bwMode="auto">
          <a:xfrm>
            <a:off x="8261210" y="6096196"/>
            <a:ext cx="41694" cy="1710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6" name="íṧļïde">
            <a:extLst>
              <a:ext uri="{FF2B5EF4-FFF2-40B4-BE49-F238E27FC236}">
                <a16:creationId xmlns:a16="http://schemas.microsoft.com/office/drawing/2014/main" id="{C8BB95ED-2F03-466F-8026-8E70BAC90746}"/>
              </a:ext>
            </a:extLst>
          </p:cNvPr>
          <p:cNvSpPr/>
          <p:nvPr/>
        </p:nvSpPr>
        <p:spPr bwMode="auto">
          <a:xfrm>
            <a:off x="8484057" y="5986928"/>
            <a:ext cx="35943" cy="158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7" name="i$ľïḋê">
            <a:extLst>
              <a:ext uri="{FF2B5EF4-FFF2-40B4-BE49-F238E27FC236}">
                <a16:creationId xmlns:a16="http://schemas.microsoft.com/office/drawing/2014/main" id="{72D2EADA-956B-4F45-9C3F-E6BCDF130A47}"/>
              </a:ext>
            </a:extLst>
          </p:cNvPr>
          <p:cNvSpPr/>
          <p:nvPr/>
        </p:nvSpPr>
        <p:spPr bwMode="auto">
          <a:xfrm>
            <a:off x="8374791" y="6024310"/>
            <a:ext cx="35943" cy="20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8" name="iš1ïḓe">
            <a:extLst>
              <a:ext uri="{FF2B5EF4-FFF2-40B4-BE49-F238E27FC236}">
                <a16:creationId xmlns:a16="http://schemas.microsoft.com/office/drawing/2014/main" id="{4A053C1F-72E4-4C78-ADF2-006773F2116D}"/>
              </a:ext>
            </a:extLst>
          </p:cNvPr>
          <p:cNvSpPr/>
          <p:nvPr/>
        </p:nvSpPr>
        <p:spPr bwMode="auto">
          <a:xfrm>
            <a:off x="8317281" y="6090445"/>
            <a:ext cx="37381" cy="21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9" name="íś1iďè">
            <a:extLst>
              <a:ext uri="{FF2B5EF4-FFF2-40B4-BE49-F238E27FC236}">
                <a16:creationId xmlns:a16="http://schemas.microsoft.com/office/drawing/2014/main" id="{F0E4F1B1-751E-44EB-8FD7-F47387228147}"/>
              </a:ext>
            </a:extLst>
          </p:cNvPr>
          <p:cNvSpPr/>
          <p:nvPr/>
        </p:nvSpPr>
        <p:spPr bwMode="auto">
          <a:xfrm>
            <a:off x="8261210" y="6070317"/>
            <a:ext cx="41694" cy="158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0" name="îśḷïḋê">
            <a:extLst>
              <a:ext uri="{FF2B5EF4-FFF2-40B4-BE49-F238E27FC236}">
                <a16:creationId xmlns:a16="http://schemas.microsoft.com/office/drawing/2014/main" id="{96D1C162-6F81-4965-84E2-401814B93026}"/>
              </a:ext>
            </a:extLst>
          </p:cNvPr>
          <p:cNvSpPr/>
          <p:nvPr/>
        </p:nvSpPr>
        <p:spPr bwMode="auto">
          <a:xfrm>
            <a:off x="8426549" y="6122075"/>
            <a:ext cx="41694" cy="20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1" name="íṩļîďè">
            <a:extLst>
              <a:ext uri="{FF2B5EF4-FFF2-40B4-BE49-F238E27FC236}">
                <a16:creationId xmlns:a16="http://schemas.microsoft.com/office/drawing/2014/main" id="{984EFB18-3344-4FC1-AB70-876EF26A840C}"/>
              </a:ext>
            </a:extLst>
          </p:cNvPr>
          <p:cNvSpPr/>
          <p:nvPr/>
        </p:nvSpPr>
        <p:spPr bwMode="auto">
          <a:xfrm>
            <a:off x="9281996" y="6106260"/>
            <a:ext cx="336429" cy="155275"/>
          </a:xfrm>
          <a:custGeom>
            <a:avLst/>
            <a:gdLst>
              <a:gd name="T0" fmla="*/ 209 w 234"/>
              <a:gd name="T1" fmla="*/ 15 h 108"/>
              <a:gd name="T2" fmla="*/ 191 w 234"/>
              <a:gd name="T3" fmla="*/ 108 h 108"/>
              <a:gd name="T4" fmla="*/ 198 w 234"/>
              <a:gd name="T5" fmla="*/ 15 h 108"/>
              <a:gd name="T6" fmla="*/ 202 w 234"/>
              <a:gd name="T7" fmla="*/ 47 h 108"/>
              <a:gd name="T8" fmla="*/ 191 w 234"/>
              <a:gd name="T9" fmla="*/ 76 h 108"/>
              <a:gd name="T10" fmla="*/ 176 w 234"/>
              <a:gd name="T11" fmla="*/ 108 h 108"/>
              <a:gd name="T12" fmla="*/ 176 w 234"/>
              <a:gd name="T13" fmla="*/ 108 h 108"/>
              <a:gd name="T14" fmla="*/ 187 w 234"/>
              <a:gd name="T15" fmla="*/ 36 h 108"/>
              <a:gd name="T16" fmla="*/ 180 w 234"/>
              <a:gd name="T17" fmla="*/ 65 h 108"/>
              <a:gd name="T18" fmla="*/ 176 w 234"/>
              <a:gd name="T19" fmla="*/ 108 h 108"/>
              <a:gd name="T20" fmla="*/ 176 w 234"/>
              <a:gd name="T21" fmla="*/ 0 h 108"/>
              <a:gd name="T22" fmla="*/ 162 w 234"/>
              <a:gd name="T23" fmla="*/ 65 h 108"/>
              <a:gd name="T24" fmla="*/ 166 w 234"/>
              <a:gd name="T25" fmla="*/ 15 h 108"/>
              <a:gd name="T26" fmla="*/ 162 w 234"/>
              <a:gd name="T27" fmla="*/ 108 h 108"/>
              <a:gd name="T28" fmla="*/ 162 w 234"/>
              <a:gd name="T29" fmla="*/ 0 h 108"/>
              <a:gd name="T30" fmla="*/ 148 w 234"/>
              <a:gd name="T31" fmla="*/ 36 h 108"/>
              <a:gd name="T32" fmla="*/ 151 w 234"/>
              <a:gd name="T33" fmla="*/ 65 h 108"/>
              <a:gd name="T34" fmla="*/ 148 w 234"/>
              <a:gd name="T35" fmla="*/ 108 h 108"/>
              <a:gd name="T36" fmla="*/ 148 w 234"/>
              <a:gd name="T37" fmla="*/ 0 h 108"/>
              <a:gd name="T38" fmla="*/ 129 w 234"/>
              <a:gd name="T39" fmla="*/ 65 h 108"/>
              <a:gd name="T40" fmla="*/ 137 w 234"/>
              <a:gd name="T41" fmla="*/ 15 h 108"/>
              <a:gd name="T42" fmla="*/ 129 w 234"/>
              <a:gd name="T43" fmla="*/ 108 h 108"/>
              <a:gd name="T44" fmla="*/ 129 w 234"/>
              <a:gd name="T45" fmla="*/ 0 h 108"/>
              <a:gd name="T46" fmla="*/ 115 w 234"/>
              <a:gd name="T47" fmla="*/ 36 h 108"/>
              <a:gd name="T48" fmla="*/ 122 w 234"/>
              <a:gd name="T49" fmla="*/ 65 h 108"/>
              <a:gd name="T50" fmla="*/ 115 w 234"/>
              <a:gd name="T51" fmla="*/ 108 h 108"/>
              <a:gd name="T52" fmla="*/ 115 w 234"/>
              <a:gd name="T53" fmla="*/ 0 h 108"/>
              <a:gd name="T54" fmla="*/ 101 w 234"/>
              <a:gd name="T55" fmla="*/ 65 h 108"/>
              <a:gd name="T56" fmla="*/ 104 w 234"/>
              <a:gd name="T57" fmla="*/ 15 h 108"/>
              <a:gd name="T58" fmla="*/ 101 w 234"/>
              <a:gd name="T59" fmla="*/ 108 h 108"/>
              <a:gd name="T60" fmla="*/ 101 w 234"/>
              <a:gd name="T61" fmla="*/ 0 h 108"/>
              <a:gd name="T62" fmla="*/ 86 w 234"/>
              <a:gd name="T63" fmla="*/ 36 h 108"/>
              <a:gd name="T64" fmla="*/ 90 w 234"/>
              <a:gd name="T65" fmla="*/ 65 h 108"/>
              <a:gd name="T66" fmla="*/ 86 w 234"/>
              <a:gd name="T67" fmla="*/ 108 h 108"/>
              <a:gd name="T68" fmla="*/ 86 w 234"/>
              <a:gd name="T69" fmla="*/ 0 h 108"/>
              <a:gd name="T70" fmla="*/ 68 w 234"/>
              <a:gd name="T71" fmla="*/ 65 h 108"/>
              <a:gd name="T72" fmla="*/ 75 w 234"/>
              <a:gd name="T73" fmla="*/ 15 h 108"/>
              <a:gd name="T74" fmla="*/ 68 w 234"/>
              <a:gd name="T75" fmla="*/ 108 h 108"/>
              <a:gd name="T76" fmla="*/ 68 w 234"/>
              <a:gd name="T77" fmla="*/ 0 h 108"/>
              <a:gd name="T78" fmla="*/ 54 w 234"/>
              <a:gd name="T79" fmla="*/ 36 h 108"/>
              <a:gd name="T80" fmla="*/ 61 w 234"/>
              <a:gd name="T81" fmla="*/ 65 h 108"/>
              <a:gd name="T82" fmla="*/ 54 w 234"/>
              <a:gd name="T83" fmla="*/ 108 h 108"/>
              <a:gd name="T84" fmla="*/ 54 w 234"/>
              <a:gd name="T85" fmla="*/ 0 h 108"/>
              <a:gd name="T86" fmla="*/ 39 w 234"/>
              <a:gd name="T87" fmla="*/ 65 h 108"/>
              <a:gd name="T88" fmla="*/ 43 w 234"/>
              <a:gd name="T89" fmla="*/ 15 h 108"/>
              <a:gd name="T90" fmla="*/ 39 w 234"/>
              <a:gd name="T91" fmla="*/ 108 h 108"/>
              <a:gd name="T92" fmla="*/ 39 w 234"/>
              <a:gd name="T93" fmla="*/ 65 h 108"/>
              <a:gd name="T94" fmla="*/ 39 w 234"/>
              <a:gd name="T95" fmla="*/ 0 h 108"/>
              <a:gd name="T96" fmla="*/ 25 w 234"/>
              <a:gd name="T97" fmla="*/ 36 h 108"/>
              <a:gd name="T98" fmla="*/ 14 w 234"/>
              <a:gd name="T99" fmla="*/ 36 h 108"/>
              <a:gd name="T100" fmla="*/ 0 w 234"/>
              <a:gd name="T101" fmla="*/ 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34" h="108">
                <a:moveTo>
                  <a:pt x="209" y="108"/>
                </a:moveTo>
                <a:lnTo>
                  <a:pt x="234" y="108"/>
                </a:lnTo>
                <a:lnTo>
                  <a:pt x="234" y="0"/>
                </a:lnTo>
                <a:lnTo>
                  <a:pt x="209" y="0"/>
                </a:lnTo>
                <a:lnTo>
                  <a:pt x="209" y="15"/>
                </a:lnTo>
                <a:lnTo>
                  <a:pt x="216" y="15"/>
                </a:lnTo>
                <a:lnTo>
                  <a:pt x="216" y="36"/>
                </a:lnTo>
                <a:lnTo>
                  <a:pt x="209" y="36"/>
                </a:lnTo>
                <a:lnTo>
                  <a:pt x="209" y="108"/>
                </a:lnTo>
                <a:close/>
                <a:moveTo>
                  <a:pt x="191" y="108"/>
                </a:moveTo>
                <a:lnTo>
                  <a:pt x="209" y="108"/>
                </a:lnTo>
                <a:lnTo>
                  <a:pt x="209" y="36"/>
                </a:lnTo>
                <a:lnTo>
                  <a:pt x="198" y="36"/>
                </a:lnTo>
                <a:lnTo>
                  <a:pt x="198" y="15"/>
                </a:lnTo>
                <a:lnTo>
                  <a:pt x="198" y="15"/>
                </a:lnTo>
                <a:lnTo>
                  <a:pt x="209" y="15"/>
                </a:lnTo>
                <a:lnTo>
                  <a:pt x="209" y="0"/>
                </a:lnTo>
                <a:lnTo>
                  <a:pt x="191" y="0"/>
                </a:lnTo>
                <a:lnTo>
                  <a:pt x="191" y="47"/>
                </a:lnTo>
                <a:lnTo>
                  <a:pt x="202" y="47"/>
                </a:lnTo>
                <a:lnTo>
                  <a:pt x="202" y="65"/>
                </a:lnTo>
                <a:lnTo>
                  <a:pt x="202" y="65"/>
                </a:lnTo>
                <a:lnTo>
                  <a:pt x="191" y="65"/>
                </a:lnTo>
                <a:lnTo>
                  <a:pt x="191" y="76"/>
                </a:lnTo>
                <a:lnTo>
                  <a:pt x="191" y="76"/>
                </a:lnTo>
                <a:lnTo>
                  <a:pt x="191" y="98"/>
                </a:lnTo>
                <a:lnTo>
                  <a:pt x="191" y="98"/>
                </a:lnTo>
                <a:lnTo>
                  <a:pt x="191" y="98"/>
                </a:lnTo>
                <a:lnTo>
                  <a:pt x="191" y="108"/>
                </a:lnTo>
                <a:close/>
                <a:moveTo>
                  <a:pt x="176" y="108"/>
                </a:moveTo>
                <a:lnTo>
                  <a:pt x="191" y="108"/>
                </a:lnTo>
                <a:lnTo>
                  <a:pt x="191" y="98"/>
                </a:lnTo>
                <a:lnTo>
                  <a:pt x="176" y="98"/>
                </a:lnTo>
                <a:lnTo>
                  <a:pt x="176" y="108"/>
                </a:lnTo>
                <a:lnTo>
                  <a:pt x="176" y="108"/>
                </a:lnTo>
                <a:close/>
                <a:moveTo>
                  <a:pt x="191" y="0"/>
                </a:moveTo>
                <a:lnTo>
                  <a:pt x="176" y="0"/>
                </a:lnTo>
                <a:lnTo>
                  <a:pt x="176" y="15"/>
                </a:lnTo>
                <a:lnTo>
                  <a:pt x="187" y="15"/>
                </a:lnTo>
                <a:lnTo>
                  <a:pt x="187" y="36"/>
                </a:lnTo>
                <a:lnTo>
                  <a:pt x="176" y="36"/>
                </a:lnTo>
                <a:lnTo>
                  <a:pt x="176" y="76"/>
                </a:lnTo>
                <a:lnTo>
                  <a:pt x="191" y="76"/>
                </a:lnTo>
                <a:lnTo>
                  <a:pt x="191" y="65"/>
                </a:lnTo>
                <a:lnTo>
                  <a:pt x="180" y="65"/>
                </a:lnTo>
                <a:lnTo>
                  <a:pt x="180" y="47"/>
                </a:lnTo>
                <a:lnTo>
                  <a:pt x="191" y="47"/>
                </a:lnTo>
                <a:lnTo>
                  <a:pt x="191" y="0"/>
                </a:lnTo>
                <a:close/>
                <a:moveTo>
                  <a:pt x="162" y="108"/>
                </a:moveTo>
                <a:lnTo>
                  <a:pt x="176" y="108"/>
                </a:lnTo>
                <a:lnTo>
                  <a:pt x="176" y="98"/>
                </a:lnTo>
                <a:lnTo>
                  <a:pt x="162" y="98"/>
                </a:lnTo>
                <a:lnTo>
                  <a:pt x="162" y="108"/>
                </a:lnTo>
                <a:lnTo>
                  <a:pt x="162" y="108"/>
                </a:lnTo>
                <a:close/>
                <a:moveTo>
                  <a:pt x="176" y="0"/>
                </a:moveTo>
                <a:lnTo>
                  <a:pt x="162" y="0"/>
                </a:lnTo>
                <a:lnTo>
                  <a:pt x="162" y="47"/>
                </a:lnTo>
                <a:lnTo>
                  <a:pt x="173" y="47"/>
                </a:lnTo>
                <a:lnTo>
                  <a:pt x="173" y="65"/>
                </a:lnTo>
                <a:lnTo>
                  <a:pt x="162" y="65"/>
                </a:lnTo>
                <a:lnTo>
                  <a:pt x="162" y="76"/>
                </a:lnTo>
                <a:lnTo>
                  <a:pt x="176" y="76"/>
                </a:lnTo>
                <a:lnTo>
                  <a:pt x="176" y="36"/>
                </a:lnTo>
                <a:lnTo>
                  <a:pt x="166" y="36"/>
                </a:lnTo>
                <a:lnTo>
                  <a:pt x="166" y="15"/>
                </a:lnTo>
                <a:lnTo>
                  <a:pt x="166" y="15"/>
                </a:lnTo>
                <a:lnTo>
                  <a:pt x="176" y="15"/>
                </a:lnTo>
                <a:lnTo>
                  <a:pt x="176" y="0"/>
                </a:lnTo>
                <a:close/>
                <a:moveTo>
                  <a:pt x="148" y="108"/>
                </a:moveTo>
                <a:lnTo>
                  <a:pt x="162" y="108"/>
                </a:lnTo>
                <a:lnTo>
                  <a:pt x="162" y="98"/>
                </a:lnTo>
                <a:lnTo>
                  <a:pt x="148" y="98"/>
                </a:lnTo>
                <a:lnTo>
                  <a:pt x="148" y="108"/>
                </a:lnTo>
                <a:lnTo>
                  <a:pt x="148" y="108"/>
                </a:lnTo>
                <a:close/>
                <a:moveTo>
                  <a:pt x="162" y="0"/>
                </a:moveTo>
                <a:lnTo>
                  <a:pt x="148" y="0"/>
                </a:lnTo>
                <a:lnTo>
                  <a:pt x="148" y="15"/>
                </a:lnTo>
                <a:lnTo>
                  <a:pt x="155" y="15"/>
                </a:lnTo>
                <a:lnTo>
                  <a:pt x="155" y="36"/>
                </a:lnTo>
                <a:lnTo>
                  <a:pt x="148" y="36"/>
                </a:lnTo>
                <a:lnTo>
                  <a:pt x="148" y="76"/>
                </a:lnTo>
                <a:lnTo>
                  <a:pt x="162" y="76"/>
                </a:lnTo>
                <a:lnTo>
                  <a:pt x="162" y="65"/>
                </a:lnTo>
                <a:lnTo>
                  <a:pt x="151" y="65"/>
                </a:lnTo>
                <a:lnTo>
                  <a:pt x="151" y="65"/>
                </a:lnTo>
                <a:lnTo>
                  <a:pt x="151" y="47"/>
                </a:lnTo>
                <a:lnTo>
                  <a:pt x="162" y="47"/>
                </a:lnTo>
                <a:lnTo>
                  <a:pt x="162" y="0"/>
                </a:lnTo>
                <a:close/>
                <a:moveTo>
                  <a:pt x="129" y="108"/>
                </a:moveTo>
                <a:lnTo>
                  <a:pt x="148" y="108"/>
                </a:lnTo>
                <a:lnTo>
                  <a:pt x="148" y="98"/>
                </a:lnTo>
                <a:lnTo>
                  <a:pt x="129" y="98"/>
                </a:lnTo>
                <a:lnTo>
                  <a:pt x="129" y="108"/>
                </a:lnTo>
                <a:lnTo>
                  <a:pt x="129" y="108"/>
                </a:lnTo>
                <a:close/>
                <a:moveTo>
                  <a:pt x="148" y="0"/>
                </a:moveTo>
                <a:lnTo>
                  <a:pt x="129" y="0"/>
                </a:lnTo>
                <a:lnTo>
                  <a:pt x="129" y="47"/>
                </a:lnTo>
                <a:lnTo>
                  <a:pt x="140" y="47"/>
                </a:lnTo>
                <a:lnTo>
                  <a:pt x="140" y="65"/>
                </a:lnTo>
                <a:lnTo>
                  <a:pt x="129" y="65"/>
                </a:lnTo>
                <a:lnTo>
                  <a:pt x="129" y="76"/>
                </a:lnTo>
                <a:lnTo>
                  <a:pt x="148" y="76"/>
                </a:lnTo>
                <a:lnTo>
                  <a:pt x="148" y="36"/>
                </a:lnTo>
                <a:lnTo>
                  <a:pt x="137" y="36"/>
                </a:lnTo>
                <a:lnTo>
                  <a:pt x="137" y="15"/>
                </a:lnTo>
                <a:lnTo>
                  <a:pt x="137" y="15"/>
                </a:lnTo>
                <a:lnTo>
                  <a:pt x="148" y="15"/>
                </a:lnTo>
                <a:lnTo>
                  <a:pt x="148" y="0"/>
                </a:lnTo>
                <a:close/>
                <a:moveTo>
                  <a:pt x="115" y="108"/>
                </a:moveTo>
                <a:lnTo>
                  <a:pt x="129" y="108"/>
                </a:lnTo>
                <a:lnTo>
                  <a:pt x="129" y="98"/>
                </a:lnTo>
                <a:lnTo>
                  <a:pt x="115" y="98"/>
                </a:lnTo>
                <a:lnTo>
                  <a:pt x="115" y="108"/>
                </a:lnTo>
                <a:lnTo>
                  <a:pt x="115" y="108"/>
                </a:lnTo>
                <a:close/>
                <a:moveTo>
                  <a:pt x="129" y="0"/>
                </a:moveTo>
                <a:lnTo>
                  <a:pt x="115" y="0"/>
                </a:lnTo>
                <a:lnTo>
                  <a:pt x="115" y="15"/>
                </a:lnTo>
                <a:lnTo>
                  <a:pt x="126" y="15"/>
                </a:lnTo>
                <a:lnTo>
                  <a:pt x="126" y="36"/>
                </a:lnTo>
                <a:lnTo>
                  <a:pt x="115" y="36"/>
                </a:lnTo>
                <a:lnTo>
                  <a:pt x="115" y="76"/>
                </a:lnTo>
                <a:lnTo>
                  <a:pt x="129" y="76"/>
                </a:lnTo>
                <a:lnTo>
                  <a:pt x="129" y="65"/>
                </a:lnTo>
                <a:lnTo>
                  <a:pt x="122" y="65"/>
                </a:lnTo>
                <a:lnTo>
                  <a:pt x="122" y="65"/>
                </a:lnTo>
                <a:lnTo>
                  <a:pt x="122" y="47"/>
                </a:lnTo>
                <a:lnTo>
                  <a:pt x="129" y="47"/>
                </a:lnTo>
                <a:lnTo>
                  <a:pt x="129" y="0"/>
                </a:lnTo>
                <a:close/>
                <a:moveTo>
                  <a:pt x="101" y="108"/>
                </a:moveTo>
                <a:lnTo>
                  <a:pt x="115" y="108"/>
                </a:lnTo>
                <a:lnTo>
                  <a:pt x="115" y="98"/>
                </a:lnTo>
                <a:lnTo>
                  <a:pt x="101" y="98"/>
                </a:lnTo>
                <a:lnTo>
                  <a:pt x="101" y="108"/>
                </a:lnTo>
                <a:lnTo>
                  <a:pt x="101" y="108"/>
                </a:lnTo>
                <a:close/>
                <a:moveTo>
                  <a:pt x="115" y="0"/>
                </a:moveTo>
                <a:lnTo>
                  <a:pt x="101" y="0"/>
                </a:lnTo>
                <a:lnTo>
                  <a:pt x="101" y="47"/>
                </a:lnTo>
                <a:lnTo>
                  <a:pt x="111" y="47"/>
                </a:lnTo>
                <a:lnTo>
                  <a:pt x="111" y="65"/>
                </a:lnTo>
                <a:lnTo>
                  <a:pt x="101" y="65"/>
                </a:lnTo>
                <a:lnTo>
                  <a:pt x="101" y="76"/>
                </a:lnTo>
                <a:lnTo>
                  <a:pt x="115" y="76"/>
                </a:lnTo>
                <a:lnTo>
                  <a:pt x="115" y="36"/>
                </a:lnTo>
                <a:lnTo>
                  <a:pt x="104" y="36"/>
                </a:lnTo>
                <a:lnTo>
                  <a:pt x="104" y="15"/>
                </a:lnTo>
                <a:lnTo>
                  <a:pt x="104" y="15"/>
                </a:lnTo>
                <a:lnTo>
                  <a:pt x="115" y="15"/>
                </a:lnTo>
                <a:lnTo>
                  <a:pt x="115" y="0"/>
                </a:lnTo>
                <a:close/>
                <a:moveTo>
                  <a:pt x="86" y="108"/>
                </a:moveTo>
                <a:lnTo>
                  <a:pt x="101" y="108"/>
                </a:lnTo>
                <a:lnTo>
                  <a:pt x="101" y="98"/>
                </a:lnTo>
                <a:lnTo>
                  <a:pt x="86" y="98"/>
                </a:lnTo>
                <a:lnTo>
                  <a:pt x="86" y="108"/>
                </a:lnTo>
                <a:lnTo>
                  <a:pt x="86" y="108"/>
                </a:lnTo>
                <a:close/>
                <a:moveTo>
                  <a:pt x="101" y="0"/>
                </a:moveTo>
                <a:lnTo>
                  <a:pt x="86" y="0"/>
                </a:lnTo>
                <a:lnTo>
                  <a:pt x="86" y="15"/>
                </a:lnTo>
                <a:lnTo>
                  <a:pt x="93" y="15"/>
                </a:lnTo>
                <a:lnTo>
                  <a:pt x="93" y="36"/>
                </a:lnTo>
                <a:lnTo>
                  <a:pt x="86" y="36"/>
                </a:lnTo>
                <a:lnTo>
                  <a:pt x="86" y="76"/>
                </a:lnTo>
                <a:lnTo>
                  <a:pt x="101" y="76"/>
                </a:lnTo>
                <a:lnTo>
                  <a:pt x="101" y="65"/>
                </a:lnTo>
                <a:lnTo>
                  <a:pt x="90" y="65"/>
                </a:lnTo>
                <a:lnTo>
                  <a:pt x="90" y="65"/>
                </a:lnTo>
                <a:lnTo>
                  <a:pt x="90" y="47"/>
                </a:lnTo>
                <a:lnTo>
                  <a:pt x="101" y="47"/>
                </a:lnTo>
                <a:lnTo>
                  <a:pt x="101" y="0"/>
                </a:lnTo>
                <a:close/>
                <a:moveTo>
                  <a:pt x="68" y="108"/>
                </a:moveTo>
                <a:lnTo>
                  <a:pt x="86" y="108"/>
                </a:lnTo>
                <a:lnTo>
                  <a:pt x="86" y="98"/>
                </a:lnTo>
                <a:lnTo>
                  <a:pt x="68" y="98"/>
                </a:lnTo>
                <a:lnTo>
                  <a:pt x="68" y="108"/>
                </a:lnTo>
                <a:lnTo>
                  <a:pt x="68" y="108"/>
                </a:lnTo>
                <a:close/>
                <a:moveTo>
                  <a:pt x="86" y="0"/>
                </a:moveTo>
                <a:lnTo>
                  <a:pt x="68" y="0"/>
                </a:lnTo>
                <a:lnTo>
                  <a:pt x="68" y="47"/>
                </a:lnTo>
                <a:lnTo>
                  <a:pt x="79" y="47"/>
                </a:lnTo>
                <a:lnTo>
                  <a:pt x="79" y="65"/>
                </a:lnTo>
                <a:lnTo>
                  <a:pt x="68" y="65"/>
                </a:lnTo>
                <a:lnTo>
                  <a:pt x="68" y="76"/>
                </a:lnTo>
                <a:lnTo>
                  <a:pt x="86" y="76"/>
                </a:lnTo>
                <a:lnTo>
                  <a:pt x="86" y="36"/>
                </a:lnTo>
                <a:lnTo>
                  <a:pt x="75" y="36"/>
                </a:lnTo>
                <a:lnTo>
                  <a:pt x="75" y="15"/>
                </a:lnTo>
                <a:lnTo>
                  <a:pt x="75" y="15"/>
                </a:lnTo>
                <a:lnTo>
                  <a:pt x="86" y="15"/>
                </a:lnTo>
                <a:lnTo>
                  <a:pt x="86" y="0"/>
                </a:lnTo>
                <a:close/>
                <a:moveTo>
                  <a:pt x="54" y="108"/>
                </a:moveTo>
                <a:lnTo>
                  <a:pt x="68" y="108"/>
                </a:lnTo>
                <a:lnTo>
                  <a:pt x="68" y="98"/>
                </a:lnTo>
                <a:lnTo>
                  <a:pt x="54" y="98"/>
                </a:lnTo>
                <a:lnTo>
                  <a:pt x="54" y="108"/>
                </a:lnTo>
                <a:lnTo>
                  <a:pt x="54" y="108"/>
                </a:lnTo>
                <a:close/>
                <a:moveTo>
                  <a:pt x="68" y="0"/>
                </a:moveTo>
                <a:lnTo>
                  <a:pt x="54" y="0"/>
                </a:lnTo>
                <a:lnTo>
                  <a:pt x="54" y="15"/>
                </a:lnTo>
                <a:lnTo>
                  <a:pt x="65" y="15"/>
                </a:lnTo>
                <a:lnTo>
                  <a:pt x="65" y="36"/>
                </a:lnTo>
                <a:lnTo>
                  <a:pt x="54" y="36"/>
                </a:lnTo>
                <a:lnTo>
                  <a:pt x="54" y="76"/>
                </a:lnTo>
                <a:lnTo>
                  <a:pt x="68" y="76"/>
                </a:lnTo>
                <a:lnTo>
                  <a:pt x="68" y="65"/>
                </a:lnTo>
                <a:lnTo>
                  <a:pt x="61" y="65"/>
                </a:lnTo>
                <a:lnTo>
                  <a:pt x="61" y="65"/>
                </a:lnTo>
                <a:lnTo>
                  <a:pt x="61" y="47"/>
                </a:lnTo>
                <a:lnTo>
                  <a:pt x="68" y="47"/>
                </a:lnTo>
                <a:lnTo>
                  <a:pt x="68" y="0"/>
                </a:lnTo>
                <a:close/>
                <a:moveTo>
                  <a:pt x="39" y="108"/>
                </a:moveTo>
                <a:lnTo>
                  <a:pt x="54" y="108"/>
                </a:lnTo>
                <a:lnTo>
                  <a:pt x="54" y="98"/>
                </a:lnTo>
                <a:lnTo>
                  <a:pt x="39" y="98"/>
                </a:lnTo>
                <a:lnTo>
                  <a:pt x="39" y="108"/>
                </a:lnTo>
                <a:lnTo>
                  <a:pt x="39" y="108"/>
                </a:lnTo>
                <a:close/>
                <a:moveTo>
                  <a:pt x="54" y="0"/>
                </a:moveTo>
                <a:lnTo>
                  <a:pt x="39" y="0"/>
                </a:lnTo>
                <a:lnTo>
                  <a:pt x="39" y="47"/>
                </a:lnTo>
                <a:lnTo>
                  <a:pt x="50" y="47"/>
                </a:lnTo>
                <a:lnTo>
                  <a:pt x="50" y="65"/>
                </a:lnTo>
                <a:lnTo>
                  <a:pt x="39" y="65"/>
                </a:lnTo>
                <a:lnTo>
                  <a:pt x="39" y="76"/>
                </a:lnTo>
                <a:lnTo>
                  <a:pt x="54" y="76"/>
                </a:lnTo>
                <a:lnTo>
                  <a:pt x="54" y="36"/>
                </a:lnTo>
                <a:lnTo>
                  <a:pt x="43" y="36"/>
                </a:lnTo>
                <a:lnTo>
                  <a:pt x="43" y="15"/>
                </a:lnTo>
                <a:lnTo>
                  <a:pt x="43" y="15"/>
                </a:lnTo>
                <a:lnTo>
                  <a:pt x="54" y="15"/>
                </a:lnTo>
                <a:lnTo>
                  <a:pt x="54" y="0"/>
                </a:lnTo>
                <a:close/>
                <a:moveTo>
                  <a:pt x="25" y="108"/>
                </a:moveTo>
                <a:lnTo>
                  <a:pt x="39" y="108"/>
                </a:lnTo>
                <a:lnTo>
                  <a:pt x="39" y="98"/>
                </a:lnTo>
                <a:lnTo>
                  <a:pt x="39" y="98"/>
                </a:lnTo>
                <a:lnTo>
                  <a:pt x="39" y="76"/>
                </a:lnTo>
                <a:lnTo>
                  <a:pt x="39" y="76"/>
                </a:lnTo>
                <a:lnTo>
                  <a:pt x="39" y="65"/>
                </a:lnTo>
                <a:lnTo>
                  <a:pt x="29" y="65"/>
                </a:lnTo>
                <a:lnTo>
                  <a:pt x="29" y="65"/>
                </a:lnTo>
                <a:lnTo>
                  <a:pt x="29" y="47"/>
                </a:lnTo>
                <a:lnTo>
                  <a:pt x="39" y="47"/>
                </a:lnTo>
                <a:lnTo>
                  <a:pt x="39" y="0"/>
                </a:lnTo>
                <a:lnTo>
                  <a:pt x="25" y="0"/>
                </a:lnTo>
                <a:lnTo>
                  <a:pt x="25" y="15"/>
                </a:lnTo>
                <a:lnTo>
                  <a:pt x="36" y="15"/>
                </a:lnTo>
                <a:lnTo>
                  <a:pt x="36" y="36"/>
                </a:lnTo>
                <a:lnTo>
                  <a:pt x="25" y="36"/>
                </a:lnTo>
                <a:lnTo>
                  <a:pt x="25" y="108"/>
                </a:lnTo>
                <a:close/>
                <a:moveTo>
                  <a:pt x="0" y="108"/>
                </a:moveTo>
                <a:lnTo>
                  <a:pt x="25" y="108"/>
                </a:lnTo>
                <a:lnTo>
                  <a:pt x="25" y="36"/>
                </a:lnTo>
                <a:lnTo>
                  <a:pt x="14" y="36"/>
                </a:lnTo>
                <a:lnTo>
                  <a:pt x="14" y="15"/>
                </a:lnTo>
                <a:lnTo>
                  <a:pt x="14" y="15"/>
                </a:lnTo>
                <a:lnTo>
                  <a:pt x="25" y="15"/>
                </a:lnTo>
                <a:lnTo>
                  <a:pt x="25" y="0"/>
                </a:lnTo>
                <a:lnTo>
                  <a:pt x="0" y="0"/>
                </a:lnTo>
                <a:lnTo>
                  <a:pt x="0" y="1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2" name="iṥḻíḍê">
            <a:extLst>
              <a:ext uri="{FF2B5EF4-FFF2-40B4-BE49-F238E27FC236}">
                <a16:creationId xmlns:a16="http://schemas.microsoft.com/office/drawing/2014/main" id="{02873696-5FE8-4672-B0D6-880933A1CD56}"/>
              </a:ext>
            </a:extLst>
          </p:cNvPr>
          <p:cNvSpPr/>
          <p:nvPr/>
        </p:nvSpPr>
        <p:spPr bwMode="auto">
          <a:xfrm>
            <a:off x="9343819" y="6034374"/>
            <a:ext cx="191218" cy="46007"/>
          </a:xfrm>
          <a:custGeom>
            <a:avLst/>
            <a:gdLst>
              <a:gd name="T0" fmla="*/ 0 w 37"/>
              <a:gd name="T1" fmla="*/ 5 h 9"/>
              <a:gd name="T2" fmla="*/ 3 w 37"/>
              <a:gd name="T3" fmla="*/ 9 h 9"/>
              <a:gd name="T4" fmla="*/ 19 w 37"/>
              <a:gd name="T5" fmla="*/ 5 h 9"/>
              <a:gd name="T6" fmla="*/ 35 w 37"/>
              <a:gd name="T7" fmla="*/ 9 h 9"/>
              <a:gd name="T8" fmla="*/ 37 w 37"/>
              <a:gd name="T9" fmla="*/ 5 h 9"/>
              <a:gd name="T10" fmla="*/ 19 w 37"/>
              <a:gd name="T11" fmla="*/ 0 h 9"/>
              <a:gd name="T12" fmla="*/ 0 w 37"/>
              <a:gd name="T13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9">
                <a:moveTo>
                  <a:pt x="0" y="5"/>
                </a:moveTo>
                <a:cubicBezTo>
                  <a:pt x="3" y="9"/>
                  <a:pt x="3" y="9"/>
                  <a:pt x="3" y="9"/>
                </a:cubicBezTo>
                <a:cubicBezTo>
                  <a:pt x="7" y="7"/>
                  <a:pt x="13" y="5"/>
                  <a:pt x="19" y="5"/>
                </a:cubicBezTo>
                <a:cubicBezTo>
                  <a:pt x="25" y="5"/>
                  <a:pt x="30" y="7"/>
                  <a:pt x="35" y="9"/>
                </a:cubicBezTo>
                <a:cubicBezTo>
                  <a:pt x="37" y="5"/>
                  <a:pt x="37" y="5"/>
                  <a:pt x="37" y="5"/>
                </a:cubicBezTo>
                <a:cubicBezTo>
                  <a:pt x="32" y="2"/>
                  <a:pt x="25" y="0"/>
                  <a:pt x="19" y="0"/>
                </a:cubicBezTo>
                <a:cubicBezTo>
                  <a:pt x="12" y="0"/>
                  <a:pt x="5" y="2"/>
                  <a:pt x="0" y="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3" name="íṧlïḓê">
            <a:extLst>
              <a:ext uri="{FF2B5EF4-FFF2-40B4-BE49-F238E27FC236}">
                <a16:creationId xmlns:a16="http://schemas.microsoft.com/office/drawing/2014/main" id="{E7666CDE-1F52-4FA3-8907-D275C10F3A23}"/>
              </a:ext>
            </a:extLst>
          </p:cNvPr>
          <p:cNvSpPr/>
          <p:nvPr/>
        </p:nvSpPr>
        <p:spPr bwMode="auto">
          <a:xfrm>
            <a:off x="9312189" y="5982615"/>
            <a:ext cx="260229" cy="56071"/>
          </a:xfrm>
          <a:custGeom>
            <a:avLst/>
            <a:gdLst>
              <a:gd name="T0" fmla="*/ 50 w 50"/>
              <a:gd name="T1" fmla="*/ 6 h 11"/>
              <a:gd name="T2" fmla="*/ 25 w 50"/>
              <a:gd name="T3" fmla="*/ 0 h 11"/>
              <a:gd name="T4" fmla="*/ 0 w 50"/>
              <a:gd name="T5" fmla="*/ 6 h 11"/>
              <a:gd name="T6" fmla="*/ 2 w 50"/>
              <a:gd name="T7" fmla="*/ 11 h 11"/>
              <a:gd name="T8" fmla="*/ 25 w 50"/>
              <a:gd name="T9" fmla="*/ 5 h 11"/>
              <a:gd name="T10" fmla="*/ 47 w 50"/>
              <a:gd name="T11" fmla="*/ 11 h 11"/>
              <a:gd name="T12" fmla="*/ 50 w 50"/>
              <a:gd name="T13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11">
                <a:moveTo>
                  <a:pt x="50" y="6"/>
                </a:moveTo>
                <a:cubicBezTo>
                  <a:pt x="43" y="2"/>
                  <a:pt x="34" y="0"/>
                  <a:pt x="25" y="0"/>
                </a:cubicBezTo>
                <a:cubicBezTo>
                  <a:pt x="16" y="0"/>
                  <a:pt x="7" y="2"/>
                  <a:pt x="0" y="6"/>
                </a:cubicBezTo>
                <a:cubicBezTo>
                  <a:pt x="2" y="11"/>
                  <a:pt x="2" y="11"/>
                  <a:pt x="2" y="11"/>
                </a:cubicBezTo>
                <a:cubicBezTo>
                  <a:pt x="9" y="7"/>
                  <a:pt x="17" y="5"/>
                  <a:pt x="25" y="5"/>
                </a:cubicBezTo>
                <a:cubicBezTo>
                  <a:pt x="33" y="5"/>
                  <a:pt x="41" y="7"/>
                  <a:pt x="47" y="11"/>
                </a:cubicBezTo>
                <a:lnTo>
                  <a:pt x="50" y="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ïṥḷïďê">
            <a:extLst>
              <a:ext uri="{FF2B5EF4-FFF2-40B4-BE49-F238E27FC236}">
                <a16:creationId xmlns:a16="http://schemas.microsoft.com/office/drawing/2014/main" id="{65971BAE-D173-42D7-865F-F200E46C57DB}"/>
              </a:ext>
            </a:extLst>
          </p:cNvPr>
          <p:cNvSpPr/>
          <p:nvPr/>
        </p:nvSpPr>
        <p:spPr bwMode="auto">
          <a:xfrm>
            <a:off x="8183029" y="2612585"/>
            <a:ext cx="191218" cy="192655"/>
          </a:xfrm>
          <a:custGeom>
            <a:avLst/>
            <a:gdLst>
              <a:gd name="T0" fmla="*/ 18 w 37"/>
              <a:gd name="T1" fmla="*/ 37 h 37"/>
              <a:gd name="T2" fmla="*/ 19 w 37"/>
              <a:gd name="T3" fmla="*/ 37 h 37"/>
              <a:gd name="T4" fmla="*/ 37 w 37"/>
              <a:gd name="T5" fmla="*/ 18 h 37"/>
              <a:gd name="T6" fmla="*/ 23 w 37"/>
              <a:gd name="T7" fmla="*/ 0 h 37"/>
              <a:gd name="T8" fmla="*/ 1 w 37"/>
              <a:gd name="T9" fmla="*/ 12 h 37"/>
              <a:gd name="T10" fmla="*/ 0 w 37"/>
              <a:gd name="T11" fmla="*/ 18 h 37"/>
              <a:gd name="T12" fmla="*/ 10 w 37"/>
              <a:gd name="T13" fmla="*/ 24 h 37"/>
              <a:gd name="T14" fmla="*/ 18 w 37"/>
              <a:gd name="T15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" h="37">
                <a:moveTo>
                  <a:pt x="18" y="37"/>
                </a:moveTo>
                <a:cubicBezTo>
                  <a:pt x="18" y="37"/>
                  <a:pt x="18" y="37"/>
                  <a:pt x="19" y="37"/>
                </a:cubicBezTo>
                <a:cubicBezTo>
                  <a:pt x="29" y="37"/>
                  <a:pt x="37" y="29"/>
                  <a:pt x="37" y="18"/>
                </a:cubicBezTo>
                <a:cubicBezTo>
                  <a:pt x="37" y="10"/>
                  <a:pt x="31" y="2"/>
                  <a:pt x="23" y="0"/>
                </a:cubicBezTo>
                <a:cubicBezTo>
                  <a:pt x="16" y="4"/>
                  <a:pt x="8" y="8"/>
                  <a:pt x="1" y="12"/>
                </a:cubicBezTo>
                <a:cubicBezTo>
                  <a:pt x="1" y="14"/>
                  <a:pt x="0" y="16"/>
                  <a:pt x="0" y="18"/>
                </a:cubicBezTo>
                <a:cubicBezTo>
                  <a:pt x="4" y="19"/>
                  <a:pt x="7" y="21"/>
                  <a:pt x="10" y="24"/>
                </a:cubicBezTo>
                <a:cubicBezTo>
                  <a:pt x="14" y="28"/>
                  <a:pt x="16" y="32"/>
                  <a:pt x="18" y="3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ïśḻíḋê">
            <a:extLst>
              <a:ext uri="{FF2B5EF4-FFF2-40B4-BE49-F238E27FC236}">
                <a16:creationId xmlns:a16="http://schemas.microsoft.com/office/drawing/2014/main" id="{3450F3B7-4F68-4281-A120-3D3020C3E14C}"/>
              </a:ext>
            </a:extLst>
          </p:cNvPr>
          <p:cNvSpPr/>
          <p:nvPr/>
        </p:nvSpPr>
        <p:spPr bwMode="auto">
          <a:xfrm>
            <a:off x="8390061" y="2680158"/>
            <a:ext cx="41694" cy="57510"/>
          </a:xfrm>
          <a:custGeom>
            <a:avLst/>
            <a:gdLst>
              <a:gd name="T0" fmla="*/ 0 w 29"/>
              <a:gd name="T1" fmla="*/ 40 h 40"/>
              <a:gd name="T2" fmla="*/ 29 w 29"/>
              <a:gd name="T3" fmla="*/ 18 h 40"/>
              <a:gd name="T4" fmla="*/ 0 w 29"/>
              <a:gd name="T5" fmla="*/ 0 h 40"/>
              <a:gd name="T6" fmla="*/ 0 w 29"/>
              <a:gd name="T7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" h="40">
                <a:moveTo>
                  <a:pt x="0" y="40"/>
                </a:moveTo>
                <a:lnTo>
                  <a:pt x="29" y="18"/>
                </a:lnTo>
                <a:lnTo>
                  <a:pt x="0" y="0"/>
                </a:lnTo>
                <a:lnTo>
                  <a:pt x="0" y="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7" name="ísḻîḓê">
            <a:extLst>
              <a:ext uri="{FF2B5EF4-FFF2-40B4-BE49-F238E27FC236}">
                <a16:creationId xmlns:a16="http://schemas.microsoft.com/office/drawing/2014/main" id="{4FED945C-7832-4063-AAA0-DE79CC43902D}"/>
              </a:ext>
            </a:extLst>
          </p:cNvPr>
          <p:cNvSpPr/>
          <p:nvPr/>
        </p:nvSpPr>
        <p:spPr bwMode="auto">
          <a:xfrm>
            <a:off x="8151398" y="2685909"/>
            <a:ext cx="21566" cy="15815"/>
          </a:xfrm>
          <a:custGeom>
            <a:avLst/>
            <a:gdLst>
              <a:gd name="T0" fmla="*/ 0 w 4"/>
              <a:gd name="T1" fmla="*/ 3 h 3"/>
              <a:gd name="T2" fmla="*/ 4 w 4"/>
              <a:gd name="T3" fmla="*/ 3 h 3"/>
              <a:gd name="T4" fmla="*/ 4 w 4"/>
              <a:gd name="T5" fmla="*/ 0 h 3"/>
              <a:gd name="T6" fmla="*/ 0 w 4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0" y="3"/>
                </a:moveTo>
                <a:cubicBezTo>
                  <a:pt x="1" y="3"/>
                  <a:pt x="2" y="3"/>
                  <a:pt x="4" y="3"/>
                </a:cubicBezTo>
                <a:cubicBezTo>
                  <a:pt x="4" y="0"/>
                  <a:pt x="4" y="0"/>
                  <a:pt x="4" y="0"/>
                </a:cubicBezTo>
                <a:cubicBezTo>
                  <a:pt x="2" y="1"/>
                  <a:pt x="1" y="2"/>
                  <a:pt x="0" y="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íś1îḓe">
            <a:extLst>
              <a:ext uri="{FF2B5EF4-FFF2-40B4-BE49-F238E27FC236}">
                <a16:creationId xmlns:a16="http://schemas.microsoft.com/office/drawing/2014/main" id="{0CFEDF6D-DF2D-45BF-B655-3121B7B3F9A9}"/>
              </a:ext>
            </a:extLst>
          </p:cNvPr>
          <p:cNvSpPr/>
          <p:nvPr/>
        </p:nvSpPr>
        <p:spPr bwMode="auto">
          <a:xfrm>
            <a:off x="8338303" y="2602521"/>
            <a:ext cx="47446" cy="47446"/>
          </a:xfrm>
          <a:custGeom>
            <a:avLst/>
            <a:gdLst>
              <a:gd name="T0" fmla="*/ 0 w 33"/>
              <a:gd name="T1" fmla="*/ 7 h 33"/>
              <a:gd name="T2" fmla="*/ 25 w 33"/>
              <a:gd name="T3" fmla="*/ 33 h 33"/>
              <a:gd name="T4" fmla="*/ 33 w 33"/>
              <a:gd name="T5" fmla="*/ 0 h 33"/>
              <a:gd name="T6" fmla="*/ 0 w 33"/>
              <a:gd name="T7" fmla="*/ 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3">
                <a:moveTo>
                  <a:pt x="0" y="7"/>
                </a:moveTo>
                <a:lnTo>
                  <a:pt x="25" y="33"/>
                </a:lnTo>
                <a:lnTo>
                  <a:pt x="33" y="0"/>
                </a:lnTo>
                <a:lnTo>
                  <a:pt x="0" y="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íṧḻiḓe">
            <a:extLst>
              <a:ext uri="{FF2B5EF4-FFF2-40B4-BE49-F238E27FC236}">
                <a16:creationId xmlns:a16="http://schemas.microsoft.com/office/drawing/2014/main" id="{ECD9C9E0-9F67-470A-A751-EA2061AC8AE9}"/>
              </a:ext>
            </a:extLst>
          </p:cNvPr>
          <p:cNvSpPr/>
          <p:nvPr/>
        </p:nvSpPr>
        <p:spPr bwMode="auto">
          <a:xfrm>
            <a:off x="8338303" y="2763547"/>
            <a:ext cx="47446" cy="51759"/>
          </a:xfrm>
          <a:custGeom>
            <a:avLst/>
            <a:gdLst>
              <a:gd name="T0" fmla="*/ 25 w 33"/>
              <a:gd name="T1" fmla="*/ 0 h 36"/>
              <a:gd name="T2" fmla="*/ 0 w 33"/>
              <a:gd name="T3" fmla="*/ 29 h 36"/>
              <a:gd name="T4" fmla="*/ 33 w 33"/>
              <a:gd name="T5" fmla="*/ 36 h 36"/>
              <a:gd name="T6" fmla="*/ 25 w 33"/>
              <a:gd name="T7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6">
                <a:moveTo>
                  <a:pt x="25" y="0"/>
                </a:moveTo>
                <a:lnTo>
                  <a:pt x="0" y="29"/>
                </a:lnTo>
                <a:lnTo>
                  <a:pt x="33" y="36"/>
                </a:lnTo>
                <a:lnTo>
                  <a:pt x="2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iŝļiḋê">
            <a:extLst>
              <a:ext uri="{FF2B5EF4-FFF2-40B4-BE49-F238E27FC236}">
                <a16:creationId xmlns:a16="http://schemas.microsoft.com/office/drawing/2014/main" id="{C5D33DBE-8AE9-4EFE-9057-5374AEEE609C}"/>
              </a:ext>
            </a:extLst>
          </p:cNvPr>
          <p:cNvSpPr/>
          <p:nvPr/>
        </p:nvSpPr>
        <p:spPr bwMode="auto">
          <a:xfrm>
            <a:off x="7970244" y="2711788"/>
            <a:ext cx="419816" cy="258791"/>
          </a:xfrm>
          <a:custGeom>
            <a:avLst/>
            <a:gdLst>
              <a:gd name="T0" fmla="*/ 66 w 81"/>
              <a:gd name="T1" fmla="*/ 21 h 50"/>
              <a:gd name="T2" fmla="*/ 64 w 81"/>
              <a:gd name="T3" fmla="*/ 21 h 50"/>
              <a:gd name="T4" fmla="*/ 57 w 81"/>
              <a:gd name="T5" fmla="*/ 24 h 50"/>
              <a:gd name="T6" fmla="*/ 57 w 81"/>
              <a:gd name="T7" fmla="*/ 20 h 50"/>
              <a:gd name="T8" fmla="*/ 56 w 81"/>
              <a:gd name="T9" fmla="*/ 18 h 50"/>
              <a:gd name="T10" fmla="*/ 41 w 81"/>
              <a:gd name="T11" fmla="*/ 1 h 50"/>
              <a:gd name="T12" fmla="*/ 39 w 81"/>
              <a:gd name="T13" fmla="*/ 1 h 50"/>
              <a:gd name="T14" fmla="*/ 32 w 81"/>
              <a:gd name="T15" fmla="*/ 0 h 50"/>
              <a:gd name="T16" fmla="*/ 31 w 81"/>
              <a:gd name="T17" fmla="*/ 0 h 50"/>
              <a:gd name="T18" fmla="*/ 31 w 81"/>
              <a:gd name="T19" fmla="*/ 0 h 50"/>
              <a:gd name="T20" fmla="*/ 9 w 81"/>
              <a:gd name="T21" fmla="*/ 15 h 50"/>
              <a:gd name="T22" fmla="*/ 7 w 81"/>
              <a:gd name="T23" fmla="*/ 25 h 50"/>
              <a:gd name="T24" fmla="*/ 8 w 81"/>
              <a:gd name="T25" fmla="*/ 32 h 50"/>
              <a:gd name="T26" fmla="*/ 0 w 81"/>
              <a:gd name="T27" fmla="*/ 41 h 50"/>
              <a:gd name="T28" fmla="*/ 9 w 81"/>
              <a:gd name="T29" fmla="*/ 50 h 50"/>
              <a:gd name="T30" fmla="*/ 32 w 81"/>
              <a:gd name="T31" fmla="*/ 50 h 50"/>
              <a:gd name="T32" fmla="*/ 33 w 81"/>
              <a:gd name="T33" fmla="*/ 50 h 50"/>
              <a:gd name="T34" fmla="*/ 66 w 81"/>
              <a:gd name="T35" fmla="*/ 50 h 50"/>
              <a:gd name="T36" fmla="*/ 81 w 81"/>
              <a:gd name="T37" fmla="*/ 35 h 50"/>
              <a:gd name="T38" fmla="*/ 66 w 81"/>
              <a:gd name="T39" fmla="*/ 21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1" h="50">
                <a:moveTo>
                  <a:pt x="66" y="21"/>
                </a:moveTo>
                <a:cubicBezTo>
                  <a:pt x="66" y="21"/>
                  <a:pt x="65" y="21"/>
                  <a:pt x="64" y="21"/>
                </a:cubicBezTo>
                <a:cubicBezTo>
                  <a:pt x="62" y="21"/>
                  <a:pt x="59" y="23"/>
                  <a:pt x="57" y="24"/>
                </a:cubicBezTo>
                <a:cubicBezTo>
                  <a:pt x="57" y="23"/>
                  <a:pt x="57" y="22"/>
                  <a:pt x="57" y="20"/>
                </a:cubicBezTo>
                <a:cubicBezTo>
                  <a:pt x="57" y="19"/>
                  <a:pt x="56" y="18"/>
                  <a:pt x="56" y="18"/>
                </a:cubicBezTo>
                <a:cubicBezTo>
                  <a:pt x="54" y="10"/>
                  <a:pt x="48" y="4"/>
                  <a:pt x="41" y="1"/>
                </a:cubicBezTo>
                <a:cubicBezTo>
                  <a:pt x="40" y="1"/>
                  <a:pt x="40" y="1"/>
                  <a:pt x="39" y="1"/>
                </a:cubicBezTo>
                <a:cubicBezTo>
                  <a:pt x="37" y="0"/>
                  <a:pt x="35" y="0"/>
                  <a:pt x="32" y="0"/>
                </a:cubicBezTo>
                <a:cubicBezTo>
                  <a:pt x="32" y="0"/>
                  <a:pt x="32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24" y="5"/>
                  <a:pt x="16" y="10"/>
                  <a:pt x="9" y="15"/>
                </a:cubicBezTo>
                <a:cubicBezTo>
                  <a:pt x="8" y="18"/>
                  <a:pt x="7" y="21"/>
                  <a:pt x="7" y="25"/>
                </a:cubicBezTo>
                <a:cubicBezTo>
                  <a:pt x="7" y="27"/>
                  <a:pt x="8" y="30"/>
                  <a:pt x="8" y="32"/>
                </a:cubicBezTo>
                <a:cubicBezTo>
                  <a:pt x="4" y="32"/>
                  <a:pt x="0" y="36"/>
                  <a:pt x="0" y="41"/>
                </a:cubicBezTo>
                <a:cubicBezTo>
                  <a:pt x="0" y="46"/>
                  <a:pt x="4" y="50"/>
                  <a:pt x="9" y="50"/>
                </a:cubicBezTo>
                <a:cubicBezTo>
                  <a:pt x="32" y="50"/>
                  <a:pt x="32" y="50"/>
                  <a:pt x="32" y="50"/>
                </a:cubicBezTo>
                <a:cubicBezTo>
                  <a:pt x="33" y="50"/>
                  <a:pt x="33" y="50"/>
                  <a:pt x="33" y="50"/>
                </a:cubicBezTo>
                <a:cubicBezTo>
                  <a:pt x="66" y="50"/>
                  <a:pt x="66" y="50"/>
                  <a:pt x="66" y="50"/>
                </a:cubicBezTo>
                <a:cubicBezTo>
                  <a:pt x="74" y="50"/>
                  <a:pt x="81" y="43"/>
                  <a:pt x="81" y="35"/>
                </a:cubicBezTo>
                <a:cubicBezTo>
                  <a:pt x="81" y="27"/>
                  <a:pt x="74" y="21"/>
                  <a:pt x="66" y="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iṥļîḓé">
            <a:extLst>
              <a:ext uri="{FF2B5EF4-FFF2-40B4-BE49-F238E27FC236}">
                <a16:creationId xmlns:a16="http://schemas.microsoft.com/office/drawing/2014/main" id="{6AE4C8FA-6727-4C85-8DA3-4A3DB9BC9D36}"/>
              </a:ext>
            </a:extLst>
          </p:cNvPr>
          <p:cNvSpPr/>
          <p:nvPr/>
        </p:nvSpPr>
        <p:spPr bwMode="auto">
          <a:xfrm>
            <a:off x="9540241" y="5147298"/>
            <a:ext cx="373808" cy="404001"/>
          </a:xfrm>
          <a:custGeom>
            <a:avLst/>
            <a:gdLst>
              <a:gd name="T0" fmla="*/ 60 w 72"/>
              <a:gd name="T1" fmla="*/ 2 h 78"/>
              <a:gd name="T2" fmla="*/ 60 w 72"/>
              <a:gd name="T3" fmla="*/ 26 h 78"/>
              <a:gd name="T4" fmla="*/ 64 w 72"/>
              <a:gd name="T5" fmla="*/ 37 h 78"/>
              <a:gd name="T6" fmla="*/ 66 w 72"/>
              <a:gd name="T7" fmla="*/ 43 h 78"/>
              <a:gd name="T8" fmla="*/ 60 w 72"/>
              <a:gd name="T9" fmla="*/ 50 h 78"/>
              <a:gd name="T10" fmla="*/ 56 w 72"/>
              <a:gd name="T11" fmla="*/ 53 h 78"/>
              <a:gd name="T12" fmla="*/ 60 w 72"/>
              <a:gd name="T13" fmla="*/ 50 h 78"/>
              <a:gd name="T14" fmla="*/ 60 w 72"/>
              <a:gd name="T15" fmla="*/ 44 h 78"/>
              <a:gd name="T16" fmla="*/ 56 w 72"/>
              <a:gd name="T17" fmla="*/ 33 h 78"/>
              <a:gd name="T18" fmla="*/ 60 w 72"/>
              <a:gd name="T19" fmla="*/ 26 h 78"/>
              <a:gd name="T20" fmla="*/ 55 w 72"/>
              <a:gd name="T21" fmla="*/ 46 h 78"/>
              <a:gd name="T22" fmla="*/ 55 w 72"/>
              <a:gd name="T23" fmla="*/ 53 h 78"/>
              <a:gd name="T24" fmla="*/ 55 w 72"/>
              <a:gd name="T25" fmla="*/ 1 h 78"/>
              <a:gd name="T26" fmla="*/ 55 w 72"/>
              <a:gd name="T27" fmla="*/ 9 h 78"/>
              <a:gd name="T28" fmla="*/ 55 w 72"/>
              <a:gd name="T29" fmla="*/ 16 h 78"/>
              <a:gd name="T30" fmla="*/ 60 w 72"/>
              <a:gd name="T31" fmla="*/ 21 h 78"/>
              <a:gd name="T32" fmla="*/ 31 w 72"/>
              <a:gd name="T33" fmla="*/ 71 h 78"/>
              <a:gd name="T34" fmla="*/ 55 w 72"/>
              <a:gd name="T35" fmla="*/ 46 h 78"/>
              <a:gd name="T36" fmla="*/ 50 w 72"/>
              <a:gd name="T37" fmla="*/ 28 h 78"/>
              <a:gd name="T38" fmla="*/ 55 w 72"/>
              <a:gd name="T39" fmla="*/ 27 h 78"/>
              <a:gd name="T40" fmla="*/ 55 w 72"/>
              <a:gd name="T41" fmla="*/ 21 h 78"/>
              <a:gd name="T42" fmla="*/ 50 w 72"/>
              <a:gd name="T43" fmla="*/ 10 h 78"/>
              <a:gd name="T44" fmla="*/ 55 w 72"/>
              <a:gd name="T45" fmla="*/ 4 h 78"/>
              <a:gd name="T46" fmla="*/ 44 w 72"/>
              <a:gd name="T47" fmla="*/ 4 h 78"/>
              <a:gd name="T48" fmla="*/ 22 w 72"/>
              <a:gd name="T49" fmla="*/ 55 h 78"/>
              <a:gd name="T50" fmla="*/ 22 w 72"/>
              <a:gd name="T51" fmla="*/ 60 h 78"/>
              <a:gd name="T52" fmla="*/ 26 w 72"/>
              <a:gd name="T53" fmla="*/ 71 h 78"/>
              <a:gd name="T54" fmla="*/ 22 w 72"/>
              <a:gd name="T55" fmla="*/ 76 h 78"/>
              <a:gd name="T56" fmla="*/ 22 w 72"/>
              <a:gd name="T57" fmla="*/ 72 h 78"/>
              <a:gd name="T58" fmla="*/ 22 w 72"/>
              <a:gd name="T59" fmla="*/ 66 h 78"/>
              <a:gd name="T60" fmla="*/ 16 w 72"/>
              <a:gd name="T61" fmla="*/ 61 h 78"/>
              <a:gd name="T62" fmla="*/ 20 w 72"/>
              <a:gd name="T63" fmla="*/ 29 h 78"/>
              <a:gd name="T64" fmla="*/ 17 w 72"/>
              <a:gd name="T65" fmla="*/ 37 h 78"/>
              <a:gd name="T66" fmla="*/ 16 w 72"/>
              <a:gd name="T67" fmla="*/ 43 h 78"/>
              <a:gd name="T68" fmla="*/ 20 w 72"/>
              <a:gd name="T69" fmla="*/ 49 h 78"/>
              <a:gd name="T70" fmla="*/ 22 w 72"/>
              <a:gd name="T71" fmla="*/ 54 h 78"/>
              <a:gd name="T72" fmla="*/ 11 w 72"/>
              <a:gd name="T73" fmla="*/ 12 h 78"/>
              <a:gd name="T74" fmla="*/ 10 w 72"/>
              <a:gd name="T75" fmla="*/ 20 h 78"/>
              <a:gd name="T76" fmla="*/ 14 w 72"/>
              <a:gd name="T77" fmla="*/ 26 h 78"/>
              <a:gd name="T78" fmla="*/ 16 w 72"/>
              <a:gd name="T79" fmla="*/ 31 h 78"/>
              <a:gd name="T80" fmla="*/ 16 w 72"/>
              <a:gd name="T81" fmla="*/ 11 h 78"/>
              <a:gd name="T82" fmla="*/ 16 w 72"/>
              <a:gd name="T83" fmla="*/ 78 h 78"/>
              <a:gd name="T84" fmla="*/ 15 w 72"/>
              <a:gd name="T85" fmla="*/ 55 h 78"/>
              <a:gd name="T86" fmla="*/ 13 w 72"/>
              <a:gd name="T87" fmla="*/ 50 h 78"/>
              <a:gd name="T88" fmla="*/ 16 w 72"/>
              <a:gd name="T89" fmla="*/ 37 h 78"/>
              <a:gd name="T90" fmla="*/ 10 w 72"/>
              <a:gd name="T91" fmla="*/ 56 h 78"/>
              <a:gd name="T92" fmla="*/ 4 w 72"/>
              <a:gd name="T93" fmla="*/ 14 h 78"/>
              <a:gd name="T94" fmla="*/ 10 w 72"/>
              <a:gd name="T95" fmla="*/ 38 h 78"/>
              <a:gd name="T96" fmla="*/ 10 w 72"/>
              <a:gd name="T97" fmla="*/ 27 h 78"/>
              <a:gd name="T98" fmla="*/ 10 w 72"/>
              <a:gd name="T99" fmla="*/ 2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2" h="78">
                <a:moveTo>
                  <a:pt x="60" y="55"/>
                </a:moveTo>
                <a:cubicBezTo>
                  <a:pt x="64" y="53"/>
                  <a:pt x="68" y="50"/>
                  <a:pt x="72" y="48"/>
                </a:cubicBezTo>
                <a:cubicBezTo>
                  <a:pt x="60" y="2"/>
                  <a:pt x="60" y="2"/>
                  <a:pt x="60" y="2"/>
                </a:cubicBezTo>
                <a:cubicBezTo>
                  <a:pt x="60" y="21"/>
                  <a:pt x="60" y="21"/>
                  <a:pt x="60" y="21"/>
                </a:cubicBezTo>
                <a:cubicBezTo>
                  <a:pt x="62" y="26"/>
                  <a:pt x="62" y="26"/>
                  <a:pt x="62" y="26"/>
                </a:cubicBezTo>
                <a:cubicBezTo>
                  <a:pt x="60" y="26"/>
                  <a:pt x="60" y="26"/>
                  <a:pt x="60" y="26"/>
                </a:cubicBezTo>
                <a:cubicBezTo>
                  <a:pt x="60" y="32"/>
                  <a:pt x="60" y="32"/>
                  <a:pt x="60" y="32"/>
                </a:cubicBezTo>
                <a:cubicBezTo>
                  <a:pt x="63" y="31"/>
                  <a:pt x="63" y="31"/>
                  <a:pt x="63" y="31"/>
                </a:cubicBezTo>
                <a:cubicBezTo>
                  <a:pt x="64" y="37"/>
                  <a:pt x="64" y="37"/>
                  <a:pt x="64" y="37"/>
                </a:cubicBezTo>
                <a:cubicBezTo>
                  <a:pt x="60" y="39"/>
                  <a:pt x="60" y="39"/>
                  <a:pt x="60" y="39"/>
                </a:cubicBezTo>
                <a:cubicBezTo>
                  <a:pt x="60" y="44"/>
                  <a:pt x="60" y="44"/>
                  <a:pt x="60" y="44"/>
                </a:cubicBezTo>
                <a:cubicBezTo>
                  <a:pt x="66" y="43"/>
                  <a:pt x="66" y="43"/>
                  <a:pt x="66" y="43"/>
                </a:cubicBezTo>
                <a:cubicBezTo>
                  <a:pt x="67" y="49"/>
                  <a:pt x="67" y="49"/>
                  <a:pt x="67" y="49"/>
                </a:cubicBezTo>
                <a:cubicBezTo>
                  <a:pt x="60" y="51"/>
                  <a:pt x="60" y="51"/>
                  <a:pt x="60" y="51"/>
                </a:cubicBezTo>
                <a:cubicBezTo>
                  <a:pt x="60" y="50"/>
                  <a:pt x="60" y="50"/>
                  <a:pt x="60" y="50"/>
                </a:cubicBezTo>
                <a:lnTo>
                  <a:pt x="60" y="55"/>
                </a:lnTo>
                <a:close/>
                <a:moveTo>
                  <a:pt x="55" y="53"/>
                </a:moveTo>
                <a:cubicBezTo>
                  <a:pt x="56" y="53"/>
                  <a:pt x="56" y="53"/>
                  <a:pt x="56" y="53"/>
                </a:cubicBezTo>
                <a:cubicBezTo>
                  <a:pt x="57" y="57"/>
                  <a:pt x="57" y="57"/>
                  <a:pt x="57" y="57"/>
                </a:cubicBezTo>
                <a:cubicBezTo>
                  <a:pt x="58" y="56"/>
                  <a:pt x="59" y="56"/>
                  <a:pt x="60" y="55"/>
                </a:cubicBezTo>
                <a:cubicBezTo>
                  <a:pt x="60" y="50"/>
                  <a:pt x="60" y="50"/>
                  <a:pt x="60" y="50"/>
                </a:cubicBezTo>
                <a:cubicBezTo>
                  <a:pt x="59" y="44"/>
                  <a:pt x="59" y="44"/>
                  <a:pt x="59" y="44"/>
                </a:cubicBezTo>
                <a:cubicBezTo>
                  <a:pt x="59" y="44"/>
                  <a:pt x="59" y="44"/>
                  <a:pt x="59" y="44"/>
                </a:cubicBezTo>
                <a:cubicBezTo>
                  <a:pt x="60" y="44"/>
                  <a:pt x="60" y="44"/>
                  <a:pt x="60" y="44"/>
                </a:cubicBezTo>
                <a:cubicBezTo>
                  <a:pt x="60" y="39"/>
                  <a:pt x="60" y="39"/>
                  <a:pt x="60" y="39"/>
                </a:cubicBezTo>
                <a:cubicBezTo>
                  <a:pt x="58" y="39"/>
                  <a:pt x="58" y="39"/>
                  <a:pt x="58" y="39"/>
                </a:cubicBezTo>
                <a:cubicBezTo>
                  <a:pt x="56" y="33"/>
                  <a:pt x="56" y="33"/>
                  <a:pt x="56" y="33"/>
                </a:cubicBezTo>
                <a:cubicBezTo>
                  <a:pt x="56" y="33"/>
                  <a:pt x="56" y="33"/>
                  <a:pt x="56" y="33"/>
                </a:cubicBezTo>
                <a:cubicBezTo>
                  <a:pt x="60" y="32"/>
                  <a:pt x="60" y="32"/>
                  <a:pt x="60" y="32"/>
                </a:cubicBezTo>
                <a:cubicBezTo>
                  <a:pt x="60" y="26"/>
                  <a:pt x="60" y="26"/>
                  <a:pt x="60" y="26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7"/>
                  <a:pt x="55" y="27"/>
                  <a:pt x="55" y="27"/>
                </a:cubicBezTo>
                <a:cubicBezTo>
                  <a:pt x="55" y="46"/>
                  <a:pt x="55" y="46"/>
                  <a:pt x="55" y="46"/>
                </a:cubicBezTo>
                <a:cubicBezTo>
                  <a:pt x="55" y="46"/>
                  <a:pt x="55" y="46"/>
                  <a:pt x="55" y="46"/>
                </a:cubicBezTo>
                <a:cubicBezTo>
                  <a:pt x="55" y="46"/>
                  <a:pt x="55" y="46"/>
                  <a:pt x="55" y="46"/>
                </a:cubicBezTo>
                <a:cubicBezTo>
                  <a:pt x="55" y="53"/>
                  <a:pt x="55" y="53"/>
                  <a:pt x="55" y="53"/>
                </a:cubicBezTo>
                <a:close/>
                <a:moveTo>
                  <a:pt x="60" y="2"/>
                </a:moveTo>
                <a:cubicBezTo>
                  <a:pt x="60" y="0"/>
                  <a:pt x="60" y="0"/>
                  <a:pt x="60" y="0"/>
                </a:cubicBezTo>
                <a:cubicBezTo>
                  <a:pt x="55" y="1"/>
                  <a:pt x="55" y="1"/>
                  <a:pt x="55" y="1"/>
                </a:cubicBezTo>
                <a:cubicBezTo>
                  <a:pt x="56" y="3"/>
                  <a:pt x="56" y="3"/>
                  <a:pt x="56" y="3"/>
                </a:cubicBezTo>
                <a:cubicBezTo>
                  <a:pt x="55" y="4"/>
                  <a:pt x="55" y="4"/>
                  <a:pt x="55" y="4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8"/>
                  <a:pt x="57" y="8"/>
                  <a:pt x="57" y="8"/>
                </a:cubicBezTo>
                <a:cubicBezTo>
                  <a:pt x="59" y="15"/>
                  <a:pt x="59" y="15"/>
                  <a:pt x="59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5" y="21"/>
                  <a:pt x="55" y="21"/>
                  <a:pt x="55" y="21"/>
                </a:cubicBezTo>
                <a:cubicBezTo>
                  <a:pt x="60" y="20"/>
                  <a:pt x="60" y="20"/>
                  <a:pt x="60" y="20"/>
                </a:cubicBezTo>
                <a:cubicBezTo>
                  <a:pt x="60" y="21"/>
                  <a:pt x="60" y="21"/>
                  <a:pt x="60" y="21"/>
                </a:cubicBezTo>
                <a:lnTo>
                  <a:pt x="60" y="2"/>
                </a:lnTo>
                <a:close/>
                <a:moveTo>
                  <a:pt x="22" y="76"/>
                </a:moveTo>
                <a:cubicBezTo>
                  <a:pt x="25" y="74"/>
                  <a:pt x="28" y="73"/>
                  <a:pt x="31" y="71"/>
                </a:cubicBezTo>
                <a:cubicBezTo>
                  <a:pt x="28" y="60"/>
                  <a:pt x="28" y="60"/>
                  <a:pt x="28" y="60"/>
                </a:cubicBezTo>
                <a:cubicBezTo>
                  <a:pt x="55" y="53"/>
                  <a:pt x="55" y="53"/>
                  <a:pt x="55" y="53"/>
                </a:cubicBezTo>
                <a:cubicBezTo>
                  <a:pt x="55" y="46"/>
                  <a:pt x="55" y="46"/>
                  <a:pt x="55" y="46"/>
                </a:cubicBezTo>
                <a:cubicBezTo>
                  <a:pt x="26" y="53"/>
                  <a:pt x="26" y="53"/>
                  <a:pt x="26" y="53"/>
                </a:cubicBezTo>
                <a:cubicBezTo>
                  <a:pt x="22" y="35"/>
                  <a:pt x="22" y="35"/>
                  <a:pt x="22" y="35"/>
                </a:cubicBezTo>
                <a:cubicBezTo>
                  <a:pt x="50" y="28"/>
                  <a:pt x="50" y="28"/>
                  <a:pt x="50" y="28"/>
                </a:cubicBezTo>
                <a:cubicBezTo>
                  <a:pt x="50" y="28"/>
                  <a:pt x="50" y="28"/>
                  <a:pt x="50" y="28"/>
                </a:cubicBezTo>
                <a:cubicBezTo>
                  <a:pt x="55" y="46"/>
                  <a:pt x="55" y="46"/>
                  <a:pt x="55" y="46"/>
                </a:cubicBezTo>
                <a:cubicBezTo>
                  <a:pt x="55" y="27"/>
                  <a:pt x="55" y="27"/>
                  <a:pt x="55" y="27"/>
                </a:cubicBezTo>
                <a:cubicBezTo>
                  <a:pt x="53" y="22"/>
                  <a:pt x="53" y="22"/>
                  <a:pt x="53" y="22"/>
                </a:cubicBezTo>
                <a:cubicBezTo>
                  <a:pt x="53" y="22"/>
                  <a:pt x="53" y="22"/>
                  <a:pt x="53" y="22"/>
                </a:cubicBezTo>
                <a:cubicBezTo>
                  <a:pt x="55" y="21"/>
                  <a:pt x="55" y="21"/>
                  <a:pt x="55" y="21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6"/>
                  <a:pt x="52" y="16"/>
                  <a:pt x="52" y="16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5" y="9"/>
                  <a:pt x="55" y="9"/>
                  <a:pt x="55" y="9"/>
                </a:cubicBezTo>
                <a:cubicBezTo>
                  <a:pt x="55" y="4"/>
                  <a:pt x="55" y="4"/>
                  <a:pt x="55" y="4"/>
                </a:cubicBezTo>
                <a:cubicBezTo>
                  <a:pt x="49" y="5"/>
                  <a:pt x="49" y="5"/>
                  <a:pt x="49" y="5"/>
                </a:cubicBezTo>
                <a:cubicBezTo>
                  <a:pt x="48" y="3"/>
                  <a:pt x="48" y="3"/>
                  <a:pt x="48" y="3"/>
                </a:cubicBezTo>
                <a:cubicBezTo>
                  <a:pt x="44" y="4"/>
                  <a:pt x="44" y="4"/>
                  <a:pt x="44" y="4"/>
                </a:cubicBezTo>
                <a:cubicBezTo>
                  <a:pt x="48" y="22"/>
                  <a:pt x="48" y="22"/>
                  <a:pt x="48" y="22"/>
                </a:cubicBezTo>
                <a:cubicBezTo>
                  <a:pt x="22" y="28"/>
                  <a:pt x="22" y="28"/>
                  <a:pt x="22" y="28"/>
                </a:cubicBezTo>
                <a:cubicBezTo>
                  <a:pt x="22" y="55"/>
                  <a:pt x="22" y="55"/>
                  <a:pt x="22" y="55"/>
                </a:cubicBezTo>
                <a:cubicBezTo>
                  <a:pt x="23" y="60"/>
                  <a:pt x="23" y="60"/>
                  <a:pt x="23" y="60"/>
                </a:cubicBezTo>
                <a:cubicBezTo>
                  <a:pt x="23" y="60"/>
                  <a:pt x="23" y="60"/>
                  <a:pt x="23" y="60"/>
                </a:cubicBezTo>
                <a:cubicBezTo>
                  <a:pt x="22" y="60"/>
                  <a:pt x="22" y="60"/>
                  <a:pt x="22" y="60"/>
                </a:cubicBezTo>
                <a:cubicBezTo>
                  <a:pt x="22" y="66"/>
                  <a:pt x="22" y="66"/>
                  <a:pt x="22" y="66"/>
                </a:cubicBezTo>
                <a:cubicBezTo>
                  <a:pt x="24" y="65"/>
                  <a:pt x="24" y="65"/>
                  <a:pt x="24" y="65"/>
                </a:cubicBezTo>
                <a:cubicBezTo>
                  <a:pt x="26" y="71"/>
                  <a:pt x="26" y="71"/>
                  <a:pt x="26" y="71"/>
                </a:cubicBezTo>
                <a:cubicBezTo>
                  <a:pt x="26" y="71"/>
                  <a:pt x="26" y="71"/>
                  <a:pt x="26" y="71"/>
                </a:cubicBezTo>
                <a:cubicBezTo>
                  <a:pt x="22" y="72"/>
                  <a:pt x="22" y="72"/>
                  <a:pt x="22" y="72"/>
                </a:cubicBezTo>
                <a:lnTo>
                  <a:pt x="22" y="76"/>
                </a:lnTo>
                <a:close/>
                <a:moveTo>
                  <a:pt x="16" y="78"/>
                </a:moveTo>
                <a:cubicBezTo>
                  <a:pt x="18" y="77"/>
                  <a:pt x="20" y="76"/>
                  <a:pt x="22" y="76"/>
                </a:cubicBezTo>
                <a:cubicBezTo>
                  <a:pt x="22" y="72"/>
                  <a:pt x="22" y="72"/>
                  <a:pt x="22" y="72"/>
                </a:cubicBezTo>
                <a:cubicBezTo>
                  <a:pt x="19" y="73"/>
                  <a:pt x="19" y="73"/>
                  <a:pt x="19" y="73"/>
                </a:cubicBezTo>
                <a:cubicBezTo>
                  <a:pt x="17" y="67"/>
                  <a:pt x="17" y="67"/>
                  <a:pt x="17" y="67"/>
                </a:cubicBezTo>
                <a:cubicBezTo>
                  <a:pt x="22" y="66"/>
                  <a:pt x="22" y="66"/>
                  <a:pt x="22" y="66"/>
                </a:cubicBezTo>
                <a:cubicBezTo>
                  <a:pt x="22" y="60"/>
                  <a:pt x="22" y="60"/>
                  <a:pt x="22" y="60"/>
                </a:cubicBezTo>
                <a:cubicBezTo>
                  <a:pt x="16" y="62"/>
                  <a:pt x="16" y="62"/>
                  <a:pt x="16" y="62"/>
                </a:cubicBezTo>
                <a:cubicBezTo>
                  <a:pt x="16" y="61"/>
                  <a:pt x="16" y="61"/>
                  <a:pt x="16" y="61"/>
                </a:cubicBezTo>
                <a:cubicBezTo>
                  <a:pt x="16" y="78"/>
                  <a:pt x="16" y="78"/>
                  <a:pt x="16" y="78"/>
                </a:cubicBezTo>
                <a:close/>
                <a:moveTo>
                  <a:pt x="22" y="28"/>
                </a:moveTo>
                <a:cubicBezTo>
                  <a:pt x="20" y="29"/>
                  <a:pt x="20" y="29"/>
                  <a:pt x="20" y="29"/>
                </a:cubicBezTo>
                <a:cubicBezTo>
                  <a:pt x="16" y="12"/>
                  <a:pt x="16" y="12"/>
                  <a:pt x="16" y="12"/>
                </a:cubicBezTo>
                <a:cubicBezTo>
                  <a:pt x="16" y="32"/>
                  <a:pt x="16" y="32"/>
                  <a:pt x="16" y="32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7"/>
                  <a:pt x="17" y="37"/>
                  <a:pt x="17" y="37"/>
                </a:cubicBezTo>
                <a:cubicBezTo>
                  <a:pt x="16" y="37"/>
                  <a:pt x="16" y="37"/>
                  <a:pt x="16" y="37"/>
                </a:cubicBezTo>
                <a:cubicBezTo>
                  <a:pt x="16" y="43"/>
                  <a:pt x="16" y="43"/>
                  <a:pt x="16" y="43"/>
                </a:cubicBezTo>
                <a:cubicBezTo>
                  <a:pt x="19" y="42"/>
                  <a:pt x="19" y="42"/>
                  <a:pt x="19" y="42"/>
                </a:cubicBezTo>
                <a:cubicBezTo>
                  <a:pt x="20" y="49"/>
                  <a:pt x="20" y="49"/>
                  <a:pt x="20" y="49"/>
                </a:cubicBezTo>
                <a:cubicBezTo>
                  <a:pt x="20" y="49"/>
                  <a:pt x="20" y="49"/>
                  <a:pt x="20" y="49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55"/>
                  <a:pt x="16" y="55"/>
                  <a:pt x="16" y="55"/>
                </a:cubicBezTo>
                <a:cubicBezTo>
                  <a:pt x="22" y="54"/>
                  <a:pt x="22" y="54"/>
                  <a:pt x="22" y="54"/>
                </a:cubicBezTo>
                <a:cubicBezTo>
                  <a:pt x="22" y="55"/>
                  <a:pt x="22" y="55"/>
                  <a:pt x="22" y="55"/>
                </a:cubicBezTo>
                <a:lnTo>
                  <a:pt x="22" y="28"/>
                </a:lnTo>
                <a:close/>
                <a:moveTo>
                  <a:pt x="11" y="12"/>
                </a:moveTo>
                <a:cubicBezTo>
                  <a:pt x="12" y="14"/>
                  <a:pt x="12" y="14"/>
                  <a:pt x="12" y="14"/>
                </a:cubicBezTo>
                <a:cubicBezTo>
                  <a:pt x="10" y="15"/>
                  <a:pt x="10" y="15"/>
                  <a:pt x="10" y="15"/>
                </a:cubicBezTo>
                <a:cubicBezTo>
                  <a:pt x="10" y="20"/>
                  <a:pt x="10" y="20"/>
                  <a:pt x="10" y="20"/>
                </a:cubicBezTo>
                <a:cubicBezTo>
                  <a:pt x="13" y="19"/>
                  <a:pt x="13" y="19"/>
                  <a:pt x="13" y="19"/>
                </a:cubicBezTo>
                <a:cubicBezTo>
                  <a:pt x="14" y="26"/>
                  <a:pt x="14" y="26"/>
                  <a:pt x="14" y="26"/>
                </a:cubicBezTo>
                <a:cubicBezTo>
                  <a:pt x="14" y="26"/>
                  <a:pt x="14" y="26"/>
                  <a:pt x="14" y="26"/>
                </a:cubicBezTo>
                <a:cubicBezTo>
                  <a:pt x="10" y="27"/>
                  <a:pt x="10" y="27"/>
                  <a:pt x="10" y="27"/>
                </a:cubicBezTo>
                <a:cubicBezTo>
                  <a:pt x="10" y="32"/>
                  <a:pt x="10" y="32"/>
                  <a:pt x="10" y="32"/>
                </a:cubicBezTo>
                <a:cubicBezTo>
                  <a:pt x="16" y="31"/>
                  <a:pt x="16" y="31"/>
                  <a:pt x="16" y="3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12"/>
                  <a:pt x="16" y="12"/>
                  <a:pt x="16" y="12"/>
                </a:cubicBezTo>
                <a:cubicBezTo>
                  <a:pt x="16" y="11"/>
                  <a:pt x="16" y="11"/>
                  <a:pt x="16" y="11"/>
                </a:cubicBezTo>
                <a:cubicBezTo>
                  <a:pt x="11" y="12"/>
                  <a:pt x="11" y="12"/>
                  <a:pt x="11" y="12"/>
                </a:cubicBezTo>
                <a:close/>
                <a:moveTo>
                  <a:pt x="10" y="56"/>
                </a:moveTo>
                <a:cubicBezTo>
                  <a:pt x="16" y="78"/>
                  <a:pt x="16" y="78"/>
                  <a:pt x="16" y="78"/>
                </a:cubicBezTo>
                <a:cubicBezTo>
                  <a:pt x="16" y="78"/>
                  <a:pt x="16" y="78"/>
                  <a:pt x="16" y="78"/>
                </a:cubicBezTo>
                <a:cubicBezTo>
                  <a:pt x="16" y="61"/>
                  <a:pt x="16" y="61"/>
                  <a:pt x="16" y="61"/>
                </a:cubicBezTo>
                <a:cubicBezTo>
                  <a:pt x="15" y="55"/>
                  <a:pt x="15" y="55"/>
                  <a:pt x="15" y="55"/>
                </a:cubicBezTo>
                <a:cubicBezTo>
                  <a:pt x="16" y="55"/>
                  <a:pt x="16" y="55"/>
                  <a:pt x="16" y="55"/>
                </a:cubicBezTo>
                <a:cubicBezTo>
                  <a:pt x="16" y="50"/>
                  <a:pt x="16" y="50"/>
                  <a:pt x="16" y="50"/>
                </a:cubicBezTo>
                <a:cubicBezTo>
                  <a:pt x="13" y="50"/>
                  <a:pt x="13" y="50"/>
                  <a:pt x="13" y="50"/>
                </a:cubicBezTo>
                <a:cubicBezTo>
                  <a:pt x="12" y="44"/>
                  <a:pt x="12" y="44"/>
                  <a:pt x="12" y="44"/>
                </a:cubicBezTo>
                <a:cubicBezTo>
                  <a:pt x="16" y="43"/>
                  <a:pt x="16" y="43"/>
                  <a:pt x="16" y="43"/>
                </a:cubicBezTo>
                <a:cubicBezTo>
                  <a:pt x="16" y="37"/>
                  <a:pt x="16" y="37"/>
                  <a:pt x="16" y="37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8"/>
                  <a:pt x="10" y="38"/>
                  <a:pt x="10" y="38"/>
                </a:cubicBezTo>
                <a:lnTo>
                  <a:pt x="10" y="56"/>
                </a:lnTo>
                <a:close/>
                <a:moveTo>
                  <a:pt x="10" y="15"/>
                </a:moveTo>
                <a:cubicBezTo>
                  <a:pt x="5" y="16"/>
                  <a:pt x="5" y="16"/>
                  <a:pt x="5" y="16"/>
                </a:cubicBezTo>
                <a:cubicBezTo>
                  <a:pt x="4" y="14"/>
                  <a:pt x="4" y="14"/>
                  <a:pt x="4" y="14"/>
                </a:cubicBezTo>
                <a:cubicBezTo>
                  <a:pt x="0" y="15"/>
                  <a:pt x="0" y="15"/>
                  <a:pt x="0" y="15"/>
                </a:cubicBezTo>
                <a:cubicBezTo>
                  <a:pt x="10" y="56"/>
                  <a:pt x="10" y="56"/>
                  <a:pt x="10" y="56"/>
                </a:cubicBezTo>
                <a:cubicBezTo>
                  <a:pt x="10" y="38"/>
                  <a:pt x="10" y="38"/>
                  <a:pt x="10" y="38"/>
                </a:cubicBezTo>
                <a:cubicBezTo>
                  <a:pt x="9" y="33"/>
                  <a:pt x="9" y="33"/>
                  <a:pt x="9" y="33"/>
                </a:cubicBezTo>
                <a:cubicBezTo>
                  <a:pt x="10" y="32"/>
                  <a:pt x="10" y="32"/>
                  <a:pt x="10" y="32"/>
                </a:cubicBezTo>
                <a:cubicBezTo>
                  <a:pt x="10" y="27"/>
                  <a:pt x="10" y="27"/>
                  <a:pt x="10" y="27"/>
                </a:cubicBezTo>
                <a:cubicBezTo>
                  <a:pt x="8" y="27"/>
                  <a:pt x="8" y="27"/>
                  <a:pt x="8" y="27"/>
                </a:cubicBezTo>
                <a:cubicBezTo>
                  <a:pt x="6" y="21"/>
                  <a:pt x="6" y="21"/>
                  <a:pt x="6" y="21"/>
                </a:cubicBezTo>
                <a:cubicBezTo>
                  <a:pt x="10" y="20"/>
                  <a:pt x="10" y="20"/>
                  <a:pt x="10" y="20"/>
                </a:cubicBezTo>
                <a:lnTo>
                  <a:pt x="10" y="1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2" name="îšliḋè">
            <a:extLst>
              <a:ext uri="{FF2B5EF4-FFF2-40B4-BE49-F238E27FC236}">
                <a16:creationId xmlns:a16="http://schemas.microsoft.com/office/drawing/2014/main" id="{6D0EC955-754F-4CAD-918B-154BFE7C1C4E}"/>
              </a:ext>
            </a:extLst>
          </p:cNvPr>
          <p:cNvSpPr/>
          <p:nvPr/>
        </p:nvSpPr>
        <p:spPr bwMode="auto">
          <a:xfrm>
            <a:off x="8799813" y="5431968"/>
            <a:ext cx="332114" cy="242977"/>
          </a:xfrm>
          <a:custGeom>
            <a:avLst/>
            <a:gdLst>
              <a:gd name="T0" fmla="*/ 16 w 64"/>
              <a:gd name="T1" fmla="*/ 46 h 47"/>
              <a:gd name="T2" fmla="*/ 16 w 64"/>
              <a:gd name="T3" fmla="*/ 16 h 47"/>
              <a:gd name="T4" fmla="*/ 56 w 64"/>
              <a:gd name="T5" fmla="*/ 16 h 47"/>
              <a:gd name="T6" fmla="*/ 56 w 64"/>
              <a:gd name="T7" fmla="*/ 45 h 47"/>
              <a:gd name="T8" fmla="*/ 51 w 64"/>
              <a:gd name="T9" fmla="*/ 44 h 47"/>
              <a:gd name="T10" fmla="*/ 43 w 64"/>
              <a:gd name="T11" fmla="*/ 47 h 47"/>
              <a:gd name="T12" fmla="*/ 64 w 64"/>
              <a:gd name="T13" fmla="*/ 46 h 47"/>
              <a:gd name="T14" fmla="*/ 64 w 64"/>
              <a:gd name="T15" fmla="*/ 16 h 47"/>
              <a:gd name="T16" fmla="*/ 64 w 64"/>
              <a:gd name="T17" fmla="*/ 0 h 47"/>
              <a:gd name="T18" fmla="*/ 56 w 64"/>
              <a:gd name="T19" fmla="*/ 0 h 47"/>
              <a:gd name="T20" fmla="*/ 16 w 64"/>
              <a:gd name="T21" fmla="*/ 0 h 47"/>
              <a:gd name="T22" fmla="*/ 8 w 64"/>
              <a:gd name="T23" fmla="*/ 0 h 47"/>
              <a:gd name="T24" fmla="*/ 8 w 64"/>
              <a:gd name="T25" fmla="*/ 16 h 47"/>
              <a:gd name="T26" fmla="*/ 8 w 64"/>
              <a:gd name="T27" fmla="*/ 45 h 47"/>
              <a:gd name="T28" fmla="*/ 3 w 64"/>
              <a:gd name="T29" fmla="*/ 44 h 47"/>
              <a:gd name="T30" fmla="*/ 0 w 64"/>
              <a:gd name="T31" fmla="*/ 44 h 47"/>
              <a:gd name="T32" fmla="*/ 16 w 64"/>
              <a:gd name="T33" fmla="*/ 46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" h="47">
                <a:moveTo>
                  <a:pt x="16" y="46"/>
                </a:moveTo>
                <a:cubicBezTo>
                  <a:pt x="16" y="16"/>
                  <a:pt x="16" y="16"/>
                  <a:pt x="16" y="16"/>
                </a:cubicBezTo>
                <a:cubicBezTo>
                  <a:pt x="56" y="16"/>
                  <a:pt x="56" y="16"/>
                  <a:pt x="56" y="16"/>
                </a:cubicBezTo>
                <a:cubicBezTo>
                  <a:pt x="56" y="45"/>
                  <a:pt x="56" y="45"/>
                  <a:pt x="56" y="45"/>
                </a:cubicBezTo>
                <a:cubicBezTo>
                  <a:pt x="54" y="44"/>
                  <a:pt x="53" y="44"/>
                  <a:pt x="51" y="44"/>
                </a:cubicBezTo>
                <a:cubicBezTo>
                  <a:pt x="48" y="44"/>
                  <a:pt x="45" y="45"/>
                  <a:pt x="43" y="47"/>
                </a:cubicBezTo>
                <a:cubicBezTo>
                  <a:pt x="50" y="47"/>
                  <a:pt x="57" y="47"/>
                  <a:pt x="64" y="46"/>
                </a:cubicBezTo>
                <a:cubicBezTo>
                  <a:pt x="64" y="16"/>
                  <a:pt x="64" y="16"/>
                  <a:pt x="64" y="16"/>
                </a:cubicBezTo>
                <a:cubicBezTo>
                  <a:pt x="64" y="0"/>
                  <a:pt x="64" y="0"/>
                  <a:pt x="64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45"/>
                  <a:pt x="8" y="45"/>
                  <a:pt x="8" y="45"/>
                </a:cubicBezTo>
                <a:cubicBezTo>
                  <a:pt x="6" y="44"/>
                  <a:pt x="5" y="44"/>
                  <a:pt x="3" y="44"/>
                </a:cubicBezTo>
                <a:cubicBezTo>
                  <a:pt x="2" y="44"/>
                  <a:pt x="1" y="44"/>
                  <a:pt x="0" y="44"/>
                </a:cubicBezTo>
                <a:cubicBezTo>
                  <a:pt x="5" y="45"/>
                  <a:pt x="10" y="46"/>
                  <a:pt x="16" y="4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3" name="ïŝ1íḑè">
            <a:extLst>
              <a:ext uri="{FF2B5EF4-FFF2-40B4-BE49-F238E27FC236}">
                <a16:creationId xmlns:a16="http://schemas.microsoft.com/office/drawing/2014/main" id="{BE7CE6BD-3533-44A9-A6AD-ECD73EF9197A}"/>
              </a:ext>
            </a:extLst>
          </p:cNvPr>
          <p:cNvSpPr/>
          <p:nvPr/>
        </p:nvSpPr>
        <p:spPr bwMode="auto">
          <a:xfrm>
            <a:off x="9898236" y="2960515"/>
            <a:ext cx="320613" cy="186905"/>
          </a:xfrm>
          <a:custGeom>
            <a:avLst/>
            <a:gdLst>
              <a:gd name="T0" fmla="*/ 35 w 62"/>
              <a:gd name="T1" fmla="*/ 0 h 36"/>
              <a:gd name="T2" fmla="*/ 35 w 62"/>
              <a:gd name="T3" fmla="*/ 6 h 36"/>
              <a:gd name="T4" fmla="*/ 0 w 62"/>
              <a:gd name="T5" fmla="*/ 36 h 36"/>
              <a:gd name="T6" fmla="*/ 35 w 62"/>
              <a:gd name="T7" fmla="*/ 29 h 36"/>
              <a:gd name="T8" fmla="*/ 35 w 62"/>
              <a:gd name="T9" fmla="*/ 36 h 36"/>
              <a:gd name="T10" fmla="*/ 62 w 62"/>
              <a:gd name="T11" fmla="*/ 18 h 36"/>
              <a:gd name="T12" fmla="*/ 35 w 62"/>
              <a:gd name="T13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" h="36">
                <a:moveTo>
                  <a:pt x="35" y="0"/>
                </a:moveTo>
                <a:cubicBezTo>
                  <a:pt x="35" y="6"/>
                  <a:pt x="35" y="6"/>
                  <a:pt x="35" y="6"/>
                </a:cubicBezTo>
                <a:cubicBezTo>
                  <a:pt x="4" y="6"/>
                  <a:pt x="0" y="36"/>
                  <a:pt x="0" y="36"/>
                </a:cubicBezTo>
                <a:cubicBezTo>
                  <a:pt x="0" y="36"/>
                  <a:pt x="10" y="29"/>
                  <a:pt x="35" y="29"/>
                </a:cubicBezTo>
                <a:cubicBezTo>
                  <a:pt x="35" y="36"/>
                  <a:pt x="35" y="36"/>
                  <a:pt x="35" y="36"/>
                </a:cubicBezTo>
                <a:cubicBezTo>
                  <a:pt x="62" y="18"/>
                  <a:pt x="62" y="18"/>
                  <a:pt x="62" y="18"/>
                </a:cubicBezTo>
                <a:lnTo>
                  <a:pt x="3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îsḷîḍe">
            <a:extLst>
              <a:ext uri="{FF2B5EF4-FFF2-40B4-BE49-F238E27FC236}">
                <a16:creationId xmlns:a16="http://schemas.microsoft.com/office/drawing/2014/main" id="{45632632-CBE2-42AA-837B-8752047FDBC4}"/>
              </a:ext>
            </a:extLst>
          </p:cNvPr>
          <p:cNvSpPr/>
          <p:nvPr/>
        </p:nvSpPr>
        <p:spPr bwMode="auto">
          <a:xfrm>
            <a:off x="9866606" y="3125854"/>
            <a:ext cx="316300" cy="186905"/>
          </a:xfrm>
          <a:custGeom>
            <a:avLst/>
            <a:gdLst>
              <a:gd name="T0" fmla="*/ 27 w 61"/>
              <a:gd name="T1" fmla="*/ 36 h 36"/>
              <a:gd name="T2" fmla="*/ 27 w 61"/>
              <a:gd name="T3" fmla="*/ 30 h 36"/>
              <a:gd name="T4" fmla="*/ 61 w 61"/>
              <a:gd name="T5" fmla="*/ 0 h 36"/>
              <a:gd name="T6" fmla="*/ 27 w 61"/>
              <a:gd name="T7" fmla="*/ 7 h 36"/>
              <a:gd name="T8" fmla="*/ 27 w 61"/>
              <a:gd name="T9" fmla="*/ 1 h 36"/>
              <a:gd name="T10" fmla="*/ 0 w 61"/>
              <a:gd name="T11" fmla="*/ 19 h 36"/>
              <a:gd name="T12" fmla="*/ 27 w 61"/>
              <a:gd name="T1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" h="36">
                <a:moveTo>
                  <a:pt x="27" y="36"/>
                </a:moveTo>
                <a:cubicBezTo>
                  <a:pt x="27" y="30"/>
                  <a:pt x="27" y="30"/>
                  <a:pt x="27" y="30"/>
                </a:cubicBezTo>
                <a:cubicBezTo>
                  <a:pt x="58" y="30"/>
                  <a:pt x="61" y="0"/>
                  <a:pt x="61" y="0"/>
                </a:cubicBezTo>
                <a:cubicBezTo>
                  <a:pt x="61" y="0"/>
                  <a:pt x="52" y="7"/>
                  <a:pt x="27" y="7"/>
                </a:cubicBezTo>
                <a:cubicBezTo>
                  <a:pt x="27" y="1"/>
                  <a:pt x="27" y="1"/>
                  <a:pt x="27" y="1"/>
                </a:cubicBezTo>
                <a:cubicBezTo>
                  <a:pt x="0" y="19"/>
                  <a:pt x="0" y="19"/>
                  <a:pt x="0" y="19"/>
                </a:cubicBezTo>
                <a:lnTo>
                  <a:pt x="27" y="3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5" name="iŝļïḋé">
            <a:extLst>
              <a:ext uri="{FF2B5EF4-FFF2-40B4-BE49-F238E27FC236}">
                <a16:creationId xmlns:a16="http://schemas.microsoft.com/office/drawing/2014/main" id="{385DC301-5BEA-4348-A670-BE0698F03AF0}"/>
              </a:ext>
            </a:extLst>
          </p:cNvPr>
          <p:cNvSpPr/>
          <p:nvPr/>
        </p:nvSpPr>
        <p:spPr bwMode="auto">
          <a:xfrm>
            <a:off x="10545211" y="4504634"/>
            <a:ext cx="5752" cy="10065"/>
          </a:xfrm>
          <a:custGeom>
            <a:avLst/>
            <a:gdLst>
              <a:gd name="T0" fmla="*/ 0 w 1"/>
              <a:gd name="T1" fmla="*/ 0 h 2"/>
              <a:gd name="T2" fmla="*/ 1 w 1"/>
              <a:gd name="T3" fmla="*/ 2 h 2"/>
              <a:gd name="T4" fmla="*/ 1 w 1"/>
              <a:gd name="T5" fmla="*/ 0 h 2"/>
              <a:gd name="T6" fmla="*/ 0 w 1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2">
                <a:moveTo>
                  <a:pt x="0" y="0"/>
                </a:moveTo>
                <a:cubicBezTo>
                  <a:pt x="0" y="1"/>
                  <a:pt x="1" y="2"/>
                  <a:pt x="1" y="2"/>
                </a:cubicBezTo>
                <a:cubicBezTo>
                  <a:pt x="1" y="2"/>
                  <a:pt x="1" y="1"/>
                  <a:pt x="1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6" name="í$ḻiḍe">
            <a:extLst>
              <a:ext uri="{FF2B5EF4-FFF2-40B4-BE49-F238E27FC236}">
                <a16:creationId xmlns:a16="http://schemas.microsoft.com/office/drawing/2014/main" id="{B59DE9BA-900D-482C-AC84-E26F927778EF}"/>
              </a:ext>
            </a:extLst>
          </p:cNvPr>
          <p:cNvSpPr/>
          <p:nvPr/>
        </p:nvSpPr>
        <p:spPr bwMode="auto">
          <a:xfrm>
            <a:off x="10545211" y="4391054"/>
            <a:ext cx="31629" cy="93453"/>
          </a:xfrm>
          <a:custGeom>
            <a:avLst/>
            <a:gdLst>
              <a:gd name="T0" fmla="*/ 6 w 6"/>
              <a:gd name="T1" fmla="*/ 0 h 18"/>
              <a:gd name="T2" fmla="*/ 0 w 6"/>
              <a:gd name="T3" fmla="*/ 18 h 18"/>
              <a:gd name="T4" fmla="*/ 2 w 6"/>
              <a:gd name="T5" fmla="*/ 18 h 18"/>
              <a:gd name="T6" fmla="*/ 6 w 6"/>
              <a:gd name="T7" fmla="*/ 1 h 18"/>
              <a:gd name="T8" fmla="*/ 6 w 6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8">
                <a:moveTo>
                  <a:pt x="6" y="0"/>
                </a:moveTo>
                <a:cubicBezTo>
                  <a:pt x="3" y="5"/>
                  <a:pt x="1" y="11"/>
                  <a:pt x="0" y="18"/>
                </a:cubicBezTo>
                <a:cubicBezTo>
                  <a:pt x="2" y="18"/>
                  <a:pt x="2" y="18"/>
                  <a:pt x="2" y="18"/>
                </a:cubicBezTo>
                <a:cubicBezTo>
                  <a:pt x="4" y="12"/>
                  <a:pt x="5" y="7"/>
                  <a:pt x="6" y="1"/>
                </a:cubicBezTo>
                <a:cubicBezTo>
                  <a:pt x="6" y="1"/>
                  <a:pt x="6" y="0"/>
                  <a:pt x="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7" name="iŝļîdê">
            <a:extLst>
              <a:ext uri="{FF2B5EF4-FFF2-40B4-BE49-F238E27FC236}">
                <a16:creationId xmlns:a16="http://schemas.microsoft.com/office/drawing/2014/main" id="{2255EEA0-9409-4A2E-B6CE-034C82E49797}"/>
              </a:ext>
            </a:extLst>
          </p:cNvPr>
          <p:cNvSpPr/>
          <p:nvPr/>
        </p:nvSpPr>
        <p:spPr bwMode="auto">
          <a:xfrm>
            <a:off x="10493455" y="4353674"/>
            <a:ext cx="63260" cy="130834"/>
          </a:xfrm>
          <a:custGeom>
            <a:avLst/>
            <a:gdLst>
              <a:gd name="T0" fmla="*/ 0 w 12"/>
              <a:gd name="T1" fmla="*/ 0 h 25"/>
              <a:gd name="T2" fmla="*/ 0 w 12"/>
              <a:gd name="T3" fmla="*/ 25 h 25"/>
              <a:gd name="T4" fmla="*/ 6 w 12"/>
              <a:gd name="T5" fmla="*/ 25 h 25"/>
              <a:gd name="T6" fmla="*/ 12 w 12"/>
              <a:gd name="T7" fmla="*/ 4 h 25"/>
              <a:gd name="T8" fmla="*/ 0 w 12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25">
                <a:moveTo>
                  <a:pt x="0" y="0"/>
                </a:moveTo>
                <a:cubicBezTo>
                  <a:pt x="0" y="25"/>
                  <a:pt x="0" y="25"/>
                  <a:pt x="0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6" y="17"/>
                  <a:pt x="9" y="10"/>
                  <a:pt x="12" y="4"/>
                </a:cubicBezTo>
                <a:cubicBezTo>
                  <a:pt x="9" y="2"/>
                  <a:pt x="4" y="1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ï$ļîḋê">
            <a:extLst>
              <a:ext uri="{FF2B5EF4-FFF2-40B4-BE49-F238E27FC236}">
                <a16:creationId xmlns:a16="http://schemas.microsoft.com/office/drawing/2014/main" id="{9FEB6444-C0E7-4855-A6B7-5363F98EFFFF}"/>
              </a:ext>
            </a:extLst>
          </p:cNvPr>
          <p:cNvSpPr/>
          <p:nvPr/>
        </p:nvSpPr>
        <p:spPr bwMode="auto">
          <a:xfrm>
            <a:off x="10405752" y="4504634"/>
            <a:ext cx="61822" cy="129395"/>
          </a:xfrm>
          <a:custGeom>
            <a:avLst/>
            <a:gdLst>
              <a:gd name="T0" fmla="*/ 12 w 12"/>
              <a:gd name="T1" fmla="*/ 25 h 25"/>
              <a:gd name="T2" fmla="*/ 12 w 12"/>
              <a:gd name="T3" fmla="*/ 0 h 25"/>
              <a:gd name="T4" fmla="*/ 6 w 12"/>
              <a:gd name="T5" fmla="*/ 0 h 25"/>
              <a:gd name="T6" fmla="*/ 0 w 12"/>
              <a:gd name="T7" fmla="*/ 21 h 25"/>
              <a:gd name="T8" fmla="*/ 12 w 12"/>
              <a:gd name="T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25">
                <a:moveTo>
                  <a:pt x="12" y="25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9"/>
                  <a:pt x="3" y="16"/>
                  <a:pt x="0" y="21"/>
                </a:cubicBezTo>
                <a:cubicBezTo>
                  <a:pt x="3" y="23"/>
                  <a:pt x="8" y="25"/>
                  <a:pt x="12" y="2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9" name="ïṣ1iḋe">
            <a:extLst>
              <a:ext uri="{FF2B5EF4-FFF2-40B4-BE49-F238E27FC236}">
                <a16:creationId xmlns:a16="http://schemas.microsoft.com/office/drawing/2014/main" id="{E486702E-C0B7-4AB3-A533-D3BC1A55DA26}"/>
              </a:ext>
            </a:extLst>
          </p:cNvPr>
          <p:cNvSpPr/>
          <p:nvPr/>
        </p:nvSpPr>
        <p:spPr bwMode="auto">
          <a:xfrm>
            <a:off x="10405752" y="4353674"/>
            <a:ext cx="61822" cy="130834"/>
          </a:xfrm>
          <a:custGeom>
            <a:avLst/>
            <a:gdLst>
              <a:gd name="T0" fmla="*/ 6 w 12"/>
              <a:gd name="T1" fmla="*/ 25 h 25"/>
              <a:gd name="T2" fmla="*/ 12 w 12"/>
              <a:gd name="T3" fmla="*/ 25 h 25"/>
              <a:gd name="T4" fmla="*/ 12 w 12"/>
              <a:gd name="T5" fmla="*/ 0 h 25"/>
              <a:gd name="T6" fmla="*/ 0 w 12"/>
              <a:gd name="T7" fmla="*/ 5 h 25"/>
              <a:gd name="T8" fmla="*/ 6 w 12"/>
              <a:gd name="T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25">
                <a:moveTo>
                  <a:pt x="6" y="25"/>
                </a:moveTo>
                <a:cubicBezTo>
                  <a:pt x="12" y="25"/>
                  <a:pt x="12" y="25"/>
                  <a:pt x="12" y="25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1"/>
                  <a:pt x="3" y="2"/>
                  <a:pt x="0" y="5"/>
                </a:cubicBezTo>
                <a:cubicBezTo>
                  <a:pt x="3" y="10"/>
                  <a:pt x="6" y="17"/>
                  <a:pt x="6" y="2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0" name="iṣ1íḍe">
            <a:extLst>
              <a:ext uri="{FF2B5EF4-FFF2-40B4-BE49-F238E27FC236}">
                <a16:creationId xmlns:a16="http://schemas.microsoft.com/office/drawing/2014/main" id="{9A3417E6-77D2-45C1-8BA4-3A4E8C174DA1}"/>
              </a:ext>
            </a:extLst>
          </p:cNvPr>
          <p:cNvSpPr/>
          <p:nvPr/>
        </p:nvSpPr>
        <p:spPr bwMode="auto">
          <a:xfrm>
            <a:off x="10343931" y="4504634"/>
            <a:ext cx="71887" cy="93453"/>
          </a:xfrm>
          <a:custGeom>
            <a:avLst/>
            <a:gdLst>
              <a:gd name="T0" fmla="*/ 8 w 14"/>
              <a:gd name="T1" fmla="*/ 18 h 18"/>
              <a:gd name="T2" fmla="*/ 14 w 14"/>
              <a:gd name="T3" fmla="*/ 0 h 18"/>
              <a:gd name="T4" fmla="*/ 0 w 14"/>
              <a:gd name="T5" fmla="*/ 0 h 18"/>
              <a:gd name="T6" fmla="*/ 8 w 14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18">
                <a:moveTo>
                  <a:pt x="8" y="18"/>
                </a:moveTo>
                <a:cubicBezTo>
                  <a:pt x="11" y="14"/>
                  <a:pt x="13" y="7"/>
                  <a:pt x="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7"/>
                  <a:pt x="3" y="13"/>
                  <a:pt x="8" y="1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1" name="ïṣļîḓê">
            <a:extLst>
              <a:ext uri="{FF2B5EF4-FFF2-40B4-BE49-F238E27FC236}">
                <a16:creationId xmlns:a16="http://schemas.microsoft.com/office/drawing/2014/main" id="{B6BCBBCD-9B3E-4A05-9D31-6156EBC0B302}"/>
              </a:ext>
            </a:extLst>
          </p:cNvPr>
          <p:cNvSpPr/>
          <p:nvPr/>
        </p:nvSpPr>
        <p:spPr bwMode="auto">
          <a:xfrm>
            <a:off x="10343931" y="4391054"/>
            <a:ext cx="71887" cy="93453"/>
          </a:xfrm>
          <a:custGeom>
            <a:avLst/>
            <a:gdLst>
              <a:gd name="T0" fmla="*/ 8 w 14"/>
              <a:gd name="T1" fmla="*/ 0 h 18"/>
              <a:gd name="T2" fmla="*/ 0 w 14"/>
              <a:gd name="T3" fmla="*/ 18 h 18"/>
              <a:gd name="T4" fmla="*/ 14 w 14"/>
              <a:gd name="T5" fmla="*/ 18 h 18"/>
              <a:gd name="T6" fmla="*/ 8 w 14"/>
              <a:gd name="T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18">
                <a:moveTo>
                  <a:pt x="8" y="0"/>
                </a:moveTo>
                <a:cubicBezTo>
                  <a:pt x="3" y="5"/>
                  <a:pt x="0" y="11"/>
                  <a:pt x="0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3" y="11"/>
                  <a:pt x="11" y="5"/>
                  <a:pt x="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2" name="íŝlïḋê">
            <a:extLst>
              <a:ext uri="{FF2B5EF4-FFF2-40B4-BE49-F238E27FC236}">
                <a16:creationId xmlns:a16="http://schemas.microsoft.com/office/drawing/2014/main" id="{2C63DE64-4FE0-4175-A9FB-C20245F1D3F6}"/>
              </a:ext>
            </a:extLst>
          </p:cNvPr>
          <p:cNvSpPr/>
          <p:nvPr/>
        </p:nvSpPr>
        <p:spPr bwMode="auto">
          <a:xfrm>
            <a:off x="10493455" y="4504634"/>
            <a:ext cx="41694" cy="129395"/>
          </a:xfrm>
          <a:custGeom>
            <a:avLst/>
            <a:gdLst>
              <a:gd name="T0" fmla="*/ 0 w 8"/>
              <a:gd name="T1" fmla="*/ 25 h 25"/>
              <a:gd name="T2" fmla="*/ 3 w 8"/>
              <a:gd name="T3" fmla="*/ 25 h 25"/>
              <a:gd name="T4" fmla="*/ 8 w 8"/>
              <a:gd name="T5" fmla="*/ 11 h 25"/>
              <a:gd name="T6" fmla="*/ 6 w 8"/>
              <a:gd name="T7" fmla="*/ 0 h 25"/>
              <a:gd name="T8" fmla="*/ 0 w 8"/>
              <a:gd name="T9" fmla="*/ 0 h 25"/>
              <a:gd name="T10" fmla="*/ 0 w 8"/>
              <a:gd name="T1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25">
                <a:moveTo>
                  <a:pt x="0" y="25"/>
                </a:moveTo>
                <a:cubicBezTo>
                  <a:pt x="1" y="25"/>
                  <a:pt x="2" y="25"/>
                  <a:pt x="3" y="25"/>
                </a:cubicBezTo>
                <a:cubicBezTo>
                  <a:pt x="5" y="20"/>
                  <a:pt x="6" y="16"/>
                  <a:pt x="8" y="11"/>
                </a:cubicBezTo>
                <a:cubicBezTo>
                  <a:pt x="7" y="8"/>
                  <a:pt x="6" y="4"/>
                  <a:pt x="6" y="0"/>
                </a:cubicBezTo>
                <a:cubicBezTo>
                  <a:pt x="0" y="0"/>
                  <a:pt x="0" y="0"/>
                  <a:pt x="0" y="0"/>
                </a:cubicBezTo>
                <a:lnTo>
                  <a:pt x="0" y="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3" name="ï$ḻïḑè">
            <a:extLst>
              <a:ext uri="{FF2B5EF4-FFF2-40B4-BE49-F238E27FC236}">
                <a16:creationId xmlns:a16="http://schemas.microsoft.com/office/drawing/2014/main" id="{DB131BCA-E519-4802-9C46-D3A833E5AE71}"/>
              </a:ext>
            </a:extLst>
          </p:cNvPr>
          <p:cNvSpPr/>
          <p:nvPr/>
        </p:nvSpPr>
        <p:spPr bwMode="auto">
          <a:xfrm>
            <a:off x="9209565" y="4898572"/>
            <a:ext cx="71887" cy="7188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4" name="íṣľîďé">
            <a:extLst>
              <a:ext uri="{FF2B5EF4-FFF2-40B4-BE49-F238E27FC236}">
                <a16:creationId xmlns:a16="http://schemas.microsoft.com/office/drawing/2014/main" id="{041C1C95-C355-4C95-A9BA-51F7780180E0}"/>
              </a:ext>
            </a:extLst>
          </p:cNvPr>
          <p:cNvSpPr/>
          <p:nvPr/>
        </p:nvSpPr>
        <p:spPr bwMode="auto">
          <a:xfrm>
            <a:off x="8929208" y="5111355"/>
            <a:ext cx="155275" cy="155275"/>
          </a:xfrm>
          <a:custGeom>
            <a:avLst/>
            <a:gdLst>
              <a:gd name="T0" fmla="*/ 15 w 30"/>
              <a:gd name="T1" fmla="*/ 30 h 30"/>
              <a:gd name="T2" fmla="*/ 30 w 30"/>
              <a:gd name="T3" fmla="*/ 15 h 30"/>
              <a:gd name="T4" fmla="*/ 15 w 30"/>
              <a:gd name="T5" fmla="*/ 0 h 30"/>
              <a:gd name="T6" fmla="*/ 15 w 30"/>
              <a:gd name="T7" fmla="*/ 7 h 30"/>
              <a:gd name="T8" fmla="*/ 23 w 30"/>
              <a:gd name="T9" fmla="*/ 15 h 30"/>
              <a:gd name="T10" fmla="*/ 15 w 30"/>
              <a:gd name="T11" fmla="*/ 23 h 30"/>
              <a:gd name="T12" fmla="*/ 15 w 30"/>
              <a:gd name="T13" fmla="*/ 30 h 30"/>
              <a:gd name="T14" fmla="*/ 15 w 30"/>
              <a:gd name="T15" fmla="*/ 0 h 30"/>
              <a:gd name="T16" fmla="*/ 0 w 30"/>
              <a:gd name="T17" fmla="*/ 15 h 30"/>
              <a:gd name="T18" fmla="*/ 15 w 30"/>
              <a:gd name="T19" fmla="*/ 30 h 30"/>
              <a:gd name="T20" fmla="*/ 15 w 30"/>
              <a:gd name="T21" fmla="*/ 30 h 30"/>
              <a:gd name="T22" fmla="*/ 15 w 30"/>
              <a:gd name="T23" fmla="*/ 23 h 30"/>
              <a:gd name="T24" fmla="*/ 15 w 30"/>
              <a:gd name="T25" fmla="*/ 23 h 30"/>
              <a:gd name="T26" fmla="*/ 15 w 30"/>
              <a:gd name="T27" fmla="*/ 23 h 30"/>
              <a:gd name="T28" fmla="*/ 7 w 30"/>
              <a:gd name="T29" fmla="*/ 15 h 30"/>
              <a:gd name="T30" fmla="*/ 15 w 30"/>
              <a:gd name="T31" fmla="*/ 7 h 30"/>
              <a:gd name="T32" fmla="*/ 15 w 30"/>
              <a:gd name="T33" fmla="*/ 7 h 30"/>
              <a:gd name="T34" fmla="*/ 15 w 30"/>
              <a:gd name="T3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0" h="30">
                <a:moveTo>
                  <a:pt x="15" y="30"/>
                </a:moveTo>
                <a:cubicBezTo>
                  <a:pt x="23" y="30"/>
                  <a:pt x="30" y="23"/>
                  <a:pt x="30" y="15"/>
                </a:cubicBezTo>
                <a:cubicBezTo>
                  <a:pt x="30" y="7"/>
                  <a:pt x="23" y="0"/>
                  <a:pt x="15" y="0"/>
                </a:cubicBezTo>
                <a:cubicBezTo>
                  <a:pt x="15" y="7"/>
                  <a:pt x="15" y="7"/>
                  <a:pt x="15" y="7"/>
                </a:cubicBezTo>
                <a:cubicBezTo>
                  <a:pt x="19" y="7"/>
                  <a:pt x="23" y="10"/>
                  <a:pt x="23" y="15"/>
                </a:cubicBezTo>
                <a:cubicBezTo>
                  <a:pt x="23" y="20"/>
                  <a:pt x="19" y="23"/>
                  <a:pt x="15" y="23"/>
                </a:cubicBezTo>
                <a:lnTo>
                  <a:pt x="15" y="30"/>
                </a:lnTo>
                <a:close/>
                <a:moveTo>
                  <a:pt x="15" y="0"/>
                </a:moveTo>
                <a:cubicBezTo>
                  <a:pt x="7" y="0"/>
                  <a:pt x="0" y="7"/>
                  <a:pt x="0" y="15"/>
                </a:cubicBezTo>
                <a:cubicBezTo>
                  <a:pt x="0" y="23"/>
                  <a:pt x="7" y="30"/>
                  <a:pt x="15" y="30"/>
                </a:cubicBezTo>
                <a:cubicBezTo>
                  <a:pt x="15" y="30"/>
                  <a:pt x="15" y="30"/>
                  <a:pt x="15" y="30"/>
                </a:cubicBezTo>
                <a:cubicBezTo>
                  <a:pt x="15" y="23"/>
                  <a:pt x="15" y="23"/>
                  <a:pt x="15" y="23"/>
                </a:cubicBezTo>
                <a:cubicBezTo>
                  <a:pt x="15" y="23"/>
                  <a:pt x="15" y="23"/>
                  <a:pt x="15" y="23"/>
                </a:cubicBezTo>
                <a:cubicBezTo>
                  <a:pt x="15" y="23"/>
                  <a:pt x="15" y="23"/>
                  <a:pt x="15" y="23"/>
                </a:cubicBezTo>
                <a:cubicBezTo>
                  <a:pt x="10" y="23"/>
                  <a:pt x="7" y="20"/>
                  <a:pt x="7" y="15"/>
                </a:cubicBezTo>
                <a:cubicBezTo>
                  <a:pt x="7" y="10"/>
                  <a:pt x="10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0"/>
                  <a:pt x="15" y="0"/>
                  <a:pt x="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5" name="î$ḻïdê">
            <a:extLst>
              <a:ext uri="{FF2B5EF4-FFF2-40B4-BE49-F238E27FC236}">
                <a16:creationId xmlns:a16="http://schemas.microsoft.com/office/drawing/2014/main" id="{FEDA4377-5669-4E3E-A09B-C7C3EE24AE59}"/>
              </a:ext>
            </a:extLst>
          </p:cNvPr>
          <p:cNvSpPr/>
          <p:nvPr/>
        </p:nvSpPr>
        <p:spPr bwMode="auto">
          <a:xfrm>
            <a:off x="8913393" y="5073974"/>
            <a:ext cx="186905" cy="67573"/>
          </a:xfrm>
          <a:custGeom>
            <a:avLst/>
            <a:gdLst>
              <a:gd name="T0" fmla="*/ 3 w 36"/>
              <a:gd name="T1" fmla="*/ 13 h 13"/>
              <a:gd name="T2" fmla="*/ 5 w 36"/>
              <a:gd name="T3" fmla="*/ 12 h 13"/>
              <a:gd name="T4" fmla="*/ 18 w 36"/>
              <a:gd name="T5" fmla="*/ 4 h 13"/>
              <a:gd name="T6" fmla="*/ 31 w 36"/>
              <a:gd name="T7" fmla="*/ 12 h 13"/>
              <a:gd name="T8" fmla="*/ 35 w 36"/>
              <a:gd name="T9" fmla="*/ 12 h 13"/>
              <a:gd name="T10" fmla="*/ 35 w 36"/>
              <a:gd name="T11" fmla="*/ 9 h 13"/>
              <a:gd name="T12" fmla="*/ 18 w 36"/>
              <a:gd name="T13" fmla="*/ 0 h 13"/>
              <a:gd name="T14" fmla="*/ 1 w 36"/>
              <a:gd name="T15" fmla="*/ 9 h 13"/>
              <a:gd name="T16" fmla="*/ 1 w 36"/>
              <a:gd name="T17" fmla="*/ 12 h 13"/>
              <a:gd name="T18" fmla="*/ 3 w 36"/>
              <a:gd name="T19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" h="13">
                <a:moveTo>
                  <a:pt x="3" y="13"/>
                </a:moveTo>
                <a:cubicBezTo>
                  <a:pt x="3" y="13"/>
                  <a:pt x="4" y="12"/>
                  <a:pt x="5" y="12"/>
                </a:cubicBezTo>
                <a:cubicBezTo>
                  <a:pt x="8" y="7"/>
                  <a:pt x="13" y="4"/>
                  <a:pt x="18" y="4"/>
                </a:cubicBezTo>
                <a:cubicBezTo>
                  <a:pt x="23" y="4"/>
                  <a:pt x="28" y="7"/>
                  <a:pt x="31" y="12"/>
                </a:cubicBezTo>
                <a:cubicBezTo>
                  <a:pt x="32" y="13"/>
                  <a:pt x="34" y="13"/>
                  <a:pt x="35" y="12"/>
                </a:cubicBezTo>
                <a:cubicBezTo>
                  <a:pt x="36" y="11"/>
                  <a:pt x="36" y="10"/>
                  <a:pt x="35" y="9"/>
                </a:cubicBezTo>
                <a:cubicBezTo>
                  <a:pt x="31" y="3"/>
                  <a:pt x="25" y="0"/>
                  <a:pt x="18" y="0"/>
                </a:cubicBezTo>
                <a:cubicBezTo>
                  <a:pt x="11" y="0"/>
                  <a:pt x="5" y="3"/>
                  <a:pt x="1" y="9"/>
                </a:cubicBezTo>
                <a:cubicBezTo>
                  <a:pt x="0" y="10"/>
                  <a:pt x="0" y="11"/>
                  <a:pt x="1" y="12"/>
                </a:cubicBezTo>
                <a:cubicBezTo>
                  <a:pt x="2" y="12"/>
                  <a:pt x="2" y="13"/>
                  <a:pt x="3" y="1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6" name="iṧlíḑé">
            <a:extLst>
              <a:ext uri="{FF2B5EF4-FFF2-40B4-BE49-F238E27FC236}">
                <a16:creationId xmlns:a16="http://schemas.microsoft.com/office/drawing/2014/main" id="{A2195A57-2F85-47DA-B5F5-4CB922D9834B}"/>
              </a:ext>
            </a:extLst>
          </p:cNvPr>
          <p:cNvSpPr/>
          <p:nvPr/>
        </p:nvSpPr>
        <p:spPr bwMode="auto">
          <a:xfrm>
            <a:off x="9213878" y="5111355"/>
            <a:ext cx="155275" cy="155275"/>
          </a:xfrm>
          <a:custGeom>
            <a:avLst/>
            <a:gdLst>
              <a:gd name="T0" fmla="*/ 15 w 30"/>
              <a:gd name="T1" fmla="*/ 0 h 30"/>
              <a:gd name="T2" fmla="*/ 15 w 30"/>
              <a:gd name="T3" fmla="*/ 0 h 30"/>
              <a:gd name="T4" fmla="*/ 15 w 30"/>
              <a:gd name="T5" fmla="*/ 7 h 30"/>
              <a:gd name="T6" fmla="*/ 15 w 30"/>
              <a:gd name="T7" fmla="*/ 7 h 30"/>
              <a:gd name="T8" fmla="*/ 23 w 30"/>
              <a:gd name="T9" fmla="*/ 15 h 30"/>
              <a:gd name="T10" fmla="*/ 15 w 30"/>
              <a:gd name="T11" fmla="*/ 23 h 30"/>
              <a:gd name="T12" fmla="*/ 15 w 30"/>
              <a:gd name="T13" fmla="*/ 23 h 30"/>
              <a:gd name="T14" fmla="*/ 15 w 30"/>
              <a:gd name="T15" fmla="*/ 23 h 30"/>
              <a:gd name="T16" fmla="*/ 15 w 30"/>
              <a:gd name="T17" fmla="*/ 30 h 30"/>
              <a:gd name="T18" fmla="*/ 15 w 30"/>
              <a:gd name="T19" fmla="*/ 30 h 30"/>
              <a:gd name="T20" fmla="*/ 30 w 30"/>
              <a:gd name="T21" fmla="*/ 15 h 30"/>
              <a:gd name="T22" fmla="*/ 15 w 30"/>
              <a:gd name="T23" fmla="*/ 0 h 30"/>
              <a:gd name="T24" fmla="*/ 15 w 30"/>
              <a:gd name="T25" fmla="*/ 0 h 30"/>
              <a:gd name="T26" fmla="*/ 0 w 30"/>
              <a:gd name="T27" fmla="*/ 15 h 30"/>
              <a:gd name="T28" fmla="*/ 15 w 30"/>
              <a:gd name="T29" fmla="*/ 30 h 30"/>
              <a:gd name="T30" fmla="*/ 15 w 30"/>
              <a:gd name="T31" fmla="*/ 23 h 30"/>
              <a:gd name="T32" fmla="*/ 7 w 30"/>
              <a:gd name="T33" fmla="*/ 15 h 30"/>
              <a:gd name="T34" fmla="*/ 15 w 30"/>
              <a:gd name="T35" fmla="*/ 7 h 30"/>
              <a:gd name="T36" fmla="*/ 15 w 30"/>
              <a:gd name="T3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0" h="30">
                <a:moveTo>
                  <a:pt x="15" y="0"/>
                </a:moveTo>
                <a:cubicBezTo>
                  <a:pt x="15" y="0"/>
                  <a:pt x="15" y="0"/>
                  <a:pt x="15" y="0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9" y="7"/>
                  <a:pt x="23" y="10"/>
                  <a:pt x="23" y="15"/>
                </a:cubicBezTo>
                <a:cubicBezTo>
                  <a:pt x="23" y="20"/>
                  <a:pt x="19" y="23"/>
                  <a:pt x="15" y="23"/>
                </a:cubicBezTo>
                <a:cubicBezTo>
                  <a:pt x="15" y="23"/>
                  <a:pt x="15" y="23"/>
                  <a:pt x="15" y="23"/>
                </a:cubicBezTo>
                <a:cubicBezTo>
                  <a:pt x="15" y="23"/>
                  <a:pt x="15" y="23"/>
                  <a:pt x="15" y="23"/>
                </a:cubicBezTo>
                <a:cubicBezTo>
                  <a:pt x="15" y="30"/>
                  <a:pt x="15" y="30"/>
                  <a:pt x="15" y="30"/>
                </a:cubicBezTo>
                <a:cubicBezTo>
                  <a:pt x="15" y="30"/>
                  <a:pt x="15" y="30"/>
                  <a:pt x="15" y="30"/>
                </a:cubicBezTo>
                <a:cubicBezTo>
                  <a:pt x="23" y="30"/>
                  <a:pt x="30" y="23"/>
                  <a:pt x="30" y="15"/>
                </a:cubicBezTo>
                <a:cubicBezTo>
                  <a:pt x="30" y="7"/>
                  <a:pt x="23" y="0"/>
                  <a:pt x="15" y="0"/>
                </a:cubicBezTo>
                <a:close/>
                <a:moveTo>
                  <a:pt x="15" y="0"/>
                </a:moveTo>
                <a:cubicBezTo>
                  <a:pt x="6" y="0"/>
                  <a:pt x="0" y="7"/>
                  <a:pt x="0" y="15"/>
                </a:cubicBezTo>
                <a:cubicBezTo>
                  <a:pt x="0" y="23"/>
                  <a:pt x="6" y="30"/>
                  <a:pt x="15" y="30"/>
                </a:cubicBezTo>
                <a:cubicBezTo>
                  <a:pt x="15" y="23"/>
                  <a:pt x="15" y="23"/>
                  <a:pt x="15" y="23"/>
                </a:cubicBezTo>
                <a:cubicBezTo>
                  <a:pt x="10" y="23"/>
                  <a:pt x="7" y="20"/>
                  <a:pt x="7" y="15"/>
                </a:cubicBezTo>
                <a:cubicBezTo>
                  <a:pt x="7" y="10"/>
                  <a:pt x="10" y="7"/>
                  <a:pt x="15" y="7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7" name="íṩľîdé">
            <a:extLst>
              <a:ext uri="{FF2B5EF4-FFF2-40B4-BE49-F238E27FC236}">
                <a16:creationId xmlns:a16="http://schemas.microsoft.com/office/drawing/2014/main" id="{BEDC4899-063C-4E00-9D37-C134F2E10A7C}"/>
              </a:ext>
            </a:extLst>
          </p:cNvPr>
          <p:cNvSpPr/>
          <p:nvPr/>
        </p:nvSpPr>
        <p:spPr bwMode="auto">
          <a:xfrm>
            <a:off x="9198063" y="5073974"/>
            <a:ext cx="186905" cy="67573"/>
          </a:xfrm>
          <a:custGeom>
            <a:avLst/>
            <a:gdLst>
              <a:gd name="T0" fmla="*/ 18 w 36"/>
              <a:gd name="T1" fmla="*/ 0 h 13"/>
              <a:gd name="T2" fmla="*/ 1 w 36"/>
              <a:gd name="T3" fmla="*/ 9 h 13"/>
              <a:gd name="T4" fmla="*/ 1 w 36"/>
              <a:gd name="T5" fmla="*/ 12 h 13"/>
              <a:gd name="T6" fmla="*/ 3 w 36"/>
              <a:gd name="T7" fmla="*/ 13 h 13"/>
              <a:gd name="T8" fmla="*/ 4 w 36"/>
              <a:gd name="T9" fmla="*/ 12 h 13"/>
              <a:gd name="T10" fmla="*/ 18 w 36"/>
              <a:gd name="T11" fmla="*/ 4 h 13"/>
              <a:gd name="T12" fmla="*/ 31 w 36"/>
              <a:gd name="T13" fmla="*/ 12 h 13"/>
              <a:gd name="T14" fmla="*/ 35 w 36"/>
              <a:gd name="T15" fmla="*/ 12 h 13"/>
              <a:gd name="T16" fmla="*/ 35 w 36"/>
              <a:gd name="T17" fmla="*/ 9 h 13"/>
              <a:gd name="T18" fmla="*/ 18 w 36"/>
              <a:gd name="T1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" h="13">
                <a:moveTo>
                  <a:pt x="18" y="0"/>
                </a:moveTo>
                <a:cubicBezTo>
                  <a:pt x="11" y="0"/>
                  <a:pt x="4" y="3"/>
                  <a:pt x="1" y="9"/>
                </a:cubicBezTo>
                <a:cubicBezTo>
                  <a:pt x="0" y="10"/>
                  <a:pt x="0" y="11"/>
                  <a:pt x="1" y="12"/>
                </a:cubicBezTo>
                <a:cubicBezTo>
                  <a:pt x="2" y="12"/>
                  <a:pt x="2" y="13"/>
                  <a:pt x="3" y="13"/>
                </a:cubicBezTo>
                <a:cubicBezTo>
                  <a:pt x="3" y="13"/>
                  <a:pt x="4" y="12"/>
                  <a:pt x="4" y="12"/>
                </a:cubicBezTo>
                <a:cubicBezTo>
                  <a:pt x="7" y="7"/>
                  <a:pt x="12" y="4"/>
                  <a:pt x="18" y="4"/>
                </a:cubicBezTo>
                <a:cubicBezTo>
                  <a:pt x="23" y="4"/>
                  <a:pt x="28" y="7"/>
                  <a:pt x="31" y="12"/>
                </a:cubicBezTo>
                <a:cubicBezTo>
                  <a:pt x="32" y="13"/>
                  <a:pt x="33" y="13"/>
                  <a:pt x="35" y="12"/>
                </a:cubicBezTo>
                <a:cubicBezTo>
                  <a:pt x="36" y="11"/>
                  <a:pt x="36" y="10"/>
                  <a:pt x="35" y="9"/>
                </a:cubicBezTo>
                <a:cubicBezTo>
                  <a:pt x="31" y="3"/>
                  <a:pt x="25" y="0"/>
                  <a:pt x="1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8" name="îşľíḋe">
            <a:extLst>
              <a:ext uri="{FF2B5EF4-FFF2-40B4-BE49-F238E27FC236}">
                <a16:creationId xmlns:a16="http://schemas.microsoft.com/office/drawing/2014/main" id="{B3150F97-8A8A-4404-836D-D6934725BACB}"/>
              </a:ext>
            </a:extLst>
          </p:cNvPr>
          <p:cNvSpPr/>
          <p:nvPr/>
        </p:nvSpPr>
        <p:spPr bwMode="auto">
          <a:xfrm>
            <a:off x="9058603" y="4940266"/>
            <a:ext cx="274606" cy="320613"/>
          </a:xfrm>
          <a:custGeom>
            <a:avLst/>
            <a:gdLst>
              <a:gd name="T0" fmla="*/ 36 w 53"/>
              <a:gd name="T1" fmla="*/ 22 h 62"/>
              <a:gd name="T2" fmla="*/ 37 w 53"/>
              <a:gd name="T3" fmla="*/ 23 h 62"/>
              <a:gd name="T4" fmla="*/ 51 w 53"/>
              <a:gd name="T5" fmla="*/ 17 h 62"/>
              <a:gd name="T6" fmla="*/ 53 w 53"/>
              <a:gd name="T7" fmla="*/ 12 h 62"/>
              <a:gd name="T8" fmla="*/ 48 w 53"/>
              <a:gd name="T9" fmla="*/ 11 h 62"/>
              <a:gd name="T10" fmla="*/ 39 w 53"/>
              <a:gd name="T11" fmla="*/ 15 h 62"/>
              <a:gd name="T12" fmla="*/ 38 w 53"/>
              <a:gd name="T13" fmla="*/ 15 h 62"/>
              <a:gd name="T14" fmla="*/ 23 w 53"/>
              <a:gd name="T15" fmla="*/ 0 h 62"/>
              <a:gd name="T16" fmla="*/ 21 w 53"/>
              <a:gd name="T17" fmla="*/ 0 h 62"/>
              <a:gd name="T18" fmla="*/ 0 w 53"/>
              <a:gd name="T19" fmla="*/ 21 h 62"/>
              <a:gd name="T20" fmla="*/ 0 w 53"/>
              <a:gd name="T21" fmla="*/ 22 h 62"/>
              <a:gd name="T22" fmla="*/ 15 w 53"/>
              <a:gd name="T23" fmla="*/ 35 h 62"/>
              <a:gd name="T24" fmla="*/ 15 w 53"/>
              <a:gd name="T25" fmla="*/ 36 h 62"/>
              <a:gd name="T26" fmla="*/ 8 w 53"/>
              <a:gd name="T27" fmla="*/ 52 h 62"/>
              <a:gd name="T28" fmla="*/ 8 w 53"/>
              <a:gd name="T29" fmla="*/ 54 h 62"/>
              <a:gd name="T30" fmla="*/ 13 w 53"/>
              <a:gd name="T31" fmla="*/ 60 h 62"/>
              <a:gd name="T32" fmla="*/ 16 w 53"/>
              <a:gd name="T33" fmla="*/ 62 h 62"/>
              <a:gd name="T34" fmla="*/ 19 w 53"/>
              <a:gd name="T35" fmla="*/ 61 h 62"/>
              <a:gd name="T36" fmla="*/ 20 w 53"/>
              <a:gd name="T37" fmla="*/ 55 h 62"/>
              <a:gd name="T38" fmla="*/ 18 w 53"/>
              <a:gd name="T39" fmla="*/ 53 h 62"/>
              <a:gd name="T40" fmla="*/ 18 w 53"/>
              <a:gd name="T41" fmla="*/ 51 h 62"/>
              <a:gd name="T42" fmla="*/ 25 w 53"/>
              <a:gd name="T43" fmla="*/ 34 h 62"/>
              <a:gd name="T44" fmla="*/ 25 w 53"/>
              <a:gd name="T45" fmla="*/ 32 h 62"/>
              <a:gd name="T46" fmla="*/ 17 w 53"/>
              <a:gd name="T47" fmla="*/ 25 h 62"/>
              <a:gd name="T48" fmla="*/ 17 w 53"/>
              <a:gd name="T49" fmla="*/ 23 h 62"/>
              <a:gd name="T50" fmla="*/ 26 w 53"/>
              <a:gd name="T51" fmla="*/ 14 h 62"/>
              <a:gd name="T52" fmla="*/ 27 w 53"/>
              <a:gd name="T53" fmla="*/ 15 h 62"/>
              <a:gd name="T54" fmla="*/ 36 w 53"/>
              <a:gd name="T55" fmla="*/ 2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3" h="62">
                <a:moveTo>
                  <a:pt x="36" y="22"/>
                </a:moveTo>
                <a:cubicBezTo>
                  <a:pt x="36" y="23"/>
                  <a:pt x="37" y="23"/>
                  <a:pt x="37" y="23"/>
                </a:cubicBezTo>
                <a:cubicBezTo>
                  <a:pt x="51" y="17"/>
                  <a:pt x="51" y="17"/>
                  <a:pt x="51" y="17"/>
                </a:cubicBezTo>
                <a:cubicBezTo>
                  <a:pt x="53" y="16"/>
                  <a:pt x="53" y="14"/>
                  <a:pt x="53" y="12"/>
                </a:cubicBezTo>
                <a:cubicBezTo>
                  <a:pt x="52" y="11"/>
                  <a:pt x="50" y="10"/>
                  <a:pt x="48" y="11"/>
                </a:cubicBezTo>
                <a:cubicBezTo>
                  <a:pt x="39" y="15"/>
                  <a:pt x="39" y="15"/>
                  <a:pt x="39" y="15"/>
                </a:cubicBezTo>
                <a:cubicBezTo>
                  <a:pt x="39" y="15"/>
                  <a:pt x="38" y="15"/>
                  <a:pt x="38" y="15"/>
                </a:cubicBezTo>
                <a:cubicBezTo>
                  <a:pt x="23" y="0"/>
                  <a:pt x="23" y="0"/>
                  <a:pt x="23" y="0"/>
                </a:cubicBezTo>
                <a:cubicBezTo>
                  <a:pt x="22" y="0"/>
                  <a:pt x="22" y="0"/>
                  <a:pt x="21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1"/>
                  <a:pt x="0" y="22"/>
                  <a:pt x="0" y="22"/>
                </a:cubicBezTo>
                <a:cubicBezTo>
                  <a:pt x="3" y="25"/>
                  <a:pt x="12" y="32"/>
                  <a:pt x="15" y="35"/>
                </a:cubicBezTo>
                <a:cubicBezTo>
                  <a:pt x="15" y="35"/>
                  <a:pt x="15" y="36"/>
                  <a:pt x="15" y="36"/>
                </a:cubicBezTo>
                <a:cubicBezTo>
                  <a:pt x="8" y="52"/>
                  <a:pt x="8" y="52"/>
                  <a:pt x="8" y="52"/>
                </a:cubicBezTo>
                <a:cubicBezTo>
                  <a:pt x="8" y="52"/>
                  <a:pt x="8" y="53"/>
                  <a:pt x="8" y="54"/>
                </a:cubicBezTo>
                <a:cubicBezTo>
                  <a:pt x="13" y="60"/>
                  <a:pt x="13" y="60"/>
                  <a:pt x="13" y="60"/>
                </a:cubicBezTo>
                <a:cubicBezTo>
                  <a:pt x="14" y="61"/>
                  <a:pt x="15" y="62"/>
                  <a:pt x="16" y="62"/>
                </a:cubicBezTo>
                <a:cubicBezTo>
                  <a:pt x="17" y="62"/>
                  <a:pt x="18" y="62"/>
                  <a:pt x="19" y="61"/>
                </a:cubicBezTo>
                <a:cubicBezTo>
                  <a:pt x="21" y="60"/>
                  <a:pt x="21" y="57"/>
                  <a:pt x="20" y="55"/>
                </a:cubicBezTo>
                <a:cubicBezTo>
                  <a:pt x="18" y="53"/>
                  <a:pt x="18" y="53"/>
                  <a:pt x="18" y="53"/>
                </a:cubicBezTo>
                <a:cubicBezTo>
                  <a:pt x="18" y="52"/>
                  <a:pt x="18" y="51"/>
                  <a:pt x="18" y="51"/>
                </a:cubicBezTo>
                <a:cubicBezTo>
                  <a:pt x="25" y="34"/>
                  <a:pt x="25" y="34"/>
                  <a:pt x="25" y="34"/>
                </a:cubicBezTo>
                <a:cubicBezTo>
                  <a:pt x="25" y="33"/>
                  <a:pt x="25" y="33"/>
                  <a:pt x="25" y="32"/>
                </a:cubicBezTo>
                <a:cubicBezTo>
                  <a:pt x="23" y="31"/>
                  <a:pt x="19" y="27"/>
                  <a:pt x="17" y="25"/>
                </a:cubicBezTo>
                <a:cubicBezTo>
                  <a:pt x="17" y="24"/>
                  <a:pt x="17" y="24"/>
                  <a:pt x="17" y="23"/>
                </a:cubicBezTo>
                <a:cubicBezTo>
                  <a:pt x="26" y="14"/>
                  <a:pt x="26" y="14"/>
                  <a:pt x="26" y="14"/>
                </a:cubicBezTo>
                <a:cubicBezTo>
                  <a:pt x="26" y="14"/>
                  <a:pt x="27" y="14"/>
                  <a:pt x="27" y="15"/>
                </a:cubicBezTo>
                <a:lnTo>
                  <a:pt x="36" y="2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9" name="i$1ïdê">
            <a:extLst>
              <a:ext uri="{FF2B5EF4-FFF2-40B4-BE49-F238E27FC236}">
                <a16:creationId xmlns:a16="http://schemas.microsoft.com/office/drawing/2014/main" id="{763621C0-7CB9-4AD1-960E-885AC2C95DEF}"/>
              </a:ext>
            </a:extLst>
          </p:cNvPr>
          <p:cNvSpPr/>
          <p:nvPr/>
        </p:nvSpPr>
        <p:spPr bwMode="auto">
          <a:xfrm>
            <a:off x="7763212" y="3002209"/>
            <a:ext cx="31629" cy="35942"/>
          </a:xfrm>
          <a:custGeom>
            <a:avLst/>
            <a:gdLst>
              <a:gd name="T0" fmla="*/ 0 w 6"/>
              <a:gd name="T1" fmla="*/ 7 h 7"/>
              <a:gd name="T2" fmla="*/ 6 w 6"/>
              <a:gd name="T3" fmla="*/ 7 h 7"/>
              <a:gd name="T4" fmla="*/ 6 w 6"/>
              <a:gd name="T5" fmla="*/ 0 h 7"/>
              <a:gd name="T6" fmla="*/ 0 w 6"/>
              <a:gd name="T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7">
                <a:moveTo>
                  <a:pt x="0" y="7"/>
                </a:moveTo>
                <a:cubicBezTo>
                  <a:pt x="6" y="7"/>
                  <a:pt x="6" y="7"/>
                  <a:pt x="6" y="7"/>
                </a:cubicBezTo>
                <a:cubicBezTo>
                  <a:pt x="6" y="0"/>
                  <a:pt x="6" y="0"/>
                  <a:pt x="6" y="0"/>
                </a:cubicBezTo>
                <a:cubicBezTo>
                  <a:pt x="4" y="3"/>
                  <a:pt x="2" y="5"/>
                  <a:pt x="0" y="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0" name="îśļidé">
            <a:extLst>
              <a:ext uri="{FF2B5EF4-FFF2-40B4-BE49-F238E27FC236}">
                <a16:creationId xmlns:a16="http://schemas.microsoft.com/office/drawing/2014/main" id="{CD0E9EC2-5CCD-4BE5-84FA-DF16B8BA3266}"/>
              </a:ext>
            </a:extLst>
          </p:cNvPr>
          <p:cNvSpPr/>
          <p:nvPr/>
        </p:nvSpPr>
        <p:spPr bwMode="auto">
          <a:xfrm>
            <a:off x="8447569" y="5214872"/>
            <a:ext cx="171089" cy="171090"/>
          </a:xfrm>
          <a:custGeom>
            <a:avLst/>
            <a:gdLst>
              <a:gd name="T0" fmla="*/ 8 w 33"/>
              <a:gd name="T1" fmla="*/ 30 h 33"/>
              <a:gd name="T2" fmla="*/ 17 w 33"/>
              <a:gd name="T3" fmla="*/ 33 h 33"/>
              <a:gd name="T4" fmla="*/ 33 w 33"/>
              <a:gd name="T5" fmla="*/ 17 h 33"/>
              <a:gd name="T6" fmla="*/ 17 w 33"/>
              <a:gd name="T7" fmla="*/ 0 h 33"/>
              <a:gd name="T8" fmla="*/ 0 w 33"/>
              <a:gd name="T9" fmla="*/ 14 h 33"/>
              <a:gd name="T10" fmla="*/ 17 w 33"/>
              <a:gd name="T11" fmla="*/ 14 h 33"/>
              <a:gd name="T12" fmla="*/ 22 w 33"/>
              <a:gd name="T13" fmla="*/ 14 h 33"/>
              <a:gd name="T14" fmla="*/ 18 w 33"/>
              <a:gd name="T15" fmla="*/ 18 h 33"/>
              <a:gd name="T16" fmla="*/ 8 w 33"/>
              <a:gd name="T1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33">
                <a:moveTo>
                  <a:pt x="8" y="30"/>
                </a:moveTo>
                <a:cubicBezTo>
                  <a:pt x="10" y="32"/>
                  <a:pt x="13" y="33"/>
                  <a:pt x="17" y="33"/>
                </a:cubicBezTo>
                <a:cubicBezTo>
                  <a:pt x="26" y="33"/>
                  <a:pt x="33" y="26"/>
                  <a:pt x="33" y="17"/>
                </a:cubicBezTo>
                <a:cubicBezTo>
                  <a:pt x="33" y="7"/>
                  <a:pt x="26" y="0"/>
                  <a:pt x="17" y="0"/>
                </a:cubicBezTo>
                <a:cubicBezTo>
                  <a:pt x="8" y="0"/>
                  <a:pt x="1" y="6"/>
                  <a:pt x="0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22" y="14"/>
                  <a:pt x="22" y="14"/>
                  <a:pt x="22" y="14"/>
                </a:cubicBezTo>
                <a:cubicBezTo>
                  <a:pt x="18" y="18"/>
                  <a:pt x="18" y="18"/>
                  <a:pt x="18" y="18"/>
                </a:cubicBezTo>
                <a:lnTo>
                  <a:pt x="8" y="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1" name="iṥļîḓè">
            <a:extLst>
              <a:ext uri="{FF2B5EF4-FFF2-40B4-BE49-F238E27FC236}">
                <a16:creationId xmlns:a16="http://schemas.microsoft.com/office/drawing/2014/main" id="{59FA28B2-4EB0-49BA-A2CF-4F3B805234AF}"/>
              </a:ext>
            </a:extLst>
          </p:cNvPr>
          <p:cNvSpPr/>
          <p:nvPr/>
        </p:nvSpPr>
        <p:spPr bwMode="auto">
          <a:xfrm>
            <a:off x="8183029" y="5302573"/>
            <a:ext cx="352243" cy="248726"/>
          </a:xfrm>
          <a:custGeom>
            <a:avLst/>
            <a:gdLst>
              <a:gd name="T0" fmla="*/ 30 w 68"/>
              <a:gd name="T1" fmla="*/ 34 h 48"/>
              <a:gd name="T2" fmla="*/ 30 w 68"/>
              <a:gd name="T3" fmla="*/ 35 h 48"/>
              <a:gd name="T4" fmla="*/ 30 w 68"/>
              <a:gd name="T5" fmla="*/ 37 h 48"/>
              <a:gd name="T6" fmla="*/ 30 w 68"/>
              <a:gd name="T7" fmla="*/ 44 h 48"/>
              <a:gd name="T8" fmla="*/ 37 w 68"/>
              <a:gd name="T9" fmla="*/ 48 h 48"/>
              <a:gd name="T10" fmla="*/ 37 w 68"/>
              <a:gd name="T11" fmla="*/ 37 h 48"/>
              <a:gd name="T12" fmla="*/ 37 w 68"/>
              <a:gd name="T13" fmla="*/ 35 h 48"/>
              <a:gd name="T14" fmla="*/ 37 w 68"/>
              <a:gd name="T15" fmla="*/ 34 h 48"/>
              <a:gd name="T16" fmla="*/ 57 w 68"/>
              <a:gd name="T17" fmla="*/ 12 h 48"/>
              <a:gd name="T18" fmla="*/ 68 w 68"/>
              <a:gd name="T19" fmla="*/ 0 h 48"/>
              <a:gd name="T20" fmla="*/ 51 w 68"/>
              <a:gd name="T21" fmla="*/ 0 h 48"/>
              <a:gd name="T22" fmla="*/ 0 w 68"/>
              <a:gd name="T23" fmla="*/ 0 h 48"/>
              <a:gd name="T24" fmla="*/ 30 w 68"/>
              <a:gd name="T25" fmla="*/ 3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8" h="48">
                <a:moveTo>
                  <a:pt x="30" y="34"/>
                </a:moveTo>
                <a:cubicBezTo>
                  <a:pt x="30" y="35"/>
                  <a:pt x="30" y="35"/>
                  <a:pt x="30" y="35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44"/>
                  <a:pt x="30" y="44"/>
                  <a:pt x="30" y="44"/>
                </a:cubicBezTo>
                <a:cubicBezTo>
                  <a:pt x="33" y="45"/>
                  <a:pt x="35" y="47"/>
                  <a:pt x="37" y="48"/>
                </a:cubicBezTo>
                <a:cubicBezTo>
                  <a:pt x="37" y="37"/>
                  <a:pt x="37" y="37"/>
                  <a:pt x="37" y="37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4"/>
                  <a:pt x="37" y="34"/>
                  <a:pt x="37" y="34"/>
                </a:cubicBezTo>
                <a:cubicBezTo>
                  <a:pt x="57" y="12"/>
                  <a:pt x="57" y="12"/>
                  <a:pt x="57" y="12"/>
                </a:cubicBezTo>
                <a:cubicBezTo>
                  <a:pt x="68" y="0"/>
                  <a:pt x="68" y="0"/>
                  <a:pt x="68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0" y="0"/>
                  <a:pt x="0" y="0"/>
                  <a:pt x="0" y="0"/>
                </a:cubicBezTo>
                <a:lnTo>
                  <a:pt x="30" y="3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2" name="îṡļíḑe">
            <a:extLst>
              <a:ext uri="{FF2B5EF4-FFF2-40B4-BE49-F238E27FC236}">
                <a16:creationId xmlns:a16="http://schemas.microsoft.com/office/drawing/2014/main" id="{FFC454DB-FEF7-421B-900B-313B12249E5B}"/>
              </a:ext>
            </a:extLst>
          </p:cNvPr>
          <p:cNvSpPr/>
          <p:nvPr/>
        </p:nvSpPr>
        <p:spPr bwMode="auto">
          <a:xfrm>
            <a:off x="7472792" y="3245185"/>
            <a:ext cx="280357" cy="316300"/>
          </a:xfrm>
          <a:custGeom>
            <a:avLst/>
            <a:gdLst>
              <a:gd name="T0" fmla="*/ 0 w 54"/>
              <a:gd name="T1" fmla="*/ 61 h 61"/>
              <a:gd name="T2" fmla="*/ 11 w 54"/>
              <a:gd name="T3" fmla="*/ 50 h 61"/>
              <a:gd name="T4" fmla="*/ 11 w 54"/>
              <a:gd name="T5" fmla="*/ 50 h 61"/>
              <a:gd name="T6" fmla="*/ 11 w 54"/>
              <a:gd name="T7" fmla="*/ 32 h 61"/>
              <a:gd name="T8" fmla="*/ 0 w 54"/>
              <a:gd name="T9" fmla="*/ 61 h 61"/>
              <a:gd name="T10" fmla="*/ 0 w 54"/>
              <a:gd name="T11" fmla="*/ 61 h 61"/>
              <a:gd name="T12" fmla="*/ 20 w 54"/>
              <a:gd name="T13" fmla="*/ 14 h 61"/>
              <a:gd name="T14" fmla="*/ 47 w 54"/>
              <a:gd name="T15" fmla="*/ 14 h 61"/>
              <a:gd name="T16" fmla="*/ 47 w 54"/>
              <a:gd name="T17" fmla="*/ 40 h 61"/>
              <a:gd name="T18" fmla="*/ 43 w 54"/>
              <a:gd name="T19" fmla="*/ 39 h 61"/>
              <a:gd name="T20" fmla="*/ 32 w 54"/>
              <a:gd name="T21" fmla="*/ 50 h 61"/>
              <a:gd name="T22" fmla="*/ 43 w 54"/>
              <a:gd name="T23" fmla="*/ 61 h 61"/>
              <a:gd name="T24" fmla="*/ 54 w 54"/>
              <a:gd name="T25" fmla="*/ 50 h 61"/>
              <a:gd name="T26" fmla="*/ 54 w 54"/>
              <a:gd name="T27" fmla="*/ 50 h 61"/>
              <a:gd name="T28" fmla="*/ 54 w 54"/>
              <a:gd name="T29" fmla="*/ 50 h 61"/>
              <a:gd name="T30" fmla="*/ 54 w 54"/>
              <a:gd name="T31" fmla="*/ 14 h 61"/>
              <a:gd name="T32" fmla="*/ 54 w 54"/>
              <a:gd name="T33" fmla="*/ 0 h 61"/>
              <a:gd name="T34" fmla="*/ 47 w 54"/>
              <a:gd name="T35" fmla="*/ 0 h 61"/>
              <a:gd name="T36" fmla="*/ 28 w 54"/>
              <a:gd name="T37" fmla="*/ 0 h 61"/>
              <a:gd name="T38" fmla="*/ 20 w 54"/>
              <a:gd name="T39" fmla="*/ 14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4" h="61">
                <a:moveTo>
                  <a:pt x="0" y="61"/>
                </a:moveTo>
                <a:cubicBezTo>
                  <a:pt x="6" y="61"/>
                  <a:pt x="11" y="56"/>
                  <a:pt x="11" y="50"/>
                </a:cubicBezTo>
                <a:cubicBezTo>
                  <a:pt x="11" y="50"/>
                  <a:pt x="11" y="50"/>
                  <a:pt x="11" y="50"/>
                </a:cubicBezTo>
                <a:cubicBezTo>
                  <a:pt x="11" y="32"/>
                  <a:pt x="11" y="32"/>
                  <a:pt x="11" y="32"/>
                </a:cubicBezTo>
                <a:cubicBezTo>
                  <a:pt x="7" y="42"/>
                  <a:pt x="3" y="51"/>
                  <a:pt x="0" y="61"/>
                </a:cubicBezTo>
                <a:cubicBezTo>
                  <a:pt x="0" y="61"/>
                  <a:pt x="0" y="61"/>
                  <a:pt x="0" y="61"/>
                </a:cubicBezTo>
                <a:close/>
                <a:moveTo>
                  <a:pt x="20" y="14"/>
                </a:moveTo>
                <a:cubicBezTo>
                  <a:pt x="47" y="14"/>
                  <a:pt x="47" y="14"/>
                  <a:pt x="47" y="14"/>
                </a:cubicBezTo>
                <a:cubicBezTo>
                  <a:pt x="47" y="40"/>
                  <a:pt x="47" y="40"/>
                  <a:pt x="47" y="40"/>
                </a:cubicBezTo>
                <a:cubicBezTo>
                  <a:pt x="46" y="39"/>
                  <a:pt x="44" y="39"/>
                  <a:pt x="43" y="39"/>
                </a:cubicBezTo>
                <a:cubicBezTo>
                  <a:pt x="37" y="39"/>
                  <a:pt x="32" y="44"/>
                  <a:pt x="32" y="50"/>
                </a:cubicBezTo>
                <a:cubicBezTo>
                  <a:pt x="32" y="56"/>
                  <a:pt x="37" y="61"/>
                  <a:pt x="43" y="61"/>
                </a:cubicBezTo>
                <a:cubicBezTo>
                  <a:pt x="49" y="61"/>
                  <a:pt x="54" y="56"/>
                  <a:pt x="54" y="50"/>
                </a:cubicBezTo>
                <a:cubicBezTo>
                  <a:pt x="54" y="50"/>
                  <a:pt x="54" y="50"/>
                  <a:pt x="54" y="50"/>
                </a:cubicBezTo>
                <a:cubicBezTo>
                  <a:pt x="54" y="50"/>
                  <a:pt x="54" y="50"/>
                  <a:pt x="54" y="50"/>
                </a:cubicBezTo>
                <a:cubicBezTo>
                  <a:pt x="54" y="14"/>
                  <a:pt x="54" y="14"/>
                  <a:pt x="54" y="14"/>
                </a:cubicBezTo>
                <a:cubicBezTo>
                  <a:pt x="54" y="0"/>
                  <a:pt x="54" y="0"/>
                  <a:pt x="54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5" y="5"/>
                  <a:pt x="22" y="9"/>
                  <a:pt x="20" y="1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3" name="ïṧľïde">
            <a:extLst>
              <a:ext uri="{FF2B5EF4-FFF2-40B4-BE49-F238E27FC236}">
                <a16:creationId xmlns:a16="http://schemas.microsoft.com/office/drawing/2014/main" id="{92FCED1D-8453-4DC1-9C3D-C93FD3C0F65C}"/>
              </a:ext>
            </a:extLst>
          </p:cNvPr>
          <p:cNvSpPr/>
          <p:nvPr/>
        </p:nvSpPr>
        <p:spPr bwMode="auto">
          <a:xfrm>
            <a:off x="9317394" y="2509069"/>
            <a:ext cx="399688" cy="322051"/>
          </a:xfrm>
          <a:custGeom>
            <a:avLst/>
            <a:gdLst>
              <a:gd name="T0" fmla="*/ 11 w 77"/>
              <a:gd name="T1" fmla="*/ 48 h 62"/>
              <a:gd name="T2" fmla="*/ 32 w 77"/>
              <a:gd name="T3" fmla="*/ 37 h 62"/>
              <a:gd name="T4" fmla="*/ 36 w 77"/>
              <a:gd name="T5" fmla="*/ 37 h 62"/>
              <a:gd name="T6" fmla="*/ 36 w 77"/>
              <a:gd name="T7" fmla="*/ 41 h 62"/>
              <a:gd name="T8" fmla="*/ 36 w 77"/>
              <a:gd name="T9" fmla="*/ 50 h 62"/>
              <a:gd name="T10" fmla="*/ 35 w 77"/>
              <a:gd name="T11" fmla="*/ 62 h 62"/>
              <a:gd name="T12" fmla="*/ 42 w 77"/>
              <a:gd name="T13" fmla="*/ 62 h 62"/>
              <a:gd name="T14" fmla="*/ 41 w 77"/>
              <a:gd name="T15" fmla="*/ 50 h 62"/>
              <a:gd name="T16" fmla="*/ 41 w 77"/>
              <a:gd name="T17" fmla="*/ 41 h 62"/>
              <a:gd name="T18" fmla="*/ 41 w 77"/>
              <a:gd name="T19" fmla="*/ 37 h 62"/>
              <a:gd name="T20" fmla="*/ 45 w 77"/>
              <a:gd name="T21" fmla="*/ 37 h 62"/>
              <a:gd name="T22" fmla="*/ 66 w 77"/>
              <a:gd name="T23" fmla="*/ 48 h 62"/>
              <a:gd name="T24" fmla="*/ 74 w 77"/>
              <a:gd name="T25" fmla="*/ 40 h 62"/>
              <a:gd name="T26" fmla="*/ 74 w 77"/>
              <a:gd name="T27" fmla="*/ 20 h 62"/>
              <a:gd name="T28" fmla="*/ 60 w 77"/>
              <a:gd name="T29" fmla="*/ 14 h 62"/>
              <a:gd name="T30" fmla="*/ 43 w 77"/>
              <a:gd name="T31" fmla="*/ 30 h 62"/>
              <a:gd name="T32" fmla="*/ 42 w 77"/>
              <a:gd name="T33" fmla="*/ 28 h 62"/>
              <a:gd name="T34" fmla="*/ 46 w 77"/>
              <a:gd name="T35" fmla="*/ 19 h 62"/>
              <a:gd name="T36" fmla="*/ 52 w 77"/>
              <a:gd name="T37" fmla="*/ 11 h 62"/>
              <a:gd name="T38" fmla="*/ 22 w 77"/>
              <a:gd name="T39" fmla="*/ 0 h 62"/>
              <a:gd name="T40" fmla="*/ 30 w 77"/>
              <a:gd name="T41" fmla="*/ 19 h 62"/>
              <a:gd name="T42" fmla="*/ 35 w 77"/>
              <a:gd name="T43" fmla="*/ 28 h 62"/>
              <a:gd name="T44" fmla="*/ 34 w 77"/>
              <a:gd name="T45" fmla="*/ 30 h 62"/>
              <a:gd name="T46" fmla="*/ 8 w 77"/>
              <a:gd name="T47" fmla="*/ 13 h 62"/>
              <a:gd name="T48" fmla="*/ 2 w 77"/>
              <a:gd name="T49" fmla="*/ 40 h 62"/>
              <a:gd name="T50" fmla="*/ 11 w 77"/>
              <a:gd name="T51" fmla="*/ 48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7" h="62">
                <a:moveTo>
                  <a:pt x="11" y="48"/>
                </a:moveTo>
                <a:cubicBezTo>
                  <a:pt x="19" y="49"/>
                  <a:pt x="25" y="41"/>
                  <a:pt x="32" y="37"/>
                </a:cubicBezTo>
                <a:cubicBezTo>
                  <a:pt x="33" y="37"/>
                  <a:pt x="35" y="35"/>
                  <a:pt x="36" y="37"/>
                </a:cubicBezTo>
                <a:cubicBezTo>
                  <a:pt x="36" y="38"/>
                  <a:pt x="36" y="40"/>
                  <a:pt x="36" y="41"/>
                </a:cubicBezTo>
                <a:cubicBezTo>
                  <a:pt x="36" y="44"/>
                  <a:pt x="36" y="47"/>
                  <a:pt x="36" y="50"/>
                </a:cubicBezTo>
                <a:cubicBezTo>
                  <a:pt x="36" y="53"/>
                  <a:pt x="35" y="59"/>
                  <a:pt x="35" y="62"/>
                </a:cubicBezTo>
                <a:cubicBezTo>
                  <a:pt x="42" y="62"/>
                  <a:pt x="42" y="62"/>
                  <a:pt x="42" y="62"/>
                </a:cubicBezTo>
                <a:cubicBezTo>
                  <a:pt x="41" y="59"/>
                  <a:pt x="41" y="53"/>
                  <a:pt x="41" y="50"/>
                </a:cubicBezTo>
                <a:cubicBezTo>
                  <a:pt x="41" y="47"/>
                  <a:pt x="41" y="44"/>
                  <a:pt x="41" y="41"/>
                </a:cubicBezTo>
                <a:cubicBezTo>
                  <a:pt x="41" y="40"/>
                  <a:pt x="40" y="38"/>
                  <a:pt x="41" y="37"/>
                </a:cubicBezTo>
                <a:cubicBezTo>
                  <a:pt x="42" y="35"/>
                  <a:pt x="44" y="37"/>
                  <a:pt x="45" y="37"/>
                </a:cubicBezTo>
                <a:cubicBezTo>
                  <a:pt x="51" y="41"/>
                  <a:pt x="58" y="49"/>
                  <a:pt x="66" y="48"/>
                </a:cubicBezTo>
                <a:cubicBezTo>
                  <a:pt x="70" y="48"/>
                  <a:pt x="73" y="44"/>
                  <a:pt x="74" y="40"/>
                </a:cubicBezTo>
                <a:cubicBezTo>
                  <a:pt x="76" y="35"/>
                  <a:pt x="77" y="26"/>
                  <a:pt x="74" y="20"/>
                </a:cubicBezTo>
                <a:cubicBezTo>
                  <a:pt x="70" y="18"/>
                  <a:pt x="65" y="16"/>
                  <a:pt x="60" y="14"/>
                </a:cubicBezTo>
                <a:cubicBezTo>
                  <a:pt x="54" y="18"/>
                  <a:pt x="50" y="29"/>
                  <a:pt x="43" y="30"/>
                </a:cubicBezTo>
                <a:cubicBezTo>
                  <a:pt x="41" y="30"/>
                  <a:pt x="41" y="29"/>
                  <a:pt x="42" y="28"/>
                </a:cubicBezTo>
                <a:cubicBezTo>
                  <a:pt x="43" y="24"/>
                  <a:pt x="44" y="21"/>
                  <a:pt x="46" y="19"/>
                </a:cubicBezTo>
                <a:cubicBezTo>
                  <a:pt x="48" y="16"/>
                  <a:pt x="50" y="14"/>
                  <a:pt x="52" y="11"/>
                </a:cubicBezTo>
                <a:cubicBezTo>
                  <a:pt x="42" y="7"/>
                  <a:pt x="32" y="3"/>
                  <a:pt x="22" y="0"/>
                </a:cubicBezTo>
                <a:cubicBezTo>
                  <a:pt x="21" y="7"/>
                  <a:pt x="27" y="14"/>
                  <a:pt x="30" y="19"/>
                </a:cubicBezTo>
                <a:cubicBezTo>
                  <a:pt x="32" y="21"/>
                  <a:pt x="34" y="24"/>
                  <a:pt x="35" y="28"/>
                </a:cubicBezTo>
                <a:cubicBezTo>
                  <a:pt x="36" y="29"/>
                  <a:pt x="36" y="30"/>
                  <a:pt x="34" y="30"/>
                </a:cubicBezTo>
                <a:cubicBezTo>
                  <a:pt x="24" y="29"/>
                  <a:pt x="20" y="6"/>
                  <a:pt x="8" y="13"/>
                </a:cubicBezTo>
                <a:cubicBezTo>
                  <a:pt x="0" y="18"/>
                  <a:pt x="0" y="32"/>
                  <a:pt x="2" y="40"/>
                </a:cubicBezTo>
                <a:cubicBezTo>
                  <a:pt x="4" y="44"/>
                  <a:pt x="6" y="48"/>
                  <a:pt x="11" y="4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4" name="iśḻïḓê">
            <a:extLst>
              <a:ext uri="{FF2B5EF4-FFF2-40B4-BE49-F238E27FC236}">
                <a16:creationId xmlns:a16="http://schemas.microsoft.com/office/drawing/2014/main" id="{47A5C02B-A33E-4975-B372-5D2843E7F7D3}"/>
              </a:ext>
            </a:extLst>
          </p:cNvPr>
          <p:cNvSpPr/>
          <p:nvPr/>
        </p:nvSpPr>
        <p:spPr bwMode="auto">
          <a:xfrm>
            <a:off x="10483390" y="3903664"/>
            <a:ext cx="119331" cy="119331"/>
          </a:xfrm>
          <a:custGeom>
            <a:avLst/>
            <a:gdLst>
              <a:gd name="T0" fmla="*/ 11 w 23"/>
              <a:gd name="T1" fmla="*/ 23 h 23"/>
              <a:gd name="T2" fmla="*/ 11 w 23"/>
              <a:gd name="T3" fmla="*/ 23 h 23"/>
              <a:gd name="T4" fmla="*/ 23 w 23"/>
              <a:gd name="T5" fmla="*/ 11 h 23"/>
              <a:gd name="T6" fmla="*/ 11 w 23"/>
              <a:gd name="T7" fmla="*/ 0 h 23"/>
              <a:gd name="T8" fmla="*/ 0 w 23"/>
              <a:gd name="T9" fmla="*/ 11 h 23"/>
              <a:gd name="T10" fmla="*/ 6 w 23"/>
              <a:gd name="T11" fmla="*/ 15 h 23"/>
              <a:gd name="T12" fmla="*/ 11 w 23"/>
              <a:gd name="T1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23">
                <a:moveTo>
                  <a:pt x="11" y="23"/>
                </a:moveTo>
                <a:cubicBezTo>
                  <a:pt x="11" y="23"/>
                  <a:pt x="11" y="23"/>
                  <a:pt x="11" y="23"/>
                </a:cubicBezTo>
                <a:cubicBezTo>
                  <a:pt x="18" y="23"/>
                  <a:pt x="23" y="17"/>
                  <a:pt x="23" y="11"/>
                </a:cubicBezTo>
                <a:cubicBezTo>
                  <a:pt x="23" y="5"/>
                  <a:pt x="18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2" y="12"/>
                  <a:pt x="4" y="13"/>
                  <a:pt x="6" y="15"/>
                </a:cubicBezTo>
                <a:cubicBezTo>
                  <a:pt x="8" y="17"/>
                  <a:pt x="10" y="20"/>
                  <a:pt x="11" y="2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5" name="îṡḷîďè">
            <a:extLst>
              <a:ext uri="{FF2B5EF4-FFF2-40B4-BE49-F238E27FC236}">
                <a16:creationId xmlns:a16="http://schemas.microsoft.com/office/drawing/2014/main" id="{F732E607-E952-4629-A1A1-1D0682D8B81F}"/>
              </a:ext>
            </a:extLst>
          </p:cNvPr>
          <p:cNvSpPr/>
          <p:nvPr/>
        </p:nvSpPr>
        <p:spPr bwMode="auto">
          <a:xfrm>
            <a:off x="10525084" y="3867720"/>
            <a:ext cx="31629" cy="25879"/>
          </a:xfrm>
          <a:custGeom>
            <a:avLst/>
            <a:gdLst>
              <a:gd name="T0" fmla="*/ 22 w 22"/>
              <a:gd name="T1" fmla="*/ 18 h 18"/>
              <a:gd name="T2" fmla="*/ 11 w 22"/>
              <a:gd name="T3" fmla="*/ 0 h 18"/>
              <a:gd name="T4" fmla="*/ 0 w 22"/>
              <a:gd name="T5" fmla="*/ 18 h 18"/>
              <a:gd name="T6" fmla="*/ 22 w 22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8">
                <a:moveTo>
                  <a:pt x="22" y="18"/>
                </a:moveTo>
                <a:lnTo>
                  <a:pt x="11" y="0"/>
                </a:lnTo>
                <a:lnTo>
                  <a:pt x="0" y="18"/>
                </a:lnTo>
                <a:lnTo>
                  <a:pt x="22" y="1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6" name="ïsľïḑé">
            <a:extLst>
              <a:ext uri="{FF2B5EF4-FFF2-40B4-BE49-F238E27FC236}">
                <a16:creationId xmlns:a16="http://schemas.microsoft.com/office/drawing/2014/main" id="{8B43903C-70E3-4F6D-A990-46C2C6A69932}"/>
              </a:ext>
            </a:extLst>
          </p:cNvPr>
          <p:cNvSpPr/>
          <p:nvPr/>
        </p:nvSpPr>
        <p:spPr bwMode="auto">
          <a:xfrm>
            <a:off x="10608473" y="3945358"/>
            <a:ext cx="4313" cy="30193"/>
          </a:xfrm>
          <a:custGeom>
            <a:avLst/>
            <a:gdLst>
              <a:gd name="T0" fmla="*/ 0 w 1"/>
              <a:gd name="T1" fmla="*/ 6 h 6"/>
              <a:gd name="T2" fmla="*/ 1 w 1"/>
              <a:gd name="T3" fmla="*/ 6 h 6"/>
              <a:gd name="T4" fmla="*/ 0 w 1"/>
              <a:gd name="T5" fmla="*/ 0 h 6"/>
              <a:gd name="T6" fmla="*/ 0 w 1"/>
              <a:gd name="T7" fmla="*/ 0 h 6"/>
              <a:gd name="T8" fmla="*/ 0 w 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6">
                <a:moveTo>
                  <a:pt x="0" y="6"/>
                </a:moveTo>
                <a:cubicBezTo>
                  <a:pt x="1" y="6"/>
                  <a:pt x="1" y="6"/>
                  <a:pt x="1" y="6"/>
                </a:cubicBezTo>
                <a:cubicBezTo>
                  <a:pt x="1" y="4"/>
                  <a:pt x="1" y="2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7" name="iS1ïḓê">
            <a:extLst>
              <a:ext uri="{FF2B5EF4-FFF2-40B4-BE49-F238E27FC236}">
                <a16:creationId xmlns:a16="http://schemas.microsoft.com/office/drawing/2014/main" id="{B7CF71AB-2820-4F83-BF1C-D3FF993F5DEC}"/>
              </a:ext>
            </a:extLst>
          </p:cNvPr>
          <p:cNvSpPr/>
          <p:nvPr/>
        </p:nvSpPr>
        <p:spPr bwMode="auto">
          <a:xfrm>
            <a:off x="10457510" y="3945358"/>
            <a:ext cx="15815" cy="10065"/>
          </a:xfrm>
          <a:custGeom>
            <a:avLst/>
            <a:gdLst>
              <a:gd name="T0" fmla="*/ 3 w 3"/>
              <a:gd name="T1" fmla="*/ 0 h 2"/>
              <a:gd name="T2" fmla="*/ 0 w 3"/>
              <a:gd name="T3" fmla="*/ 2 h 2"/>
              <a:gd name="T4" fmla="*/ 3 w 3"/>
              <a:gd name="T5" fmla="*/ 2 h 2"/>
              <a:gd name="T6" fmla="*/ 3 w 3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2">
                <a:moveTo>
                  <a:pt x="3" y="0"/>
                </a:moveTo>
                <a:cubicBezTo>
                  <a:pt x="0" y="2"/>
                  <a:pt x="0" y="2"/>
                  <a:pt x="0" y="2"/>
                </a:cubicBezTo>
                <a:cubicBezTo>
                  <a:pt x="1" y="2"/>
                  <a:pt x="2" y="2"/>
                  <a:pt x="3" y="2"/>
                </a:cubicBezTo>
                <a:lnTo>
                  <a:pt x="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8" name="íṣļiďe">
            <a:extLst>
              <a:ext uri="{FF2B5EF4-FFF2-40B4-BE49-F238E27FC236}">
                <a16:creationId xmlns:a16="http://schemas.microsoft.com/office/drawing/2014/main" id="{3982413C-22A9-4EC5-85B6-0E22051A258A}"/>
              </a:ext>
            </a:extLst>
          </p:cNvPr>
          <p:cNvSpPr/>
          <p:nvPr/>
        </p:nvSpPr>
        <p:spPr bwMode="auto">
          <a:xfrm>
            <a:off x="10576842" y="3893599"/>
            <a:ext cx="31629" cy="30193"/>
          </a:xfrm>
          <a:custGeom>
            <a:avLst/>
            <a:gdLst>
              <a:gd name="T0" fmla="*/ 0 w 6"/>
              <a:gd name="T1" fmla="*/ 2 h 6"/>
              <a:gd name="T2" fmla="*/ 5 w 6"/>
              <a:gd name="T3" fmla="*/ 6 h 6"/>
              <a:gd name="T4" fmla="*/ 6 w 6"/>
              <a:gd name="T5" fmla="*/ 2 h 6"/>
              <a:gd name="T6" fmla="*/ 6 w 6"/>
              <a:gd name="T7" fmla="*/ 0 h 6"/>
              <a:gd name="T8" fmla="*/ 0 w 6"/>
              <a:gd name="T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6">
                <a:moveTo>
                  <a:pt x="0" y="2"/>
                </a:moveTo>
                <a:cubicBezTo>
                  <a:pt x="5" y="6"/>
                  <a:pt x="5" y="6"/>
                  <a:pt x="5" y="6"/>
                </a:cubicBezTo>
                <a:cubicBezTo>
                  <a:pt x="6" y="2"/>
                  <a:pt x="6" y="2"/>
                  <a:pt x="6" y="2"/>
                </a:cubicBezTo>
                <a:cubicBezTo>
                  <a:pt x="6" y="1"/>
                  <a:pt x="6" y="1"/>
                  <a:pt x="6" y="0"/>
                </a:cubicBezTo>
                <a:lnTo>
                  <a:pt x="0" y="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9" name="íṧlîďé">
            <a:extLst>
              <a:ext uri="{FF2B5EF4-FFF2-40B4-BE49-F238E27FC236}">
                <a16:creationId xmlns:a16="http://schemas.microsoft.com/office/drawing/2014/main" id="{33D433C6-88BF-4383-AF47-445BDA7EA00A}"/>
              </a:ext>
            </a:extLst>
          </p:cNvPr>
          <p:cNvSpPr/>
          <p:nvPr/>
        </p:nvSpPr>
        <p:spPr bwMode="auto">
          <a:xfrm>
            <a:off x="10576842" y="3997116"/>
            <a:ext cx="31629" cy="30193"/>
          </a:xfrm>
          <a:custGeom>
            <a:avLst/>
            <a:gdLst>
              <a:gd name="T0" fmla="*/ 18 w 22"/>
              <a:gd name="T1" fmla="*/ 0 h 21"/>
              <a:gd name="T2" fmla="*/ 0 w 22"/>
              <a:gd name="T3" fmla="*/ 18 h 21"/>
              <a:gd name="T4" fmla="*/ 22 w 22"/>
              <a:gd name="T5" fmla="*/ 21 h 21"/>
              <a:gd name="T6" fmla="*/ 18 w 22"/>
              <a:gd name="T7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21">
                <a:moveTo>
                  <a:pt x="18" y="0"/>
                </a:moveTo>
                <a:lnTo>
                  <a:pt x="0" y="18"/>
                </a:lnTo>
                <a:lnTo>
                  <a:pt x="22" y="2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0" name="îsḷîďè">
            <a:extLst>
              <a:ext uri="{FF2B5EF4-FFF2-40B4-BE49-F238E27FC236}">
                <a16:creationId xmlns:a16="http://schemas.microsoft.com/office/drawing/2014/main" id="{4A7917FA-E49F-41D7-A277-2BD2AFA32901}"/>
              </a:ext>
            </a:extLst>
          </p:cNvPr>
          <p:cNvSpPr/>
          <p:nvPr/>
        </p:nvSpPr>
        <p:spPr bwMode="auto">
          <a:xfrm>
            <a:off x="10473327" y="3893599"/>
            <a:ext cx="31629" cy="30193"/>
          </a:xfrm>
          <a:custGeom>
            <a:avLst/>
            <a:gdLst>
              <a:gd name="T0" fmla="*/ 7 w 22"/>
              <a:gd name="T1" fmla="*/ 21 h 21"/>
              <a:gd name="T2" fmla="*/ 22 w 22"/>
              <a:gd name="T3" fmla="*/ 7 h 21"/>
              <a:gd name="T4" fmla="*/ 0 w 22"/>
              <a:gd name="T5" fmla="*/ 0 h 21"/>
              <a:gd name="T6" fmla="*/ 7 w 22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21">
                <a:moveTo>
                  <a:pt x="7" y="21"/>
                </a:moveTo>
                <a:lnTo>
                  <a:pt x="22" y="7"/>
                </a:lnTo>
                <a:lnTo>
                  <a:pt x="0" y="0"/>
                </a:lnTo>
                <a:lnTo>
                  <a:pt x="7" y="2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1" name="îSļíḑè">
            <a:extLst>
              <a:ext uri="{FF2B5EF4-FFF2-40B4-BE49-F238E27FC236}">
                <a16:creationId xmlns:a16="http://schemas.microsoft.com/office/drawing/2014/main" id="{0607CFC1-E73C-482F-B073-EA57EA0EDF45}"/>
              </a:ext>
            </a:extLst>
          </p:cNvPr>
          <p:cNvSpPr/>
          <p:nvPr/>
        </p:nvSpPr>
        <p:spPr bwMode="auto">
          <a:xfrm>
            <a:off x="10348244" y="3961173"/>
            <a:ext cx="260229" cy="159588"/>
          </a:xfrm>
          <a:custGeom>
            <a:avLst/>
            <a:gdLst>
              <a:gd name="T0" fmla="*/ 41 w 50"/>
              <a:gd name="T1" fmla="*/ 13 h 31"/>
              <a:gd name="T2" fmla="*/ 40 w 50"/>
              <a:gd name="T3" fmla="*/ 14 h 31"/>
              <a:gd name="T4" fmla="*/ 36 w 50"/>
              <a:gd name="T5" fmla="*/ 16 h 31"/>
              <a:gd name="T6" fmla="*/ 35 w 50"/>
              <a:gd name="T7" fmla="*/ 13 h 31"/>
              <a:gd name="T8" fmla="*/ 35 w 50"/>
              <a:gd name="T9" fmla="*/ 11 h 31"/>
              <a:gd name="T10" fmla="*/ 26 w 50"/>
              <a:gd name="T11" fmla="*/ 1 h 31"/>
              <a:gd name="T12" fmla="*/ 24 w 50"/>
              <a:gd name="T13" fmla="*/ 1 h 31"/>
              <a:gd name="T14" fmla="*/ 20 w 50"/>
              <a:gd name="T15" fmla="*/ 0 h 31"/>
              <a:gd name="T16" fmla="*/ 19 w 50"/>
              <a:gd name="T17" fmla="*/ 0 h 31"/>
              <a:gd name="T18" fmla="*/ 5 w 50"/>
              <a:gd name="T19" fmla="*/ 16 h 31"/>
              <a:gd name="T20" fmla="*/ 5 w 50"/>
              <a:gd name="T21" fmla="*/ 20 h 31"/>
              <a:gd name="T22" fmla="*/ 0 w 50"/>
              <a:gd name="T23" fmla="*/ 26 h 31"/>
              <a:gd name="T24" fmla="*/ 5 w 50"/>
              <a:gd name="T25" fmla="*/ 31 h 31"/>
              <a:gd name="T26" fmla="*/ 20 w 50"/>
              <a:gd name="T27" fmla="*/ 31 h 31"/>
              <a:gd name="T28" fmla="*/ 21 w 50"/>
              <a:gd name="T29" fmla="*/ 31 h 31"/>
              <a:gd name="T30" fmla="*/ 41 w 50"/>
              <a:gd name="T31" fmla="*/ 31 h 31"/>
              <a:gd name="T32" fmla="*/ 50 w 50"/>
              <a:gd name="T33" fmla="*/ 22 h 31"/>
              <a:gd name="T34" fmla="*/ 41 w 50"/>
              <a:gd name="T35" fmla="*/ 13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31">
                <a:moveTo>
                  <a:pt x="41" y="13"/>
                </a:moveTo>
                <a:cubicBezTo>
                  <a:pt x="41" y="13"/>
                  <a:pt x="41" y="14"/>
                  <a:pt x="40" y="14"/>
                </a:cubicBezTo>
                <a:cubicBezTo>
                  <a:pt x="38" y="14"/>
                  <a:pt x="37" y="15"/>
                  <a:pt x="36" y="16"/>
                </a:cubicBezTo>
                <a:cubicBezTo>
                  <a:pt x="36" y="15"/>
                  <a:pt x="36" y="14"/>
                  <a:pt x="35" y="13"/>
                </a:cubicBezTo>
                <a:cubicBezTo>
                  <a:pt x="35" y="13"/>
                  <a:pt x="35" y="12"/>
                  <a:pt x="35" y="11"/>
                </a:cubicBezTo>
                <a:cubicBezTo>
                  <a:pt x="34" y="7"/>
                  <a:pt x="30" y="3"/>
                  <a:pt x="26" y="1"/>
                </a:cubicBezTo>
                <a:cubicBezTo>
                  <a:pt x="25" y="1"/>
                  <a:pt x="25" y="1"/>
                  <a:pt x="24" y="1"/>
                </a:cubicBezTo>
                <a:cubicBezTo>
                  <a:pt x="23" y="1"/>
                  <a:pt x="21" y="0"/>
                  <a:pt x="20" y="0"/>
                </a:cubicBezTo>
                <a:cubicBezTo>
                  <a:pt x="20" y="0"/>
                  <a:pt x="20" y="0"/>
                  <a:pt x="19" y="0"/>
                </a:cubicBezTo>
                <a:cubicBezTo>
                  <a:pt x="11" y="1"/>
                  <a:pt x="5" y="8"/>
                  <a:pt x="5" y="16"/>
                </a:cubicBezTo>
                <a:cubicBezTo>
                  <a:pt x="5" y="17"/>
                  <a:pt x="5" y="19"/>
                  <a:pt x="5" y="20"/>
                </a:cubicBezTo>
                <a:cubicBezTo>
                  <a:pt x="2" y="21"/>
                  <a:pt x="0" y="23"/>
                  <a:pt x="0" y="26"/>
                </a:cubicBezTo>
                <a:cubicBezTo>
                  <a:pt x="0" y="29"/>
                  <a:pt x="2" y="31"/>
                  <a:pt x="5" y="31"/>
                </a:cubicBezTo>
                <a:cubicBezTo>
                  <a:pt x="20" y="31"/>
                  <a:pt x="20" y="31"/>
                  <a:pt x="20" y="31"/>
                </a:cubicBezTo>
                <a:cubicBezTo>
                  <a:pt x="21" y="31"/>
                  <a:pt x="21" y="31"/>
                  <a:pt x="21" y="31"/>
                </a:cubicBezTo>
                <a:cubicBezTo>
                  <a:pt x="41" y="31"/>
                  <a:pt x="41" y="31"/>
                  <a:pt x="41" y="31"/>
                </a:cubicBezTo>
                <a:cubicBezTo>
                  <a:pt x="46" y="31"/>
                  <a:pt x="50" y="27"/>
                  <a:pt x="50" y="22"/>
                </a:cubicBezTo>
                <a:cubicBezTo>
                  <a:pt x="50" y="18"/>
                  <a:pt x="46" y="13"/>
                  <a:pt x="41" y="1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2" name="îš1ïḓê">
            <a:extLst>
              <a:ext uri="{FF2B5EF4-FFF2-40B4-BE49-F238E27FC236}">
                <a16:creationId xmlns:a16="http://schemas.microsoft.com/office/drawing/2014/main" id="{07E8A1DB-DD7C-43F9-BF7A-65FAFEE9A416}"/>
              </a:ext>
            </a:extLst>
          </p:cNvPr>
          <p:cNvSpPr/>
          <p:nvPr/>
        </p:nvSpPr>
        <p:spPr bwMode="auto">
          <a:xfrm>
            <a:off x="7695639" y="4956081"/>
            <a:ext cx="176840" cy="25304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21 h 49"/>
              <a:gd name="T4" fmla="*/ 33 w 34"/>
              <a:gd name="T5" fmla="*/ 13 h 49"/>
              <a:gd name="T6" fmla="*/ 28 w 34"/>
              <a:gd name="T7" fmla="*/ 7 h 49"/>
              <a:gd name="T8" fmla="*/ 28 w 34"/>
              <a:gd name="T9" fmla="*/ 2 h 49"/>
              <a:gd name="T10" fmla="*/ 28 w 34"/>
              <a:gd name="T11" fmla="*/ 0 h 49"/>
              <a:gd name="T12" fmla="*/ 26 w 34"/>
              <a:gd name="T13" fmla="*/ 0 h 49"/>
              <a:gd name="T14" fmla="*/ 5 w 34"/>
              <a:gd name="T15" fmla="*/ 0 h 49"/>
              <a:gd name="T16" fmla="*/ 3 w 34"/>
              <a:gd name="T17" fmla="*/ 0 h 49"/>
              <a:gd name="T18" fmla="*/ 3 w 34"/>
              <a:gd name="T19" fmla="*/ 2 h 49"/>
              <a:gd name="T20" fmla="*/ 3 w 34"/>
              <a:gd name="T21" fmla="*/ 7 h 49"/>
              <a:gd name="T22" fmla="*/ 0 w 34"/>
              <a:gd name="T23" fmla="*/ 9 h 49"/>
              <a:gd name="T24" fmla="*/ 5 w 34"/>
              <a:gd name="T25" fmla="*/ 17 h 49"/>
              <a:gd name="T26" fmla="*/ 5 w 34"/>
              <a:gd name="T27" fmla="*/ 6 h 49"/>
              <a:gd name="T28" fmla="*/ 5 w 34"/>
              <a:gd name="T29" fmla="*/ 6 h 49"/>
              <a:gd name="T30" fmla="*/ 5 w 34"/>
              <a:gd name="T31" fmla="*/ 6 h 49"/>
              <a:gd name="T32" fmla="*/ 5 w 34"/>
              <a:gd name="T33" fmla="*/ 2 h 49"/>
              <a:gd name="T34" fmla="*/ 26 w 34"/>
              <a:gd name="T35" fmla="*/ 2 h 49"/>
              <a:gd name="T36" fmla="*/ 26 w 34"/>
              <a:gd name="T37" fmla="*/ 6 h 49"/>
              <a:gd name="T38" fmla="*/ 26 w 34"/>
              <a:gd name="T39" fmla="*/ 34 h 49"/>
              <a:gd name="T40" fmla="*/ 16 w 34"/>
              <a:gd name="T41" fmla="*/ 24 h 49"/>
              <a:gd name="T42" fmla="*/ 13 w 34"/>
              <a:gd name="T43" fmla="*/ 26 h 49"/>
              <a:gd name="T44" fmla="*/ 34 w 34"/>
              <a:gd name="T4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49">
                <a:moveTo>
                  <a:pt x="34" y="49"/>
                </a:moveTo>
                <a:cubicBezTo>
                  <a:pt x="34" y="38"/>
                  <a:pt x="34" y="27"/>
                  <a:pt x="34" y="21"/>
                </a:cubicBezTo>
                <a:cubicBezTo>
                  <a:pt x="34" y="19"/>
                  <a:pt x="34" y="15"/>
                  <a:pt x="33" y="13"/>
                </a:cubicBezTo>
                <a:cubicBezTo>
                  <a:pt x="32" y="10"/>
                  <a:pt x="30" y="8"/>
                  <a:pt x="28" y="7"/>
                </a:cubicBezTo>
                <a:cubicBezTo>
                  <a:pt x="28" y="2"/>
                  <a:pt x="28" y="2"/>
                  <a:pt x="28" y="2"/>
                </a:cubicBezTo>
                <a:cubicBezTo>
                  <a:pt x="28" y="0"/>
                  <a:pt x="28" y="0"/>
                  <a:pt x="28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5" y="0"/>
                  <a:pt x="5" y="0"/>
                  <a:pt x="5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2"/>
                  <a:pt x="3" y="2"/>
                  <a:pt x="3" y="2"/>
                </a:cubicBezTo>
                <a:cubicBezTo>
                  <a:pt x="3" y="7"/>
                  <a:pt x="3" y="7"/>
                  <a:pt x="3" y="7"/>
                </a:cubicBezTo>
                <a:cubicBezTo>
                  <a:pt x="2" y="8"/>
                  <a:pt x="1" y="8"/>
                  <a:pt x="0" y="9"/>
                </a:cubicBezTo>
                <a:cubicBezTo>
                  <a:pt x="2" y="12"/>
                  <a:pt x="3" y="14"/>
                  <a:pt x="5" y="17"/>
                </a:cubicBezTo>
                <a:cubicBezTo>
                  <a:pt x="5" y="6"/>
                  <a:pt x="5" y="6"/>
                  <a:pt x="5" y="6"/>
                </a:cubicBezTo>
                <a:cubicBezTo>
                  <a:pt x="5" y="6"/>
                  <a:pt x="5" y="6"/>
                  <a:pt x="5" y="6"/>
                </a:cubicBezTo>
                <a:cubicBezTo>
                  <a:pt x="5" y="6"/>
                  <a:pt x="5" y="6"/>
                  <a:pt x="5" y="6"/>
                </a:cubicBezTo>
                <a:cubicBezTo>
                  <a:pt x="5" y="2"/>
                  <a:pt x="5" y="2"/>
                  <a:pt x="5" y="2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34"/>
                  <a:pt x="26" y="34"/>
                  <a:pt x="26" y="34"/>
                </a:cubicBezTo>
                <a:cubicBezTo>
                  <a:pt x="16" y="24"/>
                  <a:pt x="16" y="24"/>
                  <a:pt x="16" y="24"/>
                </a:cubicBezTo>
                <a:cubicBezTo>
                  <a:pt x="13" y="26"/>
                  <a:pt x="13" y="26"/>
                  <a:pt x="13" y="26"/>
                </a:cubicBezTo>
                <a:cubicBezTo>
                  <a:pt x="20" y="34"/>
                  <a:pt x="26" y="42"/>
                  <a:pt x="34" y="4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3" name="ïsļiḍe">
            <a:extLst>
              <a:ext uri="{FF2B5EF4-FFF2-40B4-BE49-F238E27FC236}">
                <a16:creationId xmlns:a16="http://schemas.microsoft.com/office/drawing/2014/main" id="{CACA192A-8BFE-426F-A779-05620E1E8DEA}"/>
              </a:ext>
            </a:extLst>
          </p:cNvPr>
          <p:cNvSpPr/>
          <p:nvPr/>
        </p:nvSpPr>
        <p:spPr bwMode="auto">
          <a:xfrm>
            <a:off x="7882543" y="4981960"/>
            <a:ext cx="191218" cy="398250"/>
          </a:xfrm>
          <a:custGeom>
            <a:avLst/>
            <a:gdLst>
              <a:gd name="T0" fmla="*/ 22 w 37"/>
              <a:gd name="T1" fmla="*/ 66 h 77"/>
              <a:gd name="T2" fmla="*/ 36 w 37"/>
              <a:gd name="T3" fmla="*/ 74 h 77"/>
              <a:gd name="T4" fmla="*/ 37 w 37"/>
              <a:gd name="T5" fmla="*/ 74 h 77"/>
              <a:gd name="T6" fmla="*/ 37 w 37"/>
              <a:gd name="T7" fmla="*/ 16 h 77"/>
              <a:gd name="T8" fmla="*/ 36 w 37"/>
              <a:gd name="T9" fmla="*/ 8 h 77"/>
              <a:gd name="T10" fmla="*/ 18 w 37"/>
              <a:gd name="T11" fmla="*/ 0 h 77"/>
              <a:gd name="T12" fmla="*/ 1 w 37"/>
              <a:gd name="T13" fmla="*/ 8 h 77"/>
              <a:gd name="T14" fmla="*/ 0 w 37"/>
              <a:gd name="T15" fmla="*/ 16 h 77"/>
              <a:gd name="T16" fmla="*/ 0 w 37"/>
              <a:gd name="T17" fmla="*/ 46 h 77"/>
              <a:gd name="T18" fmla="*/ 22 w 37"/>
              <a:gd name="T19" fmla="*/ 66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" h="77">
                <a:moveTo>
                  <a:pt x="22" y="66"/>
                </a:moveTo>
                <a:cubicBezTo>
                  <a:pt x="29" y="66"/>
                  <a:pt x="34" y="69"/>
                  <a:pt x="36" y="74"/>
                </a:cubicBezTo>
                <a:cubicBezTo>
                  <a:pt x="37" y="77"/>
                  <a:pt x="37" y="77"/>
                  <a:pt x="37" y="74"/>
                </a:cubicBezTo>
                <a:cubicBezTo>
                  <a:pt x="37" y="62"/>
                  <a:pt x="37" y="28"/>
                  <a:pt x="37" y="16"/>
                </a:cubicBezTo>
                <a:cubicBezTo>
                  <a:pt x="37" y="14"/>
                  <a:pt x="37" y="10"/>
                  <a:pt x="36" y="8"/>
                </a:cubicBezTo>
                <a:cubicBezTo>
                  <a:pt x="34" y="1"/>
                  <a:pt x="27" y="0"/>
                  <a:pt x="18" y="0"/>
                </a:cubicBezTo>
                <a:cubicBezTo>
                  <a:pt x="10" y="0"/>
                  <a:pt x="3" y="1"/>
                  <a:pt x="1" y="8"/>
                </a:cubicBezTo>
                <a:cubicBezTo>
                  <a:pt x="0" y="10"/>
                  <a:pt x="0" y="14"/>
                  <a:pt x="0" y="16"/>
                </a:cubicBezTo>
                <a:cubicBezTo>
                  <a:pt x="0" y="46"/>
                  <a:pt x="0" y="46"/>
                  <a:pt x="0" y="46"/>
                </a:cubicBezTo>
                <a:cubicBezTo>
                  <a:pt x="7" y="53"/>
                  <a:pt x="15" y="60"/>
                  <a:pt x="22" y="6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4" name="íṣľîḋe">
            <a:extLst>
              <a:ext uri="{FF2B5EF4-FFF2-40B4-BE49-F238E27FC236}">
                <a16:creationId xmlns:a16="http://schemas.microsoft.com/office/drawing/2014/main" id="{98961073-D699-4D06-89D8-8B748597311A}"/>
              </a:ext>
            </a:extLst>
          </p:cNvPr>
          <p:cNvSpPr/>
          <p:nvPr/>
        </p:nvSpPr>
        <p:spPr bwMode="auto">
          <a:xfrm>
            <a:off x="10152714" y="5085476"/>
            <a:ext cx="30193" cy="107830"/>
          </a:xfrm>
          <a:custGeom>
            <a:avLst/>
            <a:gdLst>
              <a:gd name="T0" fmla="*/ 6 w 6"/>
              <a:gd name="T1" fmla="*/ 1 h 21"/>
              <a:gd name="T2" fmla="*/ 3 w 6"/>
              <a:gd name="T3" fmla="*/ 0 h 21"/>
              <a:gd name="T4" fmla="*/ 3 w 6"/>
              <a:gd name="T5" fmla="*/ 0 h 21"/>
              <a:gd name="T6" fmla="*/ 0 w 6"/>
              <a:gd name="T7" fmla="*/ 1 h 21"/>
              <a:gd name="T8" fmla="*/ 0 w 6"/>
              <a:gd name="T9" fmla="*/ 21 h 21"/>
              <a:gd name="T10" fmla="*/ 6 w 6"/>
              <a:gd name="T11" fmla="*/ 15 h 21"/>
              <a:gd name="T12" fmla="*/ 6 w 6"/>
              <a:gd name="T13" fmla="*/ 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21">
                <a:moveTo>
                  <a:pt x="6" y="1"/>
                </a:moveTo>
                <a:cubicBezTo>
                  <a:pt x="5" y="1"/>
                  <a:pt x="4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0"/>
                  <a:pt x="1" y="1"/>
                  <a:pt x="0" y="1"/>
                </a:cubicBezTo>
                <a:cubicBezTo>
                  <a:pt x="0" y="21"/>
                  <a:pt x="0" y="21"/>
                  <a:pt x="0" y="21"/>
                </a:cubicBezTo>
                <a:cubicBezTo>
                  <a:pt x="2" y="19"/>
                  <a:pt x="4" y="17"/>
                  <a:pt x="6" y="15"/>
                </a:cubicBezTo>
                <a:lnTo>
                  <a:pt x="6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5" name="iś1îḋé">
            <a:extLst>
              <a:ext uri="{FF2B5EF4-FFF2-40B4-BE49-F238E27FC236}">
                <a16:creationId xmlns:a16="http://schemas.microsoft.com/office/drawing/2014/main" id="{78613D10-E3CA-4319-B9CB-102D12217479}"/>
              </a:ext>
            </a:extLst>
          </p:cNvPr>
          <p:cNvSpPr/>
          <p:nvPr/>
        </p:nvSpPr>
        <p:spPr bwMode="auto">
          <a:xfrm>
            <a:off x="10152714" y="4872693"/>
            <a:ext cx="30193" cy="20128"/>
          </a:xfrm>
          <a:custGeom>
            <a:avLst/>
            <a:gdLst>
              <a:gd name="T0" fmla="*/ 4 w 6"/>
              <a:gd name="T1" fmla="*/ 4 h 4"/>
              <a:gd name="T2" fmla="*/ 4 w 6"/>
              <a:gd name="T3" fmla="*/ 4 h 4"/>
              <a:gd name="T4" fmla="*/ 6 w 6"/>
              <a:gd name="T5" fmla="*/ 4 h 4"/>
              <a:gd name="T6" fmla="*/ 6 w 6"/>
              <a:gd name="T7" fmla="*/ 0 h 4"/>
              <a:gd name="T8" fmla="*/ 0 w 6"/>
              <a:gd name="T9" fmla="*/ 0 h 4"/>
              <a:gd name="T10" fmla="*/ 0 w 6"/>
              <a:gd name="T11" fmla="*/ 4 h 4"/>
              <a:gd name="T12" fmla="*/ 4 w 6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4">
                <a:moveTo>
                  <a:pt x="4" y="4"/>
                </a:moveTo>
                <a:cubicBezTo>
                  <a:pt x="4" y="4"/>
                  <a:pt x="4" y="4"/>
                  <a:pt x="4" y="4"/>
                </a:cubicBezTo>
                <a:cubicBezTo>
                  <a:pt x="5" y="4"/>
                  <a:pt x="5" y="4"/>
                  <a:pt x="6" y="4"/>
                </a:cubicBezTo>
                <a:cubicBezTo>
                  <a:pt x="6" y="0"/>
                  <a:pt x="6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"/>
                  <a:pt x="0" y="4"/>
                  <a:pt x="0" y="4"/>
                </a:cubicBezTo>
                <a:cubicBezTo>
                  <a:pt x="1" y="4"/>
                  <a:pt x="2" y="4"/>
                  <a:pt x="4" y="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6" name="îṩlîḋé">
            <a:extLst>
              <a:ext uri="{FF2B5EF4-FFF2-40B4-BE49-F238E27FC236}">
                <a16:creationId xmlns:a16="http://schemas.microsoft.com/office/drawing/2014/main" id="{34BC9C5C-3E38-4009-9F7F-26A893FFFB27}"/>
              </a:ext>
            </a:extLst>
          </p:cNvPr>
          <p:cNvSpPr/>
          <p:nvPr/>
        </p:nvSpPr>
        <p:spPr bwMode="auto">
          <a:xfrm>
            <a:off x="10021879" y="4902884"/>
            <a:ext cx="286107" cy="208471"/>
          </a:xfrm>
          <a:custGeom>
            <a:avLst/>
            <a:gdLst>
              <a:gd name="T0" fmla="*/ 31 w 55"/>
              <a:gd name="T1" fmla="*/ 0 h 40"/>
              <a:gd name="T2" fmla="*/ 29 w 55"/>
              <a:gd name="T3" fmla="*/ 0 h 40"/>
              <a:gd name="T4" fmla="*/ 29 w 55"/>
              <a:gd name="T5" fmla="*/ 0 h 40"/>
              <a:gd name="T6" fmla="*/ 25 w 55"/>
              <a:gd name="T7" fmla="*/ 0 h 40"/>
              <a:gd name="T8" fmla="*/ 0 w 55"/>
              <a:gd name="T9" fmla="*/ 27 h 40"/>
              <a:gd name="T10" fmla="*/ 2 w 55"/>
              <a:gd name="T11" fmla="*/ 38 h 40"/>
              <a:gd name="T12" fmla="*/ 3 w 55"/>
              <a:gd name="T13" fmla="*/ 39 h 40"/>
              <a:gd name="T14" fmla="*/ 5 w 55"/>
              <a:gd name="T15" fmla="*/ 37 h 40"/>
              <a:gd name="T16" fmla="*/ 12 w 55"/>
              <a:gd name="T17" fmla="*/ 33 h 40"/>
              <a:gd name="T18" fmla="*/ 12 w 55"/>
              <a:gd name="T19" fmla="*/ 33 h 40"/>
              <a:gd name="T20" fmla="*/ 19 w 55"/>
              <a:gd name="T21" fmla="*/ 38 h 40"/>
              <a:gd name="T22" fmla="*/ 20 w 55"/>
              <a:gd name="T23" fmla="*/ 39 h 40"/>
              <a:gd name="T24" fmla="*/ 21 w 55"/>
              <a:gd name="T25" fmla="*/ 38 h 40"/>
              <a:gd name="T26" fmla="*/ 25 w 55"/>
              <a:gd name="T27" fmla="*/ 34 h 40"/>
              <a:gd name="T28" fmla="*/ 28 w 55"/>
              <a:gd name="T29" fmla="*/ 33 h 40"/>
              <a:gd name="T30" fmla="*/ 28 w 55"/>
              <a:gd name="T31" fmla="*/ 33 h 40"/>
              <a:gd name="T32" fmla="*/ 31 w 55"/>
              <a:gd name="T33" fmla="*/ 34 h 40"/>
              <a:gd name="T34" fmla="*/ 36 w 55"/>
              <a:gd name="T35" fmla="*/ 38 h 40"/>
              <a:gd name="T36" fmla="*/ 36 w 55"/>
              <a:gd name="T37" fmla="*/ 40 h 40"/>
              <a:gd name="T38" fmla="*/ 37 w 55"/>
              <a:gd name="T39" fmla="*/ 38 h 40"/>
              <a:gd name="T40" fmla="*/ 44 w 55"/>
              <a:gd name="T41" fmla="*/ 34 h 40"/>
              <a:gd name="T42" fmla="*/ 44 w 55"/>
              <a:gd name="T43" fmla="*/ 34 h 40"/>
              <a:gd name="T44" fmla="*/ 45 w 55"/>
              <a:gd name="T45" fmla="*/ 34 h 40"/>
              <a:gd name="T46" fmla="*/ 55 w 55"/>
              <a:gd name="T47" fmla="*/ 20 h 40"/>
              <a:gd name="T48" fmla="*/ 31 w 55"/>
              <a:gd name="T49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5" h="40">
                <a:moveTo>
                  <a:pt x="31" y="0"/>
                </a:moveTo>
                <a:cubicBezTo>
                  <a:pt x="30" y="0"/>
                  <a:pt x="30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7" y="0"/>
                  <a:pt x="26" y="0"/>
                  <a:pt x="25" y="0"/>
                </a:cubicBezTo>
                <a:cubicBezTo>
                  <a:pt x="11" y="2"/>
                  <a:pt x="1" y="13"/>
                  <a:pt x="0" y="27"/>
                </a:cubicBezTo>
                <a:cubicBezTo>
                  <a:pt x="0" y="31"/>
                  <a:pt x="1" y="34"/>
                  <a:pt x="2" y="38"/>
                </a:cubicBezTo>
                <a:cubicBezTo>
                  <a:pt x="3" y="39"/>
                  <a:pt x="3" y="39"/>
                  <a:pt x="3" y="39"/>
                </a:cubicBezTo>
                <a:cubicBezTo>
                  <a:pt x="4" y="39"/>
                  <a:pt x="4" y="38"/>
                  <a:pt x="5" y="37"/>
                </a:cubicBezTo>
                <a:cubicBezTo>
                  <a:pt x="6" y="35"/>
                  <a:pt x="9" y="33"/>
                  <a:pt x="12" y="33"/>
                </a:cubicBezTo>
                <a:cubicBezTo>
                  <a:pt x="12" y="33"/>
                  <a:pt x="12" y="33"/>
                  <a:pt x="12" y="33"/>
                </a:cubicBezTo>
                <a:cubicBezTo>
                  <a:pt x="15" y="33"/>
                  <a:pt x="18" y="35"/>
                  <a:pt x="19" y="38"/>
                </a:cubicBezTo>
                <a:cubicBezTo>
                  <a:pt x="20" y="39"/>
                  <a:pt x="20" y="39"/>
                  <a:pt x="20" y="39"/>
                </a:cubicBezTo>
                <a:cubicBezTo>
                  <a:pt x="20" y="39"/>
                  <a:pt x="20" y="39"/>
                  <a:pt x="21" y="38"/>
                </a:cubicBezTo>
                <a:cubicBezTo>
                  <a:pt x="22" y="36"/>
                  <a:pt x="23" y="35"/>
                  <a:pt x="25" y="34"/>
                </a:cubicBezTo>
                <a:cubicBezTo>
                  <a:pt x="26" y="34"/>
                  <a:pt x="27" y="33"/>
                  <a:pt x="28" y="33"/>
                </a:cubicBezTo>
                <a:cubicBezTo>
                  <a:pt x="28" y="33"/>
                  <a:pt x="28" y="33"/>
                  <a:pt x="28" y="33"/>
                </a:cubicBezTo>
                <a:cubicBezTo>
                  <a:pt x="29" y="33"/>
                  <a:pt x="30" y="34"/>
                  <a:pt x="31" y="34"/>
                </a:cubicBezTo>
                <a:cubicBezTo>
                  <a:pt x="33" y="35"/>
                  <a:pt x="35" y="36"/>
                  <a:pt x="36" y="38"/>
                </a:cubicBezTo>
                <a:cubicBezTo>
                  <a:pt x="36" y="39"/>
                  <a:pt x="36" y="40"/>
                  <a:pt x="36" y="40"/>
                </a:cubicBezTo>
                <a:cubicBezTo>
                  <a:pt x="37" y="40"/>
                  <a:pt x="37" y="39"/>
                  <a:pt x="37" y="38"/>
                </a:cubicBezTo>
                <a:cubicBezTo>
                  <a:pt x="39" y="36"/>
                  <a:pt x="41" y="34"/>
                  <a:pt x="44" y="34"/>
                </a:cubicBezTo>
                <a:cubicBezTo>
                  <a:pt x="44" y="34"/>
                  <a:pt x="44" y="34"/>
                  <a:pt x="44" y="34"/>
                </a:cubicBezTo>
                <a:cubicBezTo>
                  <a:pt x="45" y="34"/>
                  <a:pt x="45" y="34"/>
                  <a:pt x="45" y="34"/>
                </a:cubicBezTo>
                <a:cubicBezTo>
                  <a:pt x="48" y="29"/>
                  <a:pt x="52" y="25"/>
                  <a:pt x="55" y="20"/>
                </a:cubicBezTo>
                <a:cubicBezTo>
                  <a:pt x="52" y="9"/>
                  <a:pt x="43" y="1"/>
                  <a:pt x="3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7" name="iS1iḍe">
            <a:extLst>
              <a:ext uri="{FF2B5EF4-FFF2-40B4-BE49-F238E27FC236}">
                <a16:creationId xmlns:a16="http://schemas.microsoft.com/office/drawing/2014/main" id="{D761D3E5-C9E5-4481-BDA9-DDE1E0FCA6A9}"/>
              </a:ext>
            </a:extLst>
          </p:cNvPr>
          <p:cNvSpPr/>
          <p:nvPr/>
        </p:nvSpPr>
        <p:spPr bwMode="auto">
          <a:xfrm>
            <a:off x="8680481" y="2452997"/>
            <a:ext cx="378123" cy="300485"/>
          </a:xfrm>
          <a:custGeom>
            <a:avLst/>
            <a:gdLst>
              <a:gd name="T0" fmla="*/ 71 w 73"/>
              <a:gd name="T1" fmla="*/ 14 h 58"/>
              <a:gd name="T2" fmla="*/ 57 w 73"/>
              <a:gd name="T3" fmla="*/ 20 h 58"/>
              <a:gd name="T4" fmla="*/ 51 w 73"/>
              <a:gd name="T5" fmla="*/ 20 h 58"/>
              <a:gd name="T6" fmla="*/ 48 w 73"/>
              <a:gd name="T7" fmla="*/ 13 h 58"/>
              <a:gd name="T8" fmla="*/ 52 w 73"/>
              <a:gd name="T9" fmla="*/ 9 h 58"/>
              <a:gd name="T10" fmla="*/ 67 w 73"/>
              <a:gd name="T11" fmla="*/ 3 h 58"/>
              <a:gd name="T12" fmla="*/ 51 w 73"/>
              <a:gd name="T13" fmla="*/ 1 h 58"/>
              <a:gd name="T14" fmla="*/ 50 w 73"/>
              <a:gd name="T15" fmla="*/ 3 h 58"/>
              <a:gd name="T16" fmla="*/ 43 w 73"/>
              <a:gd name="T17" fmla="*/ 13 h 58"/>
              <a:gd name="T18" fmla="*/ 44 w 73"/>
              <a:gd name="T19" fmla="*/ 2 h 58"/>
              <a:gd name="T20" fmla="*/ 38 w 73"/>
              <a:gd name="T21" fmla="*/ 1 h 58"/>
              <a:gd name="T22" fmla="*/ 34 w 73"/>
              <a:gd name="T23" fmla="*/ 7 h 58"/>
              <a:gd name="T24" fmla="*/ 27 w 73"/>
              <a:gd name="T25" fmla="*/ 10 h 58"/>
              <a:gd name="T26" fmla="*/ 23 w 73"/>
              <a:gd name="T27" fmla="*/ 3 h 58"/>
              <a:gd name="T28" fmla="*/ 22 w 73"/>
              <a:gd name="T29" fmla="*/ 3 h 58"/>
              <a:gd name="T30" fmla="*/ 19 w 73"/>
              <a:gd name="T31" fmla="*/ 7 h 58"/>
              <a:gd name="T32" fmla="*/ 17 w 73"/>
              <a:gd name="T33" fmla="*/ 13 h 58"/>
              <a:gd name="T34" fmla="*/ 25 w 73"/>
              <a:gd name="T35" fmla="*/ 20 h 58"/>
              <a:gd name="T36" fmla="*/ 14 w 73"/>
              <a:gd name="T37" fmla="*/ 18 h 58"/>
              <a:gd name="T38" fmla="*/ 4 w 73"/>
              <a:gd name="T39" fmla="*/ 11 h 58"/>
              <a:gd name="T40" fmla="*/ 0 w 73"/>
              <a:gd name="T41" fmla="*/ 20 h 58"/>
              <a:gd name="T42" fmla="*/ 1 w 73"/>
              <a:gd name="T43" fmla="*/ 30 h 58"/>
              <a:gd name="T44" fmla="*/ 16 w 73"/>
              <a:gd name="T45" fmla="*/ 24 h 58"/>
              <a:gd name="T46" fmla="*/ 22 w 73"/>
              <a:gd name="T47" fmla="*/ 24 h 58"/>
              <a:gd name="T48" fmla="*/ 24 w 73"/>
              <a:gd name="T49" fmla="*/ 31 h 58"/>
              <a:gd name="T50" fmla="*/ 20 w 73"/>
              <a:gd name="T51" fmla="*/ 35 h 58"/>
              <a:gd name="T52" fmla="*/ 6 w 73"/>
              <a:gd name="T53" fmla="*/ 41 h 58"/>
              <a:gd name="T54" fmla="*/ 12 w 73"/>
              <a:gd name="T55" fmla="*/ 49 h 58"/>
              <a:gd name="T56" fmla="*/ 22 w 73"/>
              <a:gd name="T57" fmla="*/ 53 h 58"/>
              <a:gd name="T58" fmla="*/ 23 w 73"/>
              <a:gd name="T59" fmla="*/ 41 h 58"/>
              <a:gd name="T60" fmla="*/ 30 w 73"/>
              <a:gd name="T61" fmla="*/ 31 h 58"/>
              <a:gd name="T62" fmla="*/ 29 w 73"/>
              <a:gd name="T63" fmla="*/ 42 h 58"/>
              <a:gd name="T64" fmla="*/ 34 w 73"/>
              <a:gd name="T65" fmla="*/ 45 h 58"/>
              <a:gd name="T66" fmla="*/ 34 w 73"/>
              <a:gd name="T67" fmla="*/ 51 h 58"/>
              <a:gd name="T68" fmla="*/ 38 w 73"/>
              <a:gd name="T69" fmla="*/ 51 h 58"/>
              <a:gd name="T70" fmla="*/ 38 w 73"/>
              <a:gd name="T71" fmla="*/ 45 h 58"/>
              <a:gd name="T72" fmla="*/ 44 w 73"/>
              <a:gd name="T73" fmla="*/ 42 h 58"/>
              <a:gd name="T74" fmla="*/ 43 w 73"/>
              <a:gd name="T75" fmla="*/ 31 h 58"/>
              <a:gd name="T76" fmla="*/ 50 w 73"/>
              <a:gd name="T77" fmla="*/ 41 h 58"/>
              <a:gd name="T78" fmla="*/ 51 w 73"/>
              <a:gd name="T79" fmla="*/ 53 h 58"/>
              <a:gd name="T80" fmla="*/ 61 w 73"/>
              <a:gd name="T81" fmla="*/ 49 h 58"/>
              <a:gd name="T82" fmla="*/ 67 w 73"/>
              <a:gd name="T83" fmla="*/ 41 h 58"/>
              <a:gd name="T84" fmla="*/ 52 w 73"/>
              <a:gd name="T85" fmla="*/ 35 h 58"/>
              <a:gd name="T86" fmla="*/ 48 w 73"/>
              <a:gd name="T87" fmla="*/ 31 h 58"/>
              <a:gd name="T88" fmla="*/ 51 w 73"/>
              <a:gd name="T89" fmla="*/ 24 h 58"/>
              <a:gd name="T90" fmla="*/ 57 w 73"/>
              <a:gd name="T91" fmla="*/ 24 h 58"/>
              <a:gd name="T92" fmla="*/ 71 w 73"/>
              <a:gd name="T93" fmla="*/ 30 h 58"/>
              <a:gd name="T94" fmla="*/ 73 w 73"/>
              <a:gd name="T95" fmla="*/ 2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" h="58">
                <a:moveTo>
                  <a:pt x="73" y="20"/>
                </a:moveTo>
                <a:cubicBezTo>
                  <a:pt x="65" y="20"/>
                  <a:pt x="65" y="20"/>
                  <a:pt x="65" y="20"/>
                </a:cubicBezTo>
                <a:cubicBezTo>
                  <a:pt x="71" y="14"/>
                  <a:pt x="71" y="14"/>
                  <a:pt x="71" y="14"/>
                </a:cubicBezTo>
                <a:cubicBezTo>
                  <a:pt x="69" y="11"/>
                  <a:pt x="69" y="11"/>
                  <a:pt x="69" y="11"/>
                </a:cubicBezTo>
                <a:cubicBezTo>
                  <a:pt x="59" y="20"/>
                  <a:pt x="59" y="20"/>
                  <a:pt x="59" y="20"/>
                </a:cubicBezTo>
                <a:cubicBezTo>
                  <a:pt x="57" y="20"/>
                  <a:pt x="57" y="20"/>
                  <a:pt x="57" y="20"/>
                </a:cubicBezTo>
                <a:cubicBezTo>
                  <a:pt x="59" y="18"/>
                  <a:pt x="59" y="18"/>
                  <a:pt x="59" y="18"/>
                </a:cubicBezTo>
                <a:cubicBezTo>
                  <a:pt x="56" y="15"/>
                  <a:pt x="56" y="15"/>
                  <a:pt x="56" y="15"/>
                </a:cubicBezTo>
                <a:cubicBezTo>
                  <a:pt x="51" y="20"/>
                  <a:pt x="51" y="20"/>
                  <a:pt x="51" y="20"/>
                </a:cubicBezTo>
                <a:cubicBezTo>
                  <a:pt x="47" y="20"/>
                  <a:pt x="47" y="20"/>
                  <a:pt x="47" y="20"/>
                </a:cubicBezTo>
                <a:cubicBezTo>
                  <a:pt x="47" y="18"/>
                  <a:pt x="46" y="17"/>
                  <a:pt x="46" y="16"/>
                </a:cubicBezTo>
                <a:cubicBezTo>
                  <a:pt x="48" y="13"/>
                  <a:pt x="48" y="13"/>
                  <a:pt x="48" y="13"/>
                </a:cubicBezTo>
                <a:cubicBezTo>
                  <a:pt x="56" y="13"/>
                  <a:pt x="56" y="13"/>
                  <a:pt x="56" y="13"/>
                </a:cubicBezTo>
                <a:cubicBezTo>
                  <a:pt x="56" y="9"/>
                  <a:pt x="56" y="9"/>
                  <a:pt x="56" y="9"/>
                </a:cubicBezTo>
                <a:cubicBezTo>
                  <a:pt x="52" y="9"/>
                  <a:pt x="52" y="9"/>
                  <a:pt x="52" y="9"/>
                </a:cubicBezTo>
                <a:cubicBezTo>
                  <a:pt x="54" y="7"/>
                  <a:pt x="54" y="7"/>
                  <a:pt x="54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3"/>
                  <a:pt x="67" y="3"/>
                  <a:pt x="67" y="3"/>
                </a:cubicBezTo>
                <a:cubicBezTo>
                  <a:pt x="58" y="3"/>
                  <a:pt x="58" y="3"/>
                  <a:pt x="58" y="3"/>
                </a:cubicBezTo>
                <a:cubicBezTo>
                  <a:pt x="61" y="0"/>
                  <a:pt x="61" y="0"/>
                  <a:pt x="61" y="0"/>
                </a:cubicBezTo>
                <a:cubicBezTo>
                  <a:pt x="58" y="0"/>
                  <a:pt x="54" y="0"/>
                  <a:pt x="51" y="1"/>
                </a:cubicBezTo>
                <a:cubicBezTo>
                  <a:pt x="51" y="4"/>
                  <a:pt x="51" y="4"/>
                  <a:pt x="51" y="4"/>
                </a:cubicBezTo>
                <a:cubicBezTo>
                  <a:pt x="50" y="6"/>
                  <a:pt x="50" y="6"/>
                  <a:pt x="50" y="6"/>
                </a:cubicBezTo>
                <a:cubicBezTo>
                  <a:pt x="50" y="3"/>
                  <a:pt x="50" y="3"/>
                  <a:pt x="50" y="3"/>
                </a:cubicBezTo>
                <a:cubicBezTo>
                  <a:pt x="46" y="3"/>
                  <a:pt x="46" y="3"/>
                  <a:pt x="46" y="3"/>
                </a:cubicBezTo>
                <a:cubicBezTo>
                  <a:pt x="46" y="10"/>
                  <a:pt x="46" y="10"/>
                  <a:pt x="46" y="10"/>
                </a:cubicBezTo>
                <a:cubicBezTo>
                  <a:pt x="43" y="13"/>
                  <a:pt x="43" y="13"/>
                  <a:pt x="43" y="13"/>
                </a:cubicBezTo>
                <a:cubicBezTo>
                  <a:pt x="41" y="12"/>
                  <a:pt x="40" y="11"/>
                  <a:pt x="38" y="11"/>
                </a:cubicBezTo>
                <a:cubicBezTo>
                  <a:pt x="38" y="7"/>
                  <a:pt x="38" y="7"/>
                  <a:pt x="38" y="7"/>
                </a:cubicBezTo>
                <a:cubicBezTo>
                  <a:pt x="44" y="2"/>
                  <a:pt x="44" y="2"/>
                  <a:pt x="44" y="2"/>
                </a:cubicBezTo>
                <a:cubicBezTo>
                  <a:pt x="43" y="1"/>
                  <a:pt x="43" y="1"/>
                  <a:pt x="43" y="1"/>
                </a:cubicBezTo>
                <a:cubicBezTo>
                  <a:pt x="41" y="1"/>
                  <a:pt x="40" y="1"/>
                  <a:pt x="39" y="1"/>
                </a:cubicBezTo>
                <a:cubicBezTo>
                  <a:pt x="38" y="1"/>
                  <a:pt x="38" y="1"/>
                  <a:pt x="38" y="1"/>
                </a:cubicBezTo>
                <a:cubicBezTo>
                  <a:pt x="38" y="1"/>
                  <a:pt x="38" y="1"/>
                  <a:pt x="38" y="1"/>
                </a:cubicBezTo>
                <a:cubicBezTo>
                  <a:pt x="35" y="2"/>
                  <a:pt x="32" y="2"/>
                  <a:pt x="29" y="2"/>
                </a:cubicBezTo>
                <a:cubicBezTo>
                  <a:pt x="34" y="7"/>
                  <a:pt x="34" y="7"/>
                  <a:pt x="34" y="7"/>
                </a:cubicBezTo>
                <a:cubicBezTo>
                  <a:pt x="34" y="11"/>
                  <a:pt x="34" y="11"/>
                  <a:pt x="34" y="11"/>
                </a:cubicBezTo>
                <a:cubicBezTo>
                  <a:pt x="33" y="11"/>
                  <a:pt x="31" y="12"/>
                  <a:pt x="30" y="13"/>
                </a:cubicBezTo>
                <a:cubicBezTo>
                  <a:pt x="27" y="10"/>
                  <a:pt x="27" y="10"/>
                  <a:pt x="27" y="10"/>
                </a:cubicBezTo>
                <a:cubicBezTo>
                  <a:pt x="27" y="3"/>
                  <a:pt x="27" y="3"/>
                  <a:pt x="27" y="3"/>
                </a:cubicBezTo>
                <a:cubicBezTo>
                  <a:pt x="24" y="3"/>
                  <a:pt x="24" y="3"/>
                  <a:pt x="24" y="3"/>
                </a:cubicBezTo>
                <a:cubicBezTo>
                  <a:pt x="24" y="3"/>
                  <a:pt x="23" y="3"/>
                  <a:pt x="23" y="3"/>
                </a:cubicBezTo>
                <a:cubicBezTo>
                  <a:pt x="23" y="6"/>
                  <a:pt x="23" y="6"/>
                  <a:pt x="23" y="6"/>
                </a:cubicBezTo>
                <a:cubicBezTo>
                  <a:pt x="22" y="4"/>
                  <a:pt x="22" y="4"/>
                  <a:pt x="22" y="4"/>
                </a:cubicBezTo>
                <a:cubicBezTo>
                  <a:pt x="22" y="3"/>
                  <a:pt x="22" y="3"/>
                  <a:pt x="22" y="3"/>
                </a:cubicBezTo>
                <a:cubicBezTo>
                  <a:pt x="16" y="4"/>
                  <a:pt x="11" y="5"/>
                  <a:pt x="6" y="6"/>
                </a:cubicBezTo>
                <a:cubicBezTo>
                  <a:pt x="6" y="7"/>
                  <a:pt x="6" y="7"/>
                  <a:pt x="6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9"/>
                  <a:pt x="20" y="9"/>
                  <a:pt x="20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13"/>
                  <a:pt x="17" y="13"/>
                  <a:pt x="17" y="13"/>
                </a:cubicBezTo>
                <a:cubicBezTo>
                  <a:pt x="24" y="13"/>
                  <a:pt x="24" y="13"/>
                  <a:pt x="24" y="13"/>
                </a:cubicBezTo>
                <a:cubicBezTo>
                  <a:pt x="27" y="16"/>
                  <a:pt x="27" y="16"/>
                  <a:pt x="27" y="16"/>
                </a:cubicBezTo>
                <a:cubicBezTo>
                  <a:pt x="26" y="17"/>
                  <a:pt x="26" y="18"/>
                  <a:pt x="25" y="20"/>
                </a:cubicBezTo>
                <a:cubicBezTo>
                  <a:pt x="22" y="20"/>
                  <a:pt x="22" y="20"/>
                  <a:pt x="22" y="20"/>
                </a:cubicBezTo>
                <a:cubicBezTo>
                  <a:pt x="16" y="15"/>
                  <a:pt x="16" y="15"/>
                  <a:pt x="16" y="15"/>
                </a:cubicBezTo>
                <a:cubicBezTo>
                  <a:pt x="14" y="18"/>
                  <a:pt x="14" y="18"/>
                  <a:pt x="14" y="18"/>
                </a:cubicBezTo>
                <a:cubicBezTo>
                  <a:pt x="16" y="20"/>
                  <a:pt x="16" y="20"/>
                  <a:pt x="16" y="20"/>
                </a:cubicBezTo>
                <a:cubicBezTo>
                  <a:pt x="13" y="20"/>
                  <a:pt x="13" y="20"/>
                  <a:pt x="13" y="20"/>
                </a:cubicBezTo>
                <a:cubicBezTo>
                  <a:pt x="4" y="11"/>
                  <a:pt x="4" y="11"/>
                  <a:pt x="4" y="11"/>
                </a:cubicBezTo>
                <a:cubicBezTo>
                  <a:pt x="1" y="14"/>
                  <a:pt x="1" y="14"/>
                  <a:pt x="1" y="14"/>
                </a:cubicBezTo>
                <a:cubicBezTo>
                  <a:pt x="8" y="20"/>
                  <a:pt x="8" y="20"/>
                  <a:pt x="8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4"/>
                  <a:pt x="0" y="24"/>
                  <a:pt x="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1" y="30"/>
                  <a:pt x="1" y="30"/>
                  <a:pt x="1" y="30"/>
                </a:cubicBezTo>
                <a:cubicBezTo>
                  <a:pt x="4" y="33"/>
                  <a:pt x="4" y="33"/>
                  <a:pt x="4" y="33"/>
                </a:cubicBezTo>
                <a:cubicBezTo>
                  <a:pt x="13" y="24"/>
                  <a:pt x="13" y="24"/>
                  <a:pt x="13" y="24"/>
                </a:cubicBezTo>
                <a:cubicBezTo>
                  <a:pt x="16" y="24"/>
                  <a:pt x="16" y="24"/>
                  <a:pt x="16" y="24"/>
                </a:cubicBezTo>
                <a:cubicBezTo>
                  <a:pt x="14" y="26"/>
                  <a:pt x="14" y="26"/>
                  <a:pt x="14" y="26"/>
                </a:cubicBezTo>
                <a:cubicBezTo>
                  <a:pt x="16" y="29"/>
                  <a:pt x="16" y="29"/>
                  <a:pt x="16" y="29"/>
                </a:cubicBezTo>
                <a:cubicBezTo>
                  <a:pt x="22" y="24"/>
                  <a:pt x="22" y="24"/>
                  <a:pt x="22" y="24"/>
                </a:cubicBezTo>
                <a:cubicBezTo>
                  <a:pt x="25" y="24"/>
                  <a:pt x="25" y="24"/>
                  <a:pt x="25" y="24"/>
                </a:cubicBezTo>
                <a:cubicBezTo>
                  <a:pt x="26" y="26"/>
                  <a:pt x="26" y="27"/>
                  <a:pt x="27" y="28"/>
                </a:cubicBezTo>
                <a:cubicBezTo>
                  <a:pt x="24" y="31"/>
                  <a:pt x="24" y="31"/>
                  <a:pt x="24" y="31"/>
                </a:cubicBezTo>
                <a:cubicBezTo>
                  <a:pt x="17" y="31"/>
                  <a:pt x="17" y="31"/>
                  <a:pt x="17" y="31"/>
                </a:cubicBezTo>
                <a:cubicBezTo>
                  <a:pt x="17" y="35"/>
                  <a:pt x="17" y="35"/>
                  <a:pt x="17" y="35"/>
                </a:cubicBezTo>
                <a:cubicBezTo>
                  <a:pt x="20" y="35"/>
                  <a:pt x="20" y="35"/>
                  <a:pt x="20" y="35"/>
                </a:cubicBezTo>
                <a:cubicBezTo>
                  <a:pt x="19" y="37"/>
                  <a:pt x="19" y="37"/>
                  <a:pt x="19" y="37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41"/>
                  <a:pt x="6" y="41"/>
                  <a:pt x="6" y="41"/>
                </a:cubicBezTo>
                <a:cubicBezTo>
                  <a:pt x="15" y="41"/>
                  <a:pt x="15" y="41"/>
                  <a:pt x="15" y="41"/>
                </a:cubicBezTo>
                <a:cubicBezTo>
                  <a:pt x="9" y="46"/>
                  <a:pt x="9" y="46"/>
                  <a:pt x="9" y="46"/>
                </a:cubicBezTo>
                <a:cubicBezTo>
                  <a:pt x="12" y="49"/>
                  <a:pt x="12" y="49"/>
                  <a:pt x="12" y="49"/>
                </a:cubicBezTo>
                <a:cubicBezTo>
                  <a:pt x="18" y="44"/>
                  <a:pt x="18" y="44"/>
                  <a:pt x="18" y="44"/>
                </a:cubicBezTo>
                <a:cubicBezTo>
                  <a:pt x="18" y="53"/>
                  <a:pt x="18" y="53"/>
                  <a:pt x="18" y="53"/>
                </a:cubicBezTo>
                <a:cubicBezTo>
                  <a:pt x="22" y="53"/>
                  <a:pt x="22" y="53"/>
                  <a:pt x="22" y="53"/>
                </a:cubicBezTo>
                <a:cubicBezTo>
                  <a:pt x="22" y="40"/>
                  <a:pt x="22" y="40"/>
                  <a:pt x="22" y="40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41"/>
                  <a:pt x="23" y="41"/>
                  <a:pt x="23" y="41"/>
                </a:cubicBezTo>
                <a:cubicBezTo>
                  <a:pt x="27" y="41"/>
                  <a:pt x="27" y="41"/>
                  <a:pt x="27" y="41"/>
                </a:cubicBezTo>
                <a:cubicBezTo>
                  <a:pt x="27" y="34"/>
                  <a:pt x="27" y="34"/>
                  <a:pt x="27" y="34"/>
                </a:cubicBezTo>
                <a:cubicBezTo>
                  <a:pt x="30" y="31"/>
                  <a:pt x="30" y="31"/>
                  <a:pt x="30" y="31"/>
                </a:cubicBezTo>
                <a:cubicBezTo>
                  <a:pt x="31" y="32"/>
                  <a:pt x="33" y="33"/>
                  <a:pt x="34" y="33"/>
                </a:cubicBezTo>
                <a:cubicBezTo>
                  <a:pt x="34" y="37"/>
                  <a:pt x="34" y="37"/>
                  <a:pt x="34" y="37"/>
                </a:cubicBezTo>
                <a:cubicBezTo>
                  <a:pt x="29" y="42"/>
                  <a:pt x="29" y="42"/>
                  <a:pt x="29" y="42"/>
                </a:cubicBezTo>
                <a:cubicBezTo>
                  <a:pt x="32" y="45"/>
                  <a:pt x="32" y="45"/>
                  <a:pt x="32" y="45"/>
                </a:cubicBezTo>
                <a:cubicBezTo>
                  <a:pt x="34" y="43"/>
                  <a:pt x="34" y="43"/>
                  <a:pt x="34" y="43"/>
                </a:cubicBezTo>
                <a:cubicBezTo>
                  <a:pt x="34" y="45"/>
                  <a:pt x="34" y="45"/>
                  <a:pt x="34" y="45"/>
                </a:cubicBezTo>
                <a:cubicBezTo>
                  <a:pt x="25" y="54"/>
                  <a:pt x="25" y="54"/>
                  <a:pt x="25" y="54"/>
                </a:cubicBezTo>
                <a:cubicBezTo>
                  <a:pt x="28" y="57"/>
                  <a:pt x="28" y="57"/>
                  <a:pt x="28" y="57"/>
                </a:cubicBezTo>
                <a:cubicBezTo>
                  <a:pt x="34" y="51"/>
                  <a:pt x="34" y="51"/>
                  <a:pt x="34" y="51"/>
                </a:cubicBezTo>
                <a:cubicBezTo>
                  <a:pt x="34" y="58"/>
                  <a:pt x="34" y="58"/>
                  <a:pt x="34" y="58"/>
                </a:cubicBezTo>
                <a:cubicBezTo>
                  <a:pt x="38" y="58"/>
                  <a:pt x="38" y="58"/>
                  <a:pt x="38" y="58"/>
                </a:cubicBezTo>
                <a:cubicBezTo>
                  <a:pt x="38" y="51"/>
                  <a:pt x="38" y="51"/>
                  <a:pt x="38" y="51"/>
                </a:cubicBezTo>
                <a:cubicBezTo>
                  <a:pt x="45" y="57"/>
                  <a:pt x="45" y="57"/>
                  <a:pt x="45" y="57"/>
                </a:cubicBezTo>
                <a:cubicBezTo>
                  <a:pt x="48" y="54"/>
                  <a:pt x="48" y="54"/>
                  <a:pt x="48" y="54"/>
                </a:cubicBezTo>
                <a:cubicBezTo>
                  <a:pt x="38" y="45"/>
                  <a:pt x="38" y="45"/>
                  <a:pt x="38" y="45"/>
                </a:cubicBezTo>
                <a:cubicBezTo>
                  <a:pt x="38" y="43"/>
                  <a:pt x="38" y="43"/>
                  <a:pt x="38" y="43"/>
                </a:cubicBezTo>
                <a:cubicBezTo>
                  <a:pt x="41" y="45"/>
                  <a:pt x="41" y="45"/>
                  <a:pt x="41" y="45"/>
                </a:cubicBezTo>
                <a:cubicBezTo>
                  <a:pt x="44" y="42"/>
                  <a:pt x="44" y="42"/>
                  <a:pt x="44" y="42"/>
                </a:cubicBezTo>
                <a:cubicBezTo>
                  <a:pt x="38" y="37"/>
                  <a:pt x="38" y="37"/>
                  <a:pt x="38" y="37"/>
                </a:cubicBezTo>
                <a:cubicBezTo>
                  <a:pt x="38" y="33"/>
                  <a:pt x="38" y="33"/>
                  <a:pt x="38" y="33"/>
                </a:cubicBezTo>
                <a:cubicBezTo>
                  <a:pt x="40" y="33"/>
                  <a:pt x="41" y="32"/>
                  <a:pt x="43" y="31"/>
                </a:cubicBezTo>
                <a:cubicBezTo>
                  <a:pt x="46" y="34"/>
                  <a:pt x="46" y="34"/>
                  <a:pt x="46" y="34"/>
                </a:cubicBezTo>
                <a:cubicBezTo>
                  <a:pt x="46" y="41"/>
                  <a:pt x="46" y="41"/>
                  <a:pt x="46" y="41"/>
                </a:cubicBezTo>
                <a:cubicBezTo>
                  <a:pt x="50" y="41"/>
                  <a:pt x="50" y="41"/>
                  <a:pt x="50" y="41"/>
                </a:cubicBezTo>
                <a:cubicBezTo>
                  <a:pt x="50" y="38"/>
                  <a:pt x="50" y="38"/>
                  <a:pt x="50" y="38"/>
                </a:cubicBezTo>
                <a:cubicBezTo>
                  <a:pt x="51" y="40"/>
                  <a:pt x="51" y="40"/>
                  <a:pt x="51" y="40"/>
                </a:cubicBezTo>
                <a:cubicBezTo>
                  <a:pt x="51" y="53"/>
                  <a:pt x="51" y="53"/>
                  <a:pt x="51" y="53"/>
                </a:cubicBezTo>
                <a:cubicBezTo>
                  <a:pt x="55" y="53"/>
                  <a:pt x="55" y="53"/>
                  <a:pt x="55" y="53"/>
                </a:cubicBezTo>
                <a:cubicBezTo>
                  <a:pt x="55" y="44"/>
                  <a:pt x="55" y="44"/>
                  <a:pt x="55" y="44"/>
                </a:cubicBezTo>
                <a:cubicBezTo>
                  <a:pt x="61" y="49"/>
                  <a:pt x="61" y="49"/>
                  <a:pt x="61" y="49"/>
                </a:cubicBezTo>
                <a:cubicBezTo>
                  <a:pt x="63" y="46"/>
                  <a:pt x="63" y="46"/>
                  <a:pt x="63" y="46"/>
                </a:cubicBezTo>
                <a:cubicBezTo>
                  <a:pt x="58" y="41"/>
                  <a:pt x="58" y="41"/>
                  <a:pt x="58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7" y="37"/>
                  <a:pt x="67" y="37"/>
                  <a:pt x="67" y="37"/>
                </a:cubicBezTo>
                <a:cubicBezTo>
                  <a:pt x="54" y="37"/>
                  <a:pt x="54" y="37"/>
                  <a:pt x="54" y="37"/>
                </a:cubicBezTo>
                <a:cubicBezTo>
                  <a:pt x="52" y="35"/>
                  <a:pt x="52" y="35"/>
                  <a:pt x="52" y="35"/>
                </a:cubicBezTo>
                <a:cubicBezTo>
                  <a:pt x="56" y="35"/>
                  <a:pt x="56" y="35"/>
                  <a:pt x="56" y="35"/>
                </a:cubicBezTo>
                <a:cubicBezTo>
                  <a:pt x="56" y="31"/>
                  <a:pt x="56" y="31"/>
                  <a:pt x="56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6" y="28"/>
                  <a:pt x="46" y="28"/>
                  <a:pt x="46" y="28"/>
                </a:cubicBezTo>
                <a:cubicBezTo>
                  <a:pt x="46" y="27"/>
                  <a:pt x="47" y="26"/>
                  <a:pt x="47" y="24"/>
                </a:cubicBezTo>
                <a:cubicBezTo>
                  <a:pt x="51" y="24"/>
                  <a:pt x="51" y="24"/>
                  <a:pt x="51" y="24"/>
                </a:cubicBezTo>
                <a:cubicBezTo>
                  <a:pt x="56" y="29"/>
                  <a:pt x="56" y="29"/>
                  <a:pt x="56" y="29"/>
                </a:cubicBezTo>
                <a:cubicBezTo>
                  <a:pt x="59" y="26"/>
                  <a:pt x="59" y="26"/>
                  <a:pt x="59" y="26"/>
                </a:cubicBezTo>
                <a:cubicBezTo>
                  <a:pt x="57" y="24"/>
                  <a:pt x="57" y="24"/>
                  <a:pt x="57" y="24"/>
                </a:cubicBezTo>
                <a:cubicBezTo>
                  <a:pt x="59" y="24"/>
                  <a:pt x="59" y="24"/>
                  <a:pt x="59" y="24"/>
                </a:cubicBezTo>
                <a:cubicBezTo>
                  <a:pt x="69" y="33"/>
                  <a:pt x="69" y="33"/>
                  <a:pt x="69" y="33"/>
                </a:cubicBezTo>
                <a:cubicBezTo>
                  <a:pt x="71" y="30"/>
                  <a:pt x="71" y="30"/>
                  <a:pt x="71" y="30"/>
                </a:cubicBezTo>
                <a:cubicBezTo>
                  <a:pt x="65" y="24"/>
                  <a:pt x="65" y="24"/>
                  <a:pt x="65" y="24"/>
                </a:cubicBezTo>
                <a:cubicBezTo>
                  <a:pt x="73" y="24"/>
                  <a:pt x="73" y="24"/>
                  <a:pt x="73" y="24"/>
                </a:cubicBezTo>
                <a:lnTo>
                  <a:pt x="73" y="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8" name="iṡ1íḓê">
            <a:extLst>
              <a:ext uri="{FF2B5EF4-FFF2-40B4-BE49-F238E27FC236}">
                <a16:creationId xmlns:a16="http://schemas.microsoft.com/office/drawing/2014/main" id="{B030A8A3-523B-47A8-AE98-F80874615220}"/>
              </a:ext>
            </a:extLst>
          </p:cNvPr>
          <p:cNvSpPr/>
          <p:nvPr/>
        </p:nvSpPr>
        <p:spPr bwMode="auto">
          <a:xfrm>
            <a:off x="7536052" y="3690880"/>
            <a:ext cx="304798" cy="300485"/>
          </a:xfrm>
          <a:custGeom>
            <a:avLst/>
            <a:gdLst>
              <a:gd name="T0" fmla="*/ 52 w 59"/>
              <a:gd name="T1" fmla="*/ 41 h 58"/>
              <a:gd name="T2" fmla="*/ 55 w 59"/>
              <a:gd name="T3" fmla="*/ 44 h 58"/>
              <a:gd name="T4" fmla="*/ 48 w 59"/>
              <a:gd name="T5" fmla="*/ 52 h 58"/>
              <a:gd name="T6" fmla="*/ 45 w 59"/>
              <a:gd name="T7" fmla="*/ 49 h 58"/>
              <a:gd name="T8" fmla="*/ 37 w 59"/>
              <a:gd name="T9" fmla="*/ 53 h 58"/>
              <a:gd name="T10" fmla="*/ 37 w 59"/>
              <a:gd name="T11" fmla="*/ 58 h 58"/>
              <a:gd name="T12" fmla="*/ 29 w 59"/>
              <a:gd name="T13" fmla="*/ 58 h 58"/>
              <a:gd name="T14" fmla="*/ 29 w 59"/>
              <a:gd name="T15" fmla="*/ 46 h 58"/>
              <a:gd name="T16" fmla="*/ 42 w 59"/>
              <a:gd name="T17" fmla="*/ 40 h 58"/>
              <a:gd name="T18" fmla="*/ 40 w 59"/>
              <a:gd name="T19" fmla="*/ 16 h 58"/>
              <a:gd name="T20" fmla="*/ 40 w 59"/>
              <a:gd name="T21" fmla="*/ 16 h 58"/>
              <a:gd name="T22" fmla="*/ 34 w 59"/>
              <a:gd name="T23" fmla="*/ 13 h 58"/>
              <a:gd name="T24" fmla="*/ 29 w 59"/>
              <a:gd name="T25" fmla="*/ 12 h 58"/>
              <a:gd name="T26" fmla="*/ 29 w 59"/>
              <a:gd name="T27" fmla="*/ 0 h 58"/>
              <a:gd name="T28" fmla="*/ 32 w 59"/>
              <a:gd name="T29" fmla="*/ 0 h 58"/>
              <a:gd name="T30" fmla="*/ 33 w 59"/>
              <a:gd name="T31" fmla="*/ 4 h 58"/>
              <a:gd name="T32" fmla="*/ 41 w 59"/>
              <a:gd name="T33" fmla="*/ 7 h 58"/>
              <a:gd name="T34" fmla="*/ 44 w 59"/>
              <a:gd name="T35" fmla="*/ 3 h 58"/>
              <a:gd name="T36" fmla="*/ 52 w 59"/>
              <a:gd name="T37" fmla="*/ 10 h 58"/>
              <a:gd name="T38" fmla="*/ 49 w 59"/>
              <a:gd name="T39" fmla="*/ 14 h 58"/>
              <a:gd name="T40" fmla="*/ 53 w 59"/>
              <a:gd name="T41" fmla="*/ 22 h 58"/>
              <a:gd name="T42" fmla="*/ 58 w 59"/>
              <a:gd name="T43" fmla="*/ 21 h 58"/>
              <a:gd name="T44" fmla="*/ 59 w 59"/>
              <a:gd name="T45" fmla="*/ 32 h 58"/>
              <a:gd name="T46" fmla="*/ 54 w 59"/>
              <a:gd name="T47" fmla="*/ 32 h 58"/>
              <a:gd name="T48" fmla="*/ 52 w 59"/>
              <a:gd name="T49" fmla="*/ 41 h 58"/>
              <a:gd name="T50" fmla="*/ 29 w 59"/>
              <a:gd name="T51" fmla="*/ 58 h 58"/>
              <a:gd name="T52" fmla="*/ 26 w 59"/>
              <a:gd name="T53" fmla="*/ 58 h 58"/>
              <a:gd name="T54" fmla="*/ 26 w 59"/>
              <a:gd name="T55" fmla="*/ 54 h 58"/>
              <a:gd name="T56" fmla="*/ 18 w 59"/>
              <a:gd name="T57" fmla="*/ 51 h 58"/>
              <a:gd name="T58" fmla="*/ 15 w 59"/>
              <a:gd name="T59" fmla="*/ 55 h 58"/>
              <a:gd name="T60" fmla="*/ 7 w 59"/>
              <a:gd name="T61" fmla="*/ 48 h 58"/>
              <a:gd name="T62" fmla="*/ 9 w 59"/>
              <a:gd name="T63" fmla="*/ 45 h 58"/>
              <a:gd name="T64" fmla="*/ 5 w 59"/>
              <a:gd name="T65" fmla="*/ 37 h 58"/>
              <a:gd name="T66" fmla="*/ 1 w 59"/>
              <a:gd name="T67" fmla="*/ 37 h 58"/>
              <a:gd name="T68" fmla="*/ 0 w 59"/>
              <a:gd name="T69" fmla="*/ 26 h 58"/>
              <a:gd name="T70" fmla="*/ 4 w 59"/>
              <a:gd name="T71" fmla="*/ 26 h 58"/>
              <a:gd name="T72" fmla="*/ 7 w 59"/>
              <a:gd name="T73" fmla="*/ 17 h 58"/>
              <a:gd name="T74" fmla="*/ 4 w 59"/>
              <a:gd name="T75" fmla="*/ 15 h 58"/>
              <a:gd name="T76" fmla="*/ 11 w 59"/>
              <a:gd name="T77" fmla="*/ 6 h 58"/>
              <a:gd name="T78" fmla="*/ 14 w 59"/>
              <a:gd name="T79" fmla="*/ 9 h 58"/>
              <a:gd name="T80" fmla="*/ 22 w 59"/>
              <a:gd name="T81" fmla="*/ 5 h 58"/>
              <a:gd name="T82" fmla="*/ 21 w 59"/>
              <a:gd name="T83" fmla="*/ 1 h 58"/>
              <a:gd name="T84" fmla="*/ 29 w 59"/>
              <a:gd name="T85" fmla="*/ 0 h 58"/>
              <a:gd name="T86" fmla="*/ 29 w 59"/>
              <a:gd name="T87" fmla="*/ 12 h 58"/>
              <a:gd name="T88" fmla="*/ 16 w 59"/>
              <a:gd name="T89" fmla="*/ 18 h 58"/>
              <a:gd name="T90" fmla="*/ 18 w 59"/>
              <a:gd name="T91" fmla="*/ 42 h 58"/>
              <a:gd name="T92" fmla="*/ 24 w 59"/>
              <a:gd name="T93" fmla="*/ 45 h 58"/>
              <a:gd name="T94" fmla="*/ 29 w 59"/>
              <a:gd name="T95" fmla="*/ 46 h 58"/>
              <a:gd name="T96" fmla="*/ 29 w 59"/>
              <a:gd name="T97" fmla="*/ 58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9" h="58">
                <a:moveTo>
                  <a:pt x="52" y="41"/>
                </a:moveTo>
                <a:cubicBezTo>
                  <a:pt x="55" y="44"/>
                  <a:pt x="55" y="44"/>
                  <a:pt x="55" y="44"/>
                </a:cubicBezTo>
                <a:cubicBezTo>
                  <a:pt x="48" y="52"/>
                  <a:pt x="48" y="52"/>
                  <a:pt x="48" y="52"/>
                </a:cubicBezTo>
                <a:cubicBezTo>
                  <a:pt x="45" y="49"/>
                  <a:pt x="45" y="49"/>
                  <a:pt x="45" y="49"/>
                </a:cubicBezTo>
                <a:cubicBezTo>
                  <a:pt x="42" y="51"/>
                  <a:pt x="40" y="52"/>
                  <a:pt x="37" y="53"/>
                </a:cubicBezTo>
                <a:cubicBezTo>
                  <a:pt x="37" y="58"/>
                  <a:pt x="37" y="58"/>
                  <a:pt x="37" y="58"/>
                </a:cubicBezTo>
                <a:cubicBezTo>
                  <a:pt x="29" y="58"/>
                  <a:pt x="29" y="58"/>
                  <a:pt x="29" y="58"/>
                </a:cubicBezTo>
                <a:cubicBezTo>
                  <a:pt x="29" y="46"/>
                  <a:pt x="29" y="46"/>
                  <a:pt x="29" y="46"/>
                </a:cubicBezTo>
                <a:cubicBezTo>
                  <a:pt x="34" y="46"/>
                  <a:pt x="39" y="44"/>
                  <a:pt x="42" y="40"/>
                </a:cubicBezTo>
                <a:cubicBezTo>
                  <a:pt x="48" y="33"/>
                  <a:pt x="47" y="22"/>
                  <a:pt x="40" y="16"/>
                </a:cubicBezTo>
                <a:cubicBezTo>
                  <a:pt x="40" y="16"/>
                  <a:pt x="40" y="16"/>
                  <a:pt x="40" y="16"/>
                </a:cubicBezTo>
                <a:cubicBezTo>
                  <a:pt x="38" y="15"/>
                  <a:pt x="36" y="14"/>
                  <a:pt x="34" y="13"/>
                </a:cubicBezTo>
                <a:cubicBezTo>
                  <a:pt x="33" y="12"/>
                  <a:pt x="31" y="12"/>
                  <a:pt x="29" y="12"/>
                </a:cubicBezTo>
                <a:cubicBezTo>
                  <a:pt x="29" y="0"/>
                  <a:pt x="29" y="0"/>
                  <a:pt x="29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" y="4"/>
                  <a:pt x="33" y="4"/>
                  <a:pt x="33" y="4"/>
                </a:cubicBezTo>
                <a:cubicBezTo>
                  <a:pt x="36" y="4"/>
                  <a:pt x="38" y="5"/>
                  <a:pt x="41" y="7"/>
                </a:cubicBezTo>
                <a:cubicBezTo>
                  <a:pt x="44" y="3"/>
                  <a:pt x="44" y="3"/>
                  <a:pt x="44" y="3"/>
                </a:cubicBezTo>
                <a:cubicBezTo>
                  <a:pt x="52" y="10"/>
                  <a:pt x="52" y="10"/>
                  <a:pt x="52" y="10"/>
                </a:cubicBezTo>
                <a:cubicBezTo>
                  <a:pt x="49" y="14"/>
                  <a:pt x="49" y="14"/>
                  <a:pt x="49" y="14"/>
                </a:cubicBezTo>
                <a:cubicBezTo>
                  <a:pt x="51" y="16"/>
                  <a:pt x="53" y="19"/>
                  <a:pt x="53" y="22"/>
                </a:cubicBezTo>
                <a:cubicBezTo>
                  <a:pt x="58" y="21"/>
                  <a:pt x="58" y="21"/>
                  <a:pt x="58" y="21"/>
                </a:cubicBezTo>
                <a:cubicBezTo>
                  <a:pt x="59" y="32"/>
                  <a:pt x="59" y="32"/>
                  <a:pt x="59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35"/>
                  <a:pt x="53" y="38"/>
                  <a:pt x="52" y="41"/>
                </a:cubicBezTo>
                <a:close/>
                <a:moveTo>
                  <a:pt x="29" y="58"/>
                </a:moveTo>
                <a:cubicBezTo>
                  <a:pt x="26" y="58"/>
                  <a:pt x="26" y="58"/>
                  <a:pt x="26" y="58"/>
                </a:cubicBezTo>
                <a:cubicBezTo>
                  <a:pt x="26" y="54"/>
                  <a:pt x="26" y="54"/>
                  <a:pt x="26" y="54"/>
                </a:cubicBezTo>
                <a:cubicBezTo>
                  <a:pt x="23" y="54"/>
                  <a:pt x="20" y="53"/>
                  <a:pt x="18" y="51"/>
                </a:cubicBezTo>
                <a:cubicBezTo>
                  <a:pt x="15" y="55"/>
                  <a:pt x="15" y="55"/>
                  <a:pt x="15" y="55"/>
                </a:cubicBezTo>
                <a:cubicBezTo>
                  <a:pt x="7" y="48"/>
                  <a:pt x="7" y="48"/>
                  <a:pt x="7" y="48"/>
                </a:cubicBezTo>
                <a:cubicBezTo>
                  <a:pt x="9" y="45"/>
                  <a:pt x="9" y="45"/>
                  <a:pt x="9" y="45"/>
                </a:cubicBezTo>
                <a:cubicBezTo>
                  <a:pt x="8" y="42"/>
                  <a:pt x="6" y="40"/>
                  <a:pt x="5" y="37"/>
                </a:cubicBezTo>
                <a:cubicBezTo>
                  <a:pt x="1" y="37"/>
                  <a:pt x="1" y="37"/>
                  <a:pt x="1" y="37"/>
                </a:cubicBezTo>
                <a:cubicBezTo>
                  <a:pt x="0" y="26"/>
                  <a:pt x="0" y="26"/>
                  <a:pt x="0" y="26"/>
                </a:cubicBezTo>
                <a:cubicBezTo>
                  <a:pt x="4" y="26"/>
                  <a:pt x="4" y="26"/>
                  <a:pt x="4" y="26"/>
                </a:cubicBezTo>
                <a:cubicBezTo>
                  <a:pt x="5" y="23"/>
                  <a:pt x="6" y="20"/>
                  <a:pt x="7" y="17"/>
                </a:cubicBezTo>
                <a:cubicBezTo>
                  <a:pt x="4" y="15"/>
                  <a:pt x="4" y="15"/>
                  <a:pt x="4" y="15"/>
                </a:cubicBezTo>
                <a:cubicBezTo>
                  <a:pt x="11" y="6"/>
                  <a:pt x="11" y="6"/>
                  <a:pt x="11" y="6"/>
                </a:cubicBezTo>
                <a:cubicBezTo>
                  <a:pt x="14" y="9"/>
                  <a:pt x="14" y="9"/>
                  <a:pt x="14" y="9"/>
                </a:cubicBezTo>
                <a:cubicBezTo>
                  <a:pt x="16" y="7"/>
                  <a:pt x="19" y="6"/>
                  <a:pt x="22" y="5"/>
                </a:cubicBezTo>
                <a:cubicBezTo>
                  <a:pt x="21" y="1"/>
                  <a:pt x="21" y="1"/>
                  <a:pt x="21" y="1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12"/>
                  <a:pt x="29" y="12"/>
                  <a:pt x="29" y="12"/>
                </a:cubicBezTo>
                <a:cubicBezTo>
                  <a:pt x="24" y="12"/>
                  <a:pt x="20" y="14"/>
                  <a:pt x="16" y="18"/>
                </a:cubicBezTo>
                <a:cubicBezTo>
                  <a:pt x="10" y="25"/>
                  <a:pt x="11" y="36"/>
                  <a:pt x="18" y="42"/>
                </a:cubicBezTo>
                <a:cubicBezTo>
                  <a:pt x="20" y="44"/>
                  <a:pt x="22" y="45"/>
                  <a:pt x="24" y="45"/>
                </a:cubicBezTo>
                <a:cubicBezTo>
                  <a:pt x="26" y="46"/>
                  <a:pt x="28" y="46"/>
                  <a:pt x="29" y="46"/>
                </a:cubicBezTo>
                <a:lnTo>
                  <a:pt x="29" y="5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79" name="iṡļîḋè">
            <a:extLst>
              <a:ext uri="{FF2B5EF4-FFF2-40B4-BE49-F238E27FC236}">
                <a16:creationId xmlns:a16="http://schemas.microsoft.com/office/drawing/2014/main" id="{55FF3708-53E1-4337-B993-A83CB1D0E4EA}"/>
              </a:ext>
            </a:extLst>
          </p:cNvPr>
          <p:cNvSpPr/>
          <p:nvPr/>
        </p:nvSpPr>
        <p:spPr bwMode="auto">
          <a:xfrm>
            <a:off x="7400905" y="4214214"/>
            <a:ext cx="15815" cy="25879"/>
          </a:xfrm>
          <a:custGeom>
            <a:avLst/>
            <a:gdLst>
              <a:gd name="T0" fmla="*/ 0 w 3"/>
              <a:gd name="T1" fmla="*/ 5 h 5"/>
              <a:gd name="T2" fmla="*/ 3 w 3"/>
              <a:gd name="T3" fmla="*/ 1 h 5"/>
              <a:gd name="T4" fmla="*/ 0 w 3"/>
              <a:gd name="T5" fmla="*/ 0 h 5"/>
              <a:gd name="T6" fmla="*/ 0 w 3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5">
                <a:moveTo>
                  <a:pt x="0" y="5"/>
                </a:moveTo>
                <a:cubicBezTo>
                  <a:pt x="3" y="1"/>
                  <a:pt x="3" y="1"/>
                  <a:pt x="3" y="1"/>
                </a:cubicBezTo>
                <a:cubicBezTo>
                  <a:pt x="2" y="1"/>
                  <a:pt x="1" y="1"/>
                  <a:pt x="0" y="0"/>
                </a:cubicBezTo>
                <a:cubicBezTo>
                  <a:pt x="0" y="2"/>
                  <a:pt x="0" y="3"/>
                  <a:pt x="0" y="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0" name="i$ḷîḋè">
            <a:extLst>
              <a:ext uri="{FF2B5EF4-FFF2-40B4-BE49-F238E27FC236}">
                <a16:creationId xmlns:a16="http://schemas.microsoft.com/office/drawing/2014/main" id="{E4F84577-A809-432F-8185-95232794878E}"/>
              </a:ext>
            </a:extLst>
          </p:cNvPr>
          <p:cNvSpPr/>
          <p:nvPr/>
        </p:nvSpPr>
        <p:spPr bwMode="auto">
          <a:xfrm>
            <a:off x="7395154" y="4146639"/>
            <a:ext cx="57510" cy="63260"/>
          </a:xfrm>
          <a:custGeom>
            <a:avLst/>
            <a:gdLst>
              <a:gd name="T0" fmla="*/ 5 w 11"/>
              <a:gd name="T1" fmla="*/ 12 h 12"/>
              <a:gd name="T2" fmla="*/ 6 w 11"/>
              <a:gd name="T3" fmla="*/ 12 h 12"/>
              <a:gd name="T4" fmla="*/ 6 w 11"/>
              <a:gd name="T5" fmla="*/ 12 h 12"/>
              <a:gd name="T6" fmla="*/ 11 w 11"/>
              <a:gd name="T7" fmla="*/ 6 h 12"/>
              <a:gd name="T8" fmla="*/ 11 w 11"/>
              <a:gd name="T9" fmla="*/ 6 h 12"/>
              <a:gd name="T10" fmla="*/ 11 w 11"/>
              <a:gd name="T11" fmla="*/ 5 h 12"/>
              <a:gd name="T12" fmla="*/ 5 w 11"/>
              <a:gd name="T13" fmla="*/ 0 h 12"/>
              <a:gd name="T14" fmla="*/ 4 w 11"/>
              <a:gd name="T15" fmla="*/ 0 h 12"/>
              <a:gd name="T16" fmla="*/ 0 w 11"/>
              <a:gd name="T17" fmla="*/ 3 h 12"/>
              <a:gd name="T18" fmla="*/ 1 w 11"/>
              <a:gd name="T19" fmla="*/ 9 h 12"/>
              <a:gd name="T20" fmla="*/ 5 w 11"/>
              <a:gd name="T21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" h="12">
                <a:moveTo>
                  <a:pt x="5" y="12"/>
                </a:moveTo>
                <a:cubicBezTo>
                  <a:pt x="5" y="12"/>
                  <a:pt x="6" y="12"/>
                  <a:pt x="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9" y="11"/>
                  <a:pt x="11" y="8"/>
                  <a:pt x="11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5"/>
                  <a:pt x="11" y="5"/>
                  <a:pt x="11" y="5"/>
                </a:cubicBezTo>
                <a:cubicBezTo>
                  <a:pt x="10" y="2"/>
                  <a:pt x="8" y="0"/>
                  <a:pt x="5" y="0"/>
                </a:cubicBezTo>
                <a:cubicBezTo>
                  <a:pt x="5" y="0"/>
                  <a:pt x="4" y="0"/>
                  <a:pt x="4" y="0"/>
                </a:cubicBezTo>
                <a:cubicBezTo>
                  <a:pt x="2" y="1"/>
                  <a:pt x="1" y="2"/>
                  <a:pt x="0" y="3"/>
                </a:cubicBezTo>
                <a:cubicBezTo>
                  <a:pt x="0" y="5"/>
                  <a:pt x="0" y="7"/>
                  <a:pt x="1" y="9"/>
                </a:cubicBezTo>
                <a:cubicBezTo>
                  <a:pt x="2" y="11"/>
                  <a:pt x="3" y="12"/>
                  <a:pt x="5" y="1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1" name="íşļîḋè">
            <a:extLst>
              <a:ext uri="{FF2B5EF4-FFF2-40B4-BE49-F238E27FC236}">
                <a16:creationId xmlns:a16="http://schemas.microsoft.com/office/drawing/2014/main" id="{E7E61752-B733-411C-AD15-DA29CFDFCF53}"/>
              </a:ext>
            </a:extLst>
          </p:cNvPr>
          <p:cNvSpPr/>
          <p:nvPr/>
        </p:nvSpPr>
        <p:spPr bwMode="auto">
          <a:xfrm>
            <a:off x="7504421" y="4194085"/>
            <a:ext cx="113581" cy="107830"/>
          </a:xfrm>
          <a:custGeom>
            <a:avLst/>
            <a:gdLst>
              <a:gd name="T0" fmla="*/ 12 w 22"/>
              <a:gd name="T1" fmla="*/ 21 h 21"/>
              <a:gd name="T2" fmla="*/ 22 w 22"/>
              <a:gd name="T3" fmla="*/ 21 h 21"/>
              <a:gd name="T4" fmla="*/ 6 w 22"/>
              <a:gd name="T5" fmla="*/ 0 h 21"/>
              <a:gd name="T6" fmla="*/ 0 w 22"/>
              <a:gd name="T7" fmla="*/ 5 h 21"/>
              <a:gd name="T8" fmla="*/ 12 w 22"/>
              <a:gd name="T9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" h="21">
                <a:moveTo>
                  <a:pt x="12" y="21"/>
                </a:moveTo>
                <a:cubicBezTo>
                  <a:pt x="22" y="21"/>
                  <a:pt x="22" y="21"/>
                  <a:pt x="22" y="21"/>
                </a:cubicBezTo>
                <a:cubicBezTo>
                  <a:pt x="6" y="0"/>
                  <a:pt x="6" y="0"/>
                  <a:pt x="6" y="0"/>
                </a:cubicBezTo>
                <a:cubicBezTo>
                  <a:pt x="5" y="3"/>
                  <a:pt x="2" y="5"/>
                  <a:pt x="0" y="5"/>
                </a:cubicBezTo>
                <a:lnTo>
                  <a:pt x="12" y="2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2" name="ï$ḻïďè">
            <a:extLst>
              <a:ext uri="{FF2B5EF4-FFF2-40B4-BE49-F238E27FC236}">
                <a16:creationId xmlns:a16="http://schemas.microsoft.com/office/drawing/2014/main" id="{4D19388E-CD4B-4154-B552-EE7235E64202}"/>
              </a:ext>
            </a:extLst>
          </p:cNvPr>
          <p:cNvSpPr/>
          <p:nvPr/>
        </p:nvSpPr>
        <p:spPr bwMode="auto">
          <a:xfrm>
            <a:off x="7462727" y="4146639"/>
            <a:ext cx="61822" cy="63260"/>
          </a:xfrm>
          <a:custGeom>
            <a:avLst/>
            <a:gdLst>
              <a:gd name="T0" fmla="*/ 8 w 12"/>
              <a:gd name="T1" fmla="*/ 0 h 12"/>
              <a:gd name="T2" fmla="*/ 6 w 12"/>
              <a:gd name="T3" fmla="*/ 0 h 12"/>
              <a:gd name="T4" fmla="*/ 1 w 12"/>
              <a:gd name="T5" fmla="*/ 5 h 12"/>
              <a:gd name="T6" fmla="*/ 1 w 12"/>
              <a:gd name="T7" fmla="*/ 6 h 12"/>
              <a:gd name="T8" fmla="*/ 1 w 12"/>
              <a:gd name="T9" fmla="*/ 6 h 12"/>
              <a:gd name="T10" fmla="*/ 5 w 12"/>
              <a:gd name="T11" fmla="*/ 12 h 12"/>
              <a:gd name="T12" fmla="*/ 6 w 12"/>
              <a:gd name="T13" fmla="*/ 12 h 12"/>
              <a:gd name="T14" fmla="*/ 6 w 12"/>
              <a:gd name="T15" fmla="*/ 12 h 12"/>
              <a:gd name="T16" fmla="*/ 12 w 12"/>
              <a:gd name="T17" fmla="*/ 7 h 12"/>
              <a:gd name="T18" fmla="*/ 12 w 12"/>
              <a:gd name="T19" fmla="*/ 7 h 12"/>
              <a:gd name="T20" fmla="*/ 8 w 12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" h="12">
                <a:moveTo>
                  <a:pt x="8" y="0"/>
                </a:moveTo>
                <a:cubicBezTo>
                  <a:pt x="7" y="0"/>
                  <a:pt x="7" y="0"/>
                  <a:pt x="6" y="0"/>
                </a:cubicBezTo>
                <a:cubicBezTo>
                  <a:pt x="4" y="0"/>
                  <a:pt x="1" y="2"/>
                  <a:pt x="1" y="5"/>
                </a:cubicBezTo>
                <a:cubicBezTo>
                  <a:pt x="1" y="5"/>
                  <a:pt x="1" y="5"/>
                  <a:pt x="1" y="6"/>
                </a:cubicBezTo>
                <a:cubicBezTo>
                  <a:pt x="1" y="6"/>
                  <a:pt x="1" y="6"/>
                  <a:pt x="1" y="6"/>
                </a:cubicBezTo>
                <a:cubicBezTo>
                  <a:pt x="0" y="8"/>
                  <a:pt x="2" y="11"/>
                  <a:pt x="5" y="12"/>
                </a:cubicBezTo>
                <a:cubicBezTo>
                  <a:pt x="5" y="12"/>
                  <a:pt x="5" y="12"/>
                  <a:pt x="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9" y="12"/>
                  <a:pt x="11" y="10"/>
                  <a:pt x="12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2" y="4"/>
                  <a:pt x="11" y="1"/>
                  <a:pt x="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3" name="iślíḍê">
            <a:extLst>
              <a:ext uri="{FF2B5EF4-FFF2-40B4-BE49-F238E27FC236}">
                <a16:creationId xmlns:a16="http://schemas.microsoft.com/office/drawing/2014/main" id="{15C01F1C-E8AC-4C59-82B8-366B89B4FF36}"/>
              </a:ext>
            </a:extLst>
          </p:cNvPr>
          <p:cNvSpPr/>
          <p:nvPr/>
        </p:nvSpPr>
        <p:spPr bwMode="auto">
          <a:xfrm>
            <a:off x="7410969" y="4313416"/>
            <a:ext cx="258791" cy="211346"/>
          </a:xfrm>
          <a:custGeom>
            <a:avLst/>
            <a:gdLst>
              <a:gd name="T0" fmla="*/ 9 w 50"/>
              <a:gd name="T1" fmla="*/ 41 h 41"/>
              <a:gd name="T2" fmla="*/ 39 w 50"/>
              <a:gd name="T3" fmla="*/ 41 h 41"/>
              <a:gd name="T4" fmla="*/ 50 w 50"/>
              <a:gd name="T5" fmla="*/ 0 h 41"/>
              <a:gd name="T6" fmla="*/ 41 w 50"/>
              <a:gd name="T7" fmla="*/ 0 h 41"/>
              <a:gd name="T8" fmla="*/ 31 w 50"/>
              <a:gd name="T9" fmla="*/ 0 h 41"/>
              <a:gd name="T10" fmla="*/ 0 w 50"/>
              <a:gd name="T11" fmla="*/ 0 h 41"/>
              <a:gd name="T12" fmla="*/ 9 w 50"/>
              <a:gd name="T13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41">
                <a:moveTo>
                  <a:pt x="9" y="41"/>
                </a:moveTo>
                <a:cubicBezTo>
                  <a:pt x="39" y="41"/>
                  <a:pt x="39" y="41"/>
                  <a:pt x="39" y="41"/>
                </a:cubicBezTo>
                <a:cubicBezTo>
                  <a:pt x="50" y="0"/>
                  <a:pt x="50" y="0"/>
                  <a:pt x="50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14"/>
                  <a:pt x="5" y="28"/>
                  <a:pt x="9" y="4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4" name="ïšļíḍê">
            <a:extLst>
              <a:ext uri="{FF2B5EF4-FFF2-40B4-BE49-F238E27FC236}">
                <a16:creationId xmlns:a16="http://schemas.microsoft.com/office/drawing/2014/main" id="{5B4940B1-2CBB-466F-9B8C-2C883B2C4B7A}"/>
              </a:ext>
            </a:extLst>
          </p:cNvPr>
          <p:cNvSpPr/>
          <p:nvPr/>
        </p:nvSpPr>
        <p:spPr bwMode="auto">
          <a:xfrm>
            <a:off x="10369809" y="3370267"/>
            <a:ext cx="103517" cy="103517"/>
          </a:xfrm>
          <a:custGeom>
            <a:avLst/>
            <a:gdLst>
              <a:gd name="T0" fmla="*/ 17 w 20"/>
              <a:gd name="T1" fmla="*/ 0 h 20"/>
              <a:gd name="T2" fmla="*/ 9 w 20"/>
              <a:gd name="T3" fmla="*/ 0 h 20"/>
              <a:gd name="T4" fmla="*/ 0 w 20"/>
              <a:gd name="T5" fmla="*/ 9 h 20"/>
              <a:gd name="T6" fmla="*/ 0 w 20"/>
              <a:gd name="T7" fmla="*/ 20 h 20"/>
              <a:gd name="T8" fmla="*/ 7 w 20"/>
              <a:gd name="T9" fmla="*/ 20 h 20"/>
              <a:gd name="T10" fmla="*/ 7 w 20"/>
              <a:gd name="T11" fmla="*/ 9 h 20"/>
              <a:gd name="T12" fmla="*/ 9 w 20"/>
              <a:gd name="T13" fmla="*/ 7 h 20"/>
              <a:gd name="T14" fmla="*/ 20 w 20"/>
              <a:gd name="T15" fmla="*/ 7 h 20"/>
              <a:gd name="T16" fmla="*/ 17 w 20"/>
              <a:gd name="T17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0">
                <a:moveTo>
                  <a:pt x="17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20"/>
                  <a:pt x="0" y="20"/>
                  <a:pt x="0" y="20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9"/>
                  <a:pt x="7" y="9"/>
                  <a:pt x="7" y="9"/>
                </a:cubicBezTo>
                <a:cubicBezTo>
                  <a:pt x="7" y="8"/>
                  <a:pt x="8" y="7"/>
                  <a:pt x="9" y="7"/>
                </a:cubicBezTo>
                <a:cubicBezTo>
                  <a:pt x="20" y="7"/>
                  <a:pt x="20" y="7"/>
                  <a:pt x="20" y="7"/>
                </a:cubicBezTo>
                <a:cubicBezTo>
                  <a:pt x="19" y="4"/>
                  <a:pt x="18" y="2"/>
                  <a:pt x="17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5" name="ïSlïḓe">
            <a:extLst>
              <a:ext uri="{FF2B5EF4-FFF2-40B4-BE49-F238E27FC236}">
                <a16:creationId xmlns:a16="http://schemas.microsoft.com/office/drawing/2014/main" id="{E243E4A0-69FF-46D1-A7BE-E883224C00CC}"/>
              </a:ext>
            </a:extLst>
          </p:cNvPr>
          <p:cNvSpPr/>
          <p:nvPr/>
        </p:nvSpPr>
        <p:spPr bwMode="auto">
          <a:xfrm>
            <a:off x="10338180" y="3525542"/>
            <a:ext cx="232912" cy="175402"/>
          </a:xfrm>
          <a:custGeom>
            <a:avLst/>
            <a:gdLst>
              <a:gd name="T0" fmla="*/ 35 w 45"/>
              <a:gd name="T1" fmla="*/ 0 h 34"/>
              <a:gd name="T2" fmla="*/ 29 w 45"/>
              <a:gd name="T3" fmla="*/ 0 h 34"/>
              <a:gd name="T4" fmla="*/ 29 w 45"/>
              <a:gd name="T5" fmla="*/ 9 h 34"/>
              <a:gd name="T6" fmla="*/ 34 w 45"/>
              <a:gd name="T7" fmla="*/ 15 h 34"/>
              <a:gd name="T8" fmla="*/ 31 w 45"/>
              <a:gd name="T9" fmla="*/ 19 h 34"/>
              <a:gd name="T10" fmla="*/ 31 w 45"/>
              <a:gd name="T11" fmla="*/ 19 h 34"/>
              <a:gd name="T12" fmla="*/ 31 w 45"/>
              <a:gd name="T13" fmla="*/ 27 h 34"/>
              <a:gd name="T14" fmla="*/ 29 w 45"/>
              <a:gd name="T15" fmla="*/ 27 h 34"/>
              <a:gd name="T16" fmla="*/ 29 w 45"/>
              <a:gd name="T17" fmla="*/ 34 h 34"/>
              <a:gd name="T18" fmla="*/ 45 w 45"/>
              <a:gd name="T19" fmla="*/ 34 h 34"/>
              <a:gd name="T20" fmla="*/ 35 w 45"/>
              <a:gd name="T21" fmla="*/ 0 h 34"/>
              <a:gd name="T22" fmla="*/ 29 w 45"/>
              <a:gd name="T23" fmla="*/ 0 h 34"/>
              <a:gd name="T24" fmla="*/ 0 w 45"/>
              <a:gd name="T25" fmla="*/ 0 h 34"/>
              <a:gd name="T26" fmla="*/ 0 w 45"/>
              <a:gd name="T27" fmla="*/ 34 h 34"/>
              <a:gd name="T28" fmla="*/ 29 w 45"/>
              <a:gd name="T29" fmla="*/ 34 h 34"/>
              <a:gd name="T30" fmla="*/ 29 w 45"/>
              <a:gd name="T31" fmla="*/ 27 h 34"/>
              <a:gd name="T32" fmla="*/ 27 w 45"/>
              <a:gd name="T33" fmla="*/ 27 h 34"/>
              <a:gd name="T34" fmla="*/ 27 w 45"/>
              <a:gd name="T35" fmla="*/ 19 h 34"/>
              <a:gd name="T36" fmla="*/ 24 w 45"/>
              <a:gd name="T37" fmla="*/ 15 h 34"/>
              <a:gd name="T38" fmla="*/ 29 w 45"/>
              <a:gd name="T39" fmla="*/ 9 h 34"/>
              <a:gd name="T40" fmla="*/ 29 w 45"/>
              <a:gd name="T41" fmla="*/ 9 h 34"/>
              <a:gd name="T42" fmla="*/ 29 w 45"/>
              <a:gd name="T43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5" h="34">
                <a:moveTo>
                  <a:pt x="35" y="0"/>
                </a:moveTo>
                <a:cubicBezTo>
                  <a:pt x="29" y="0"/>
                  <a:pt x="29" y="0"/>
                  <a:pt x="29" y="0"/>
                </a:cubicBezTo>
                <a:cubicBezTo>
                  <a:pt x="29" y="9"/>
                  <a:pt x="29" y="9"/>
                  <a:pt x="29" y="9"/>
                </a:cubicBezTo>
                <a:cubicBezTo>
                  <a:pt x="32" y="9"/>
                  <a:pt x="34" y="12"/>
                  <a:pt x="34" y="15"/>
                </a:cubicBezTo>
                <a:cubicBezTo>
                  <a:pt x="34" y="17"/>
                  <a:pt x="33" y="19"/>
                  <a:pt x="31" y="19"/>
                </a:cubicBezTo>
                <a:cubicBezTo>
                  <a:pt x="31" y="19"/>
                  <a:pt x="31" y="19"/>
                  <a:pt x="31" y="19"/>
                </a:cubicBezTo>
                <a:cubicBezTo>
                  <a:pt x="31" y="27"/>
                  <a:pt x="31" y="27"/>
                  <a:pt x="31" y="27"/>
                </a:cubicBezTo>
                <a:cubicBezTo>
                  <a:pt x="29" y="27"/>
                  <a:pt x="29" y="27"/>
                  <a:pt x="29" y="27"/>
                </a:cubicBezTo>
                <a:cubicBezTo>
                  <a:pt x="29" y="34"/>
                  <a:pt x="29" y="34"/>
                  <a:pt x="29" y="34"/>
                </a:cubicBezTo>
                <a:cubicBezTo>
                  <a:pt x="45" y="34"/>
                  <a:pt x="45" y="34"/>
                  <a:pt x="45" y="34"/>
                </a:cubicBezTo>
                <a:cubicBezTo>
                  <a:pt x="42" y="22"/>
                  <a:pt x="39" y="11"/>
                  <a:pt x="35" y="0"/>
                </a:cubicBezTo>
                <a:close/>
                <a:moveTo>
                  <a:pt x="29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29" y="34"/>
                  <a:pt x="29" y="34"/>
                  <a:pt x="29" y="34"/>
                </a:cubicBezTo>
                <a:cubicBezTo>
                  <a:pt x="29" y="27"/>
                  <a:pt x="29" y="27"/>
                  <a:pt x="29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19"/>
                  <a:pt x="27" y="19"/>
                  <a:pt x="27" y="19"/>
                </a:cubicBezTo>
                <a:cubicBezTo>
                  <a:pt x="25" y="19"/>
                  <a:pt x="24" y="17"/>
                  <a:pt x="24" y="15"/>
                </a:cubicBezTo>
                <a:cubicBezTo>
                  <a:pt x="24" y="12"/>
                  <a:pt x="26" y="9"/>
                  <a:pt x="29" y="9"/>
                </a:cubicBezTo>
                <a:cubicBezTo>
                  <a:pt x="29" y="9"/>
                  <a:pt x="29" y="9"/>
                  <a:pt x="29" y="9"/>
                </a:cubicBezTo>
                <a:lnTo>
                  <a:pt x="2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6" name="ïŝḷïďè">
            <a:extLst>
              <a:ext uri="{FF2B5EF4-FFF2-40B4-BE49-F238E27FC236}">
                <a16:creationId xmlns:a16="http://schemas.microsoft.com/office/drawing/2014/main" id="{75771759-06D9-49E2-A4FA-2C791FA016A5}"/>
              </a:ext>
            </a:extLst>
          </p:cNvPr>
          <p:cNvSpPr/>
          <p:nvPr/>
        </p:nvSpPr>
        <p:spPr bwMode="auto">
          <a:xfrm>
            <a:off x="8648851" y="2815304"/>
            <a:ext cx="182591" cy="77637"/>
          </a:xfrm>
          <a:custGeom>
            <a:avLst/>
            <a:gdLst>
              <a:gd name="T0" fmla="*/ 0 w 127"/>
              <a:gd name="T1" fmla="*/ 29 h 54"/>
              <a:gd name="T2" fmla="*/ 51 w 127"/>
              <a:gd name="T3" fmla="*/ 54 h 54"/>
              <a:gd name="T4" fmla="*/ 127 w 127"/>
              <a:gd name="T5" fmla="*/ 54 h 54"/>
              <a:gd name="T6" fmla="*/ 15 w 127"/>
              <a:gd name="T7" fmla="*/ 0 h 54"/>
              <a:gd name="T8" fmla="*/ 0 w 127"/>
              <a:gd name="T9" fmla="*/ 2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54">
                <a:moveTo>
                  <a:pt x="0" y="29"/>
                </a:moveTo>
                <a:lnTo>
                  <a:pt x="51" y="54"/>
                </a:lnTo>
                <a:lnTo>
                  <a:pt x="127" y="54"/>
                </a:lnTo>
                <a:lnTo>
                  <a:pt x="15" y="0"/>
                </a:lnTo>
                <a:lnTo>
                  <a:pt x="0" y="2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7" name="íṩlîḍè">
            <a:extLst>
              <a:ext uri="{FF2B5EF4-FFF2-40B4-BE49-F238E27FC236}">
                <a16:creationId xmlns:a16="http://schemas.microsoft.com/office/drawing/2014/main" id="{76291DDC-E990-4041-92D8-C067C213DF4C}"/>
              </a:ext>
            </a:extLst>
          </p:cNvPr>
          <p:cNvSpPr/>
          <p:nvPr/>
        </p:nvSpPr>
        <p:spPr bwMode="auto">
          <a:xfrm>
            <a:off x="8648851" y="2903006"/>
            <a:ext cx="441383" cy="222847"/>
          </a:xfrm>
          <a:custGeom>
            <a:avLst/>
            <a:gdLst>
              <a:gd name="T0" fmla="*/ 123 w 307"/>
              <a:gd name="T1" fmla="*/ 155 h 155"/>
              <a:gd name="T2" fmla="*/ 245 w 307"/>
              <a:gd name="T3" fmla="*/ 155 h 155"/>
              <a:gd name="T4" fmla="*/ 245 w 307"/>
              <a:gd name="T5" fmla="*/ 123 h 155"/>
              <a:gd name="T6" fmla="*/ 307 w 307"/>
              <a:gd name="T7" fmla="*/ 123 h 155"/>
              <a:gd name="T8" fmla="*/ 307 w 307"/>
              <a:gd name="T9" fmla="*/ 33 h 155"/>
              <a:gd name="T10" fmla="*/ 245 w 307"/>
              <a:gd name="T11" fmla="*/ 33 h 155"/>
              <a:gd name="T12" fmla="*/ 245 w 307"/>
              <a:gd name="T13" fmla="*/ 0 h 155"/>
              <a:gd name="T14" fmla="*/ 145 w 307"/>
              <a:gd name="T15" fmla="*/ 0 h 155"/>
              <a:gd name="T16" fmla="*/ 123 w 307"/>
              <a:gd name="T17" fmla="*/ 0 h 155"/>
              <a:gd name="T18" fmla="*/ 123 w 307"/>
              <a:gd name="T19" fmla="*/ 62 h 155"/>
              <a:gd name="T20" fmla="*/ 184 w 307"/>
              <a:gd name="T21" fmla="*/ 62 h 155"/>
              <a:gd name="T22" fmla="*/ 184 w 307"/>
              <a:gd name="T23" fmla="*/ 94 h 155"/>
              <a:gd name="T24" fmla="*/ 123 w 307"/>
              <a:gd name="T25" fmla="*/ 94 h 155"/>
              <a:gd name="T26" fmla="*/ 123 w 307"/>
              <a:gd name="T27" fmla="*/ 155 h 155"/>
              <a:gd name="T28" fmla="*/ 0 w 307"/>
              <a:gd name="T29" fmla="*/ 155 h 155"/>
              <a:gd name="T30" fmla="*/ 123 w 307"/>
              <a:gd name="T31" fmla="*/ 155 h 155"/>
              <a:gd name="T32" fmla="*/ 123 w 307"/>
              <a:gd name="T33" fmla="*/ 94 h 155"/>
              <a:gd name="T34" fmla="*/ 62 w 307"/>
              <a:gd name="T35" fmla="*/ 94 h 155"/>
              <a:gd name="T36" fmla="*/ 62 w 307"/>
              <a:gd name="T37" fmla="*/ 62 h 155"/>
              <a:gd name="T38" fmla="*/ 62 w 307"/>
              <a:gd name="T39" fmla="*/ 62 h 155"/>
              <a:gd name="T40" fmla="*/ 123 w 307"/>
              <a:gd name="T41" fmla="*/ 62 h 155"/>
              <a:gd name="T42" fmla="*/ 123 w 307"/>
              <a:gd name="T43" fmla="*/ 0 h 155"/>
              <a:gd name="T44" fmla="*/ 65 w 307"/>
              <a:gd name="T45" fmla="*/ 0 h 155"/>
              <a:gd name="T46" fmla="*/ 0 w 307"/>
              <a:gd name="T47" fmla="*/ 0 h 155"/>
              <a:gd name="T48" fmla="*/ 0 w 307"/>
              <a:gd name="T49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07" h="155">
                <a:moveTo>
                  <a:pt x="123" y="155"/>
                </a:moveTo>
                <a:lnTo>
                  <a:pt x="245" y="155"/>
                </a:lnTo>
                <a:lnTo>
                  <a:pt x="245" y="123"/>
                </a:lnTo>
                <a:lnTo>
                  <a:pt x="307" y="123"/>
                </a:lnTo>
                <a:lnTo>
                  <a:pt x="307" y="33"/>
                </a:lnTo>
                <a:lnTo>
                  <a:pt x="245" y="33"/>
                </a:lnTo>
                <a:lnTo>
                  <a:pt x="245" y="0"/>
                </a:lnTo>
                <a:lnTo>
                  <a:pt x="145" y="0"/>
                </a:lnTo>
                <a:lnTo>
                  <a:pt x="123" y="0"/>
                </a:lnTo>
                <a:lnTo>
                  <a:pt x="123" y="62"/>
                </a:lnTo>
                <a:lnTo>
                  <a:pt x="184" y="62"/>
                </a:lnTo>
                <a:lnTo>
                  <a:pt x="184" y="94"/>
                </a:lnTo>
                <a:lnTo>
                  <a:pt x="123" y="94"/>
                </a:lnTo>
                <a:lnTo>
                  <a:pt x="123" y="155"/>
                </a:lnTo>
                <a:close/>
                <a:moveTo>
                  <a:pt x="0" y="155"/>
                </a:moveTo>
                <a:lnTo>
                  <a:pt x="123" y="155"/>
                </a:lnTo>
                <a:lnTo>
                  <a:pt x="123" y="94"/>
                </a:lnTo>
                <a:lnTo>
                  <a:pt x="62" y="94"/>
                </a:lnTo>
                <a:lnTo>
                  <a:pt x="62" y="62"/>
                </a:lnTo>
                <a:lnTo>
                  <a:pt x="62" y="62"/>
                </a:lnTo>
                <a:lnTo>
                  <a:pt x="123" y="62"/>
                </a:lnTo>
                <a:lnTo>
                  <a:pt x="123" y="0"/>
                </a:lnTo>
                <a:lnTo>
                  <a:pt x="65" y="0"/>
                </a:lnTo>
                <a:lnTo>
                  <a:pt x="0" y="0"/>
                </a:lnTo>
                <a:lnTo>
                  <a:pt x="0" y="15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8" name="iṡľiḑê">
            <a:extLst>
              <a:ext uri="{FF2B5EF4-FFF2-40B4-BE49-F238E27FC236}">
                <a16:creationId xmlns:a16="http://schemas.microsoft.com/office/drawing/2014/main" id="{59694433-7072-409A-867B-87560C94DDEB}"/>
              </a:ext>
            </a:extLst>
          </p:cNvPr>
          <p:cNvSpPr/>
          <p:nvPr/>
        </p:nvSpPr>
        <p:spPr bwMode="auto">
          <a:xfrm>
            <a:off x="7908423" y="3110039"/>
            <a:ext cx="99202" cy="166777"/>
          </a:xfrm>
          <a:custGeom>
            <a:avLst/>
            <a:gdLst>
              <a:gd name="T0" fmla="*/ 0 w 19"/>
              <a:gd name="T1" fmla="*/ 22 h 32"/>
              <a:gd name="T2" fmla="*/ 0 w 19"/>
              <a:gd name="T3" fmla="*/ 27 h 32"/>
              <a:gd name="T4" fmla="*/ 6 w 19"/>
              <a:gd name="T5" fmla="*/ 32 h 32"/>
              <a:gd name="T6" fmla="*/ 14 w 19"/>
              <a:gd name="T7" fmla="*/ 32 h 32"/>
              <a:gd name="T8" fmla="*/ 19 w 19"/>
              <a:gd name="T9" fmla="*/ 27 h 32"/>
              <a:gd name="T10" fmla="*/ 19 w 19"/>
              <a:gd name="T11" fmla="*/ 22 h 32"/>
              <a:gd name="T12" fmla="*/ 12 w 19"/>
              <a:gd name="T13" fmla="*/ 22 h 32"/>
              <a:gd name="T14" fmla="*/ 12 w 19"/>
              <a:gd name="T15" fmla="*/ 18 h 32"/>
              <a:gd name="T16" fmla="*/ 19 w 19"/>
              <a:gd name="T17" fmla="*/ 18 h 32"/>
              <a:gd name="T18" fmla="*/ 19 w 19"/>
              <a:gd name="T19" fmla="*/ 12 h 32"/>
              <a:gd name="T20" fmla="*/ 12 w 19"/>
              <a:gd name="T21" fmla="*/ 12 h 32"/>
              <a:gd name="T22" fmla="*/ 12 w 19"/>
              <a:gd name="T23" fmla="*/ 8 h 32"/>
              <a:gd name="T24" fmla="*/ 19 w 19"/>
              <a:gd name="T25" fmla="*/ 8 h 32"/>
              <a:gd name="T26" fmla="*/ 19 w 19"/>
              <a:gd name="T27" fmla="*/ 6 h 32"/>
              <a:gd name="T28" fmla="*/ 14 w 19"/>
              <a:gd name="T29" fmla="*/ 0 h 32"/>
              <a:gd name="T30" fmla="*/ 6 w 19"/>
              <a:gd name="T31" fmla="*/ 0 h 32"/>
              <a:gd name="T32" fmla="*/ 0 w 19"/>
              <a:gd name="T33" fmla="*/ 6 h 32"/>
              <a:gd name="T34" fmla="*/ 0 w 19"/>
              <a:gd name="T35" fmla="*/ 8 h 32"/>
              <a:gd name="T36" fmla="*/ 7 w 19"/>
              <a:gd name="T37" fmla="*/ 8 h 32"/>
              <a:gd name="T38" fmla="*/ 7 w 19"/>
              <a:gd name="T39" fmla="*/ 12 h 32"/>
              <a:gd name="T40" fmla="*/ 0 w 19"/>
              <a:gd name="T41" fmla="*/ 12 h 32"/>
              <a:gd name="T42" fmla="*/ 0 w 19"/>
              <a:gd name="T43" fmla="*/ 18 h 32"/>
              <a:gd name="T44" fmla="*/ 7 w 19"/>
              <a:gd name="T45" fmla="*/ 18 h 32"/>
              <a:gd name="T46" fmla="*/ 7 w 19"/>
              <a:gd name="T47" fmla="*/ 22 h 32"/>
              <a:gd name="T48" fmla="*/ 0 w 19"/>
              <a:gd name="T49" fmla="*/ 2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9" h="32">
                <a:moveTo>
                  <a:pt x="0" y="22"/>
                </a:moveTo>
                <a:cubicBezTo>
                  <a:pt x="0" y="27"/>
                  <a:pt x="0" y="27"/>
                  <a:pt x="0" y="27"/>
                </a:cubicBezTo>
                <a:cubicBezTo>
                  <a:pt x="0" y="30"/>
                  <a:pt x="3" y="32"/>
                  <a:pt x="6" y="32"/>
                </a:cubicBezTo>
                <a:cubicBezTo>
                  <a:pt x="14" y="32"/>
                  <a:pt x="14" y="32"/>
                  <a:pt x="14" y="32"/>
                </a:cubicBezTo>
                <a:cubicBezTo>
                  <a:pt x="17" y="32"/>
                  <a:pt x="19" y="30"/>
                  <a:pt x="19" y="27"/>
                </a:cubicBezTo>
                <a:cubicBezTo>
                  <a:pt x="19" y="22"/>
                  <a:pt x="19" y="22"/>
                  <a:pt x="19" y="22"/>
                </a:cubicBezTo>
                <a:cubicBezTo>
                  <a:pt x="12" y="22"/>
                  <a:pt x="12" y="22"/>
                  <a:pt x="12" y="22"/>
                </a:cubicBezTo>
                <a:cubicBezTo>
                  <a:pt x="12" y="18"/>
                  <a:pt x="12" y="18"/>
                  <a:pt x="12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9" y="12"/>
                  <a:pt x="19" y="12"/>
                  <a:pt x="19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8"/>
                  <a:pt x="12" y="8"/>
                  <a:pt x="12" y="8"/>
                </a:cubicBezTo>
                <a:cubicBezTo>
                  <a:pt x="19" y="8"/>
                  <a:pt x="19" y="8"/>
                  <a:pt x="19" y="8"/>
                </a:cubicBezTo>
                <a:cubicBezTo>
                  <a:pt x="19" y="6"/>
                  <a:pt x="19" y="6"/>
                  <a:pt x="19" y="6"/>
                </a:cubicBezTo>
                <a:cubicBezTo>
                  <a:pt x="19" y="3"/>
                  <a:pt x="17" y="0"/>
                  <a:pt x="14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8"/>
                  <a:pt x="0" y="8"/>
                  <a:pt x="0" y="8"/>
                </a:cubicBezTo>
                <a:cubicBezTo>
                  <a:pt x="7" y="8"/>
                  <a:pt x="7" y="8"/>
                  <a:pt x="7" y="8"/>
                </a:cubicBezTo>
                <a:cubicBezTo>
                  <a:pt x="7" y="12"/>
                  <a:pt x="7" y="12"/>
                  <a:pt x="7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8"/>
                  <a:pt x="0" y="18"/>
                  <a:pt x="0" y="18"/>
                </a:cubicBezTo>
                <a:cubicBezTo>
                  <a:pt x="7" y="18"/>
                  <a:pt x="7" y="18"/>
                  <a:pt x="7" y="18"/>
                </a:cubicBezTo>
                <a:cubicBezTo>
                  <a:pt x="7" y="22"/>
                  <a:pt x="7" y="22"/>
                  <a:pt x="7" y="22"/>
                </a:cubicBezTo>
                <a:lnTo>
                  <a:pt x="0" y="2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89" name="iṣḷiḑè">
            <a:extLst>
              <a:ext uri="{FF2B5EF4-FFF2-40B4-BE49-F238E27FC236}">
                <a16:creationId xmlns:a16="http://schemas.microsoft.com/office/drawing/2014/main" id="{95AC8A6C-8A26-4C64-8032-FBED7CE954C3}"/>
              </a:ext>
            </a:extLst>
          </p:cNvPr>
          <p:cNvSpPr/>
          <p:nvPr/>
        </p:nvSpPr>
        <p:spPr bwMode="auto">
          <a:xfrm>
            <a:off x="7882543" y="3261000"/>
            <a:ext cx="155275" cy="97765"/>
          </a:xfrm>
          <a:custGeom>
            <a:avLst/>
            <a:gdLst>
              <a:gd name="T0" fmla="*/ 0 w 30"/>
              <a:gd name="T1" fmla="*/ 0 h 19"/>
              <a:gd name="T2" fmla="*/ 10 w 30"/>
              <a:gd name="T3" fmla="*/ 9 h 19"/>
              <a:gd name="T4" fmla="*/ 13 w 30"/>
              <a:gd name="T5" fmla="*/ 9 h 19"/>
              <a:gd name="T6" fmla="*/ 13 w 30"/>
              <a:gd name="T7" fmla="*/ 15 h 19"/>
              <a:gd name="T8" fmla="*/ 9 w 30"/>
              <a:gd name="T9" fmla="*/ 15 h 19"/>
              <a:gd name="T10" fmla="*/ 9 w 30"/>
              <a:gd name="T11" fmla="*/ 19 h 19"/>
              <a:gd name="T12" fmla="*/ 21 w 30"/>
              <a:gd name="T13" fmla="*/ 19 h 19"/>
              <a:gd name="T14" fmla="*/ 21 w 30"/>
              <a:gd name="T15" fmla="*/ 15 h 19"/>
              <a:gd name="T16" fmla="*/ 17 w 30"/>
              <a:gd name="T17" fmla="*/ 15 h 19"/>
              <a:gd name="T18" fmla="*/ 17 w 30"/>
              <a:gd name="T19" fmla="*/ 9 h 19"/>
              <a:gd name="T20" fmla="*/ 20 w 30"/>
              <a:gd name="T21" fmla="*/ 9 h 19"/>
              <a:gd name="T22" fmla="*/ 30 w 30"/>
              <a:gd name="T23" fmla="*/ 0 h 19"/>
              <a:gd name="T24" fmla="*/ 26 w 30"/>
              <a:gd name="T25" fmla="*/ 0 h 19"/>
              <a:gd name="T26" fmla="*/ 20 w 30"/>
              <a:gd name="T27" fmla="*/ 5 h 19"/>
              <a:gd name="T28" fmla="*/ 10 w 30"/>
              <a:gd name="T29" fmla="*/ 5 h 19"/>
              <a:gd name="T30" fmla="*/ 4 w 30"/>
              <a:gd name="T31" fmla="*/ 0 h 19"/>
              <a:gd name="T32" fmla="*/ 0 w 30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19">
                <a:moveTo>
                  <a:pt x="0" y="0"/>
                </a:moveTo>
                <a:cubicBezTo>
                  <a:pt x="1" y="5"/>
                  <a:pt x="5" y="9"/>
                  <a:pt x="10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3" y="15"/>
                  <a:pt x="13" y="15"/>
                  <a:pt x="13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19"/>
                  <a:pt x="9" y="19"/>
                  <a:pt x="9" y="19"/>
                </a:cubicBezTo>
                <a:cubicBezTo>
                  <a:pt x="21" y="19"/>
                  <a:pt x="21" y="19"/>
                  <a:pt x="21" y="19"/>
                </a:cubicBezTo>
                <a:cubicBezTo>
                  <a:pt x="21" y="15"/>
                  <a:pt x="21" y="15"/>
                  <a:pt x="21" y="15"/>
                </a:cubicBezTo>
                <a:cubicBezTo>
                  <a:pt x="17" y="15"/>
                  <a:pt x="17" y="15"/>
                  <a:pt x="17" y="15"/>
                </a:cubicBezTo>
                <a:cubicBezTo>
                  <a:pt x="17" y="9"/>
                  <a:pt x="17" y="9"/>
                  <a:pt x="17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5" y="9"/>
                  <a:pt x="29" y="5"/>
                  <a:pt x="3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2"/>
                  <a:pt x="23" y="5"/>
                  <a:pt x="20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7" y="5"/>
                  <a:pt x="4" y="2"/>
                  <a:pt x="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0" name="îSľîḓe">
            <a:extLst>
              <a:ext uri="{FF2B5EF4-FFF2-40B4-BE49-F238E27FC236}">
                <a16:creationId xmlns:a16="http://schemas.microsoft.com/office/drawing/2014/main" id="{398848B8-7A60-47FA-99D7-926C3791A755}"/>
              </a:ext>
            </a:extLst>
          </p:cNvPr>
          <p:cNvSpPr/>
          <p:nvPr/>
        </p:nvSpPr>
        <p:spPr bwMode="auto">
          <a:xfrm>
            <a:off x="9939930" y="3593115"/>
            <a:ext cx="316300" cy="159588"/>
          </a:xfrm>
          <a:custGeom>
            <a:avLst/>
            <a:gdLst>
              <a:gd name="T0" fmla="*/ 53 w 61"/>
              <a:gd name="T1" fmla="*/ 22 h 31"/>
              <a:gd name="T2" fmla="*/ 61 w 61"/>
              <a:gd name="T3" fmla="*/ 11 h 31"/>
              <a:gd name="T4" fmla="*/ 53 w 61"/>
              <a:gd name="T5" fmla="*/ 1 h 31"/>
              <a:gd name="T6" fmla="*/ 53 w 61"/>
              <a:gd name="T7" fmla="*/ 5 h 31"/>
              <a:gd name="T8" fmla="*/ 57 w 61"/>
              <a:gd name="T9" fmla="*/ 11 h 31"/>
              <a:gd name="T10" fmla="*/ 53 w 61"/>
              <a:gd name="T11" fmla="*/ 17 h 31"/>
              <a:gd name="T12" fmla="*/ 53 w 61"/>
              <a:gd name="T13" fmla="*/ 22 h 31"/>
              <a:gd name="T14" fmla="*/ 26 w 61"/>
              <a:gd name="T15" fmla="*/ 31 h 31"/>
              <a:gd name="T16" fmla="*/ 46 w 61"/>
              <a:gd name="T17" fmla="*/ 21 h 31"/>
              <a:gd name="T18" fmla="*/ 51 w 61"/>
              <a:gd name="T19" fmla="*/ 22 h 31"/>
              <a:gd name="T20" fmla="*/ 53 w 61"/>
              <a:gd name="T21" fmla="*/ 22 h 31"/>
              <a:gd name="T22" fmla="*/ 53 w 61"/>
              <a:gd name="T23" fmla="*/ 17 h 31"/>
              <a:gd name="T24" fmla="*/ 51 w 61"/>
              <a:gd name="T25" fmla="*/ 17 h 31"/>
              <a:gd name="T26" fmla="*/ 49 w 61"/>
              <a:gd name="T27" fmla="*/ 17 h 31"/>
              <a:gd name="T28" fmla="*/ 52 w 61"/>
              <a:gd name="T29" fmla="*/ 5 h 31"/>
              <a:gd name="T30" fmla="*/ 52 w 61"/>
              <a:gd name="T31" fmla="*/ 5 h 31"/>
              <a:gd name="T32" fmla="*/ 52 w 61"/>
              <a:gd name="T33" fmla="*/ 5 h 31"/>
              <a:gd name="T34" fmla="*/ 53 w 61"/>
              <a:gd name="T35" fmla="*/ 5 h 31"/>
              <a:gd name="T36" fmla="*/ 53 w 61"/>
              <a:gd name="T37" fmla="*/ 1 h 31"/>
              <a:gd name="T38" fmla="*/ 51 w 61"/>
              <a:gd name="T39" fmla="*/ 0 h 31"/>
              <a:gd name="T40" fmla="*/ 51 w 61"/>
              <a:gd name="T41" fmla="*/ 0 h 31"/>
              <a:gd name="T42" fmla="*/ 1 w 61"/>
              <a:gd name="T43" fmla="*/ 0 h 31"/>
              <a:gd name="T44" fmla="*/ 0 w 61"/>
              <a:gd name="T45" fmla="*/ 5 h 31"/>
              <a:gd name="T46" fmla="*/ 26 w 6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1" h="31">
                <a:moveTo>
                  <a:pt x="53" y="22"/>
                </a:moveTo>
                <a:cubicBezTo>
                  <a:pt x="58" y="21"/>
                  <a:pt x="61" y="16"/>
                  <a:pt x="61" y="11"/>
                </a:cubicBezTo>
                <a:cubicBezTo>
                  <a:pt x="61" y="6"/>
                  <a:pt x="58" y="1"/>
                  <a:pt x="53" y="1"/>
                </a:cubicBezTo>
                <a:cubicBezTo>
                  <a:pt x="53" y="5"/>
                  <a:pt x="53" y="5"/>
                  <a:pt x="53" y="5"/>
                </a:cubicBezTo>
                <a:cubicBezTo>
                  <a:pt x="55" y="6"/>
                  <a:pt x="57" y="8"/>
                  <a:pt x="57" y="11"/>
                </a:cubicBezTo>
                <a:cubicBezTo>
                  <a:pt x="57" y="14"/>
                  <a:pt x="55" y="16"/>
                  <a:pt x="53" y="17"/>
                </a:cubicBezTo>
                <a:lnTo>
                  <a:pt x="53" y="22"/>
                </a:lnTo>
                <a:close/>
                <a:moveTo>
                  <a:pt x="26" y="31"/>
                </a:moveTo>
                <a:cubicBezTo>
                  <a:pt x="34" y="31"/>
                  <a:pt x="41" y="27"/>
                  <a:pt x="46" y="21"/>
                </a:cubicBezTo>
                <a:cubicBezTo>
                  <a:pt x="47" y="22"/>
                  <a:pt x="49" y="22"/>
                  <a:pt x="51" y="22"/>
                </a:cubicBezTo>
                <a:cubicBezTo>
                  <a:pt x="51" y="22"/>
                  <a:pt x="52" y="22"/>
                  <a:pt x="53" y="22"/>
                </a:cubicBezTo>
                <a:cubicBezTo>
                  <a:pt x="53" y="17"/>
                  <a:pt x="53" y="17"/>
                  <a:pt x="53" y="17"/>
                </a:cubicBezTo>
                <a:cubicBezTo>
                  <a:pt x="52" y="17"/>
                  <a:pt x="51" y="17"/>
                  <a:pt x="51" y="17"/>
                </a:cubicBezTo>
                <a:cubicBezTo>
                  <a:pt x="50" y="17"/>
                  <a:pt x="49" y="17"/>
                  <a:pt x="49" y="17"/>
                </a:cubicBezTo>
                <a:cubicBezTo>
                  <a:pt x="51" y="13"/>
                  <a:pt x="52" y="9"/>
                  <a:pt x="52" y="5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5"/>
                  <a:pt x="52" y="5"/>
                  <a:pt x="53" y="5"/>
                </a:cubicBezTo>
                <a:cubicBezTo>
                  <a:pt x="53" y="1"/>
                  <a:pt x="53" y="1"/>
                  <a:pt x="53" y="1"/>
                </a:cubicBezTo>
                <a:cubicBezTo>
                  <a:pt x="52" y="0"/>
                  <a:pt x="52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2"/>
                  <a:pt x="0" y="3"/>
                  <a:pt x="0" y="5"/>
                </a:cubicBezTo>
                <a:cubicBezTo>
                  <a:pt x="0" y="19"/>
                  <a:pt x="12" y="31"/>
                  <a:pt x="26" y="3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1" name="išļïďe">
            <a:extLst>
              <a:ext uri="{FF2B5EF4-FFF2-40B4-BE49-F238E27FC236}">
                <a16:creationId xmlns:a16="http://schemas.microsoft.com/office/drawing/2014/main" id="{9FEC3F72-617B-437F-BA41-4435AB7E123F}"/>
              </a:ext>
            </a:extLst>
          </p:cNvPr>
          <p:cNvSpPr/>
          <p:nvPr/>
        </p:nvSpPr>
        <p:spPr bwMode="auto">
          <a:xfrm>
            <a:off x="9939930" y="3764204"/>
            <a:ext cx="290420" cy="25879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2" name="îśľïďê">
            <a:extLst>
              <a:ext uri="{FF2B5EF4-FFF2-40B4-BE49-F238E27FC236}">
                <a16:creationId xmlns:a16="http://schemas.microsoft.com/office/drawing/2014/main" id="{99B58EA8-2557-499B-B6A1-B97DEEBD6BA3}"/>
              </a:ext>
            </a:extLst>
          </p:cNvPr>
          <p:cNvSpPr/>
          <p:nvPr/>
        </p:nvSpPr>
        <p:spPr bwMode="auto">
          <a:xfrm>
            <a:off x="10007503" y="3452218"/>
            <a:ext cx="51759" cy="135147"/>
          </a:xfrm>
          <a:custGeom>
            <a:avLst/>
            <a:gdLst>
              <a:gd name="T0" fmla="*/ 3 w 10"/>
              <a:gd name="T1" fmla="*/ 19 h 26"/>
              <a:gd name="T2" fmla="*/ 5 w 10"/>
              <a:gd name="T3" fmla="*/ 25 h 26"/>
              <a:gd name="T4" fmla="*/ 9 w 10"/>
              <a:gd name="T5" fmla="*/ 16 h 26"/>
              <a:gd name="T6" fmla="*/ 7 w 10"/>
              <a:gd name="T7" fmla="*/ 11 h 26"/>
              <a:gd name="T8" fmla="*/ 6 w 10"/>
              <a:gd name="T9" fmla="*/ 7 h 26"/>
              <a:gd name="T10" fmla="*/ 4 w 10"/>
              <a:gd name="T11" fmla="*/ 2 h 26"/>
              <a:gd name="T12" fmla="*/ 1 w 10"/>
              <a:gd name="T13" fmla="*/ 11 h 26"/>
              <a:gd name="T14" fmla="*/ 3 w 10"/>
              <a:gd name="T15" fmla="*/ 1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6">
                <a:moveTo>
                  <a:pt x="3" y="19"/>
                </a:moveTo>
                <a:cubicBezTo>
                  <a:pt x="0" y="21"/>
                  <a:pt x="2" y="26"/>
                  <a:pt x="5" y="25"/>
                </a:cubicBezTo>
                <a:cubicBezTo>
                  <a:pt x="9" y="23"/>
                  <a:pt x="10" y="19"/>
                  <a:pt x="9" y="16"/>
                </a:cubicBezTo>
                <a:cubicBezTo>
                  <a:pt x="9" y="14"/>
                  <a:pt x="7" y="12"/>
                  <a:pt x="7" y="11"/>
                </a:cubicBezTo>
                <a:cubicBezTo>
                  <a:pt x="6" y="10"/>
                  <a:pt x="5" y="7"/>
                  <a:pt x="6" y="7"/>
                </a:cubicBezTo>
                <a:cubicBezTo>
                  <a:pt x="9" y="5"/>
                  <a:pt x="7" y="0"/>
                  <a:pt x="4" y="2"/>
                </a:cubicBezTo>
                <a:cubicBezTo>
                  <a:pt x="1" y="4"/>
                  <a:pt x="0" y="8"/>
                  <a:pt x="1" y="11"/>
                </a:cubicBezTo>
                <a:cubicBezTo>
                  <a:pt x="1" y="12"/>
                  <a:pt x="6" y="19"/>
                  <a:pt x="3" y="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3" name="îśľiḋe">
            <a:extLst>
              <a:ext uri="{FF2B5EF4-FFF2-40B4-BE49-F238E27FC236}">
                <a16:creationId xmlns:a16="http://schemas.microsoft.com/office/drawing/2014/main" id="{C41A9E01-3650-42AB-B117-0DAA84DEFDAF}"/>
              </a:ext>
            </a:extLst>
          </p:cNvPr>
          <p:cNvSpPr/>
          <p:nvPr/>
        </p:nvSpPr>
        <p:spPr bwMode="auto">
          <a:xfrm>
            <a:off x="10079389" y="3452218"/>
            <a:ext cx="51759" cy="135147"/>
          </a:xfrm>
          <a:custGeom>
            <a:avLst/>
            <a:gdLst>
              <a:gd name="T0" fmla="*/ 4 w 10"/>
              <a:gd name="T1" fmla="*/ 19 h 26"/>
              <a:gd name="T2" fmla="*/ 5 w 10"/>
              <a:gd name="T3" fmla="*/ 25 h 26"/>
              <a:gd name="T4" fmla="*/ 9 w 10"/>
              <a:gd name="T5" fmla="*/ 16 h 26"/>
              <a:gd name="T6" fmla="*/ 7 w 10"/>
              <a:gd name="T7" fmla="*/ 11 h 26"/>
              <a:gd name="T8" fmla="*/ 7 w 10"/>
              <a:gd name="T9" fmla="*/ 7 h 26"/>
              <a:gd name="T10" fmla="*/ 4 w 10"/>
              <a:gd name="T11" fmla="*/ 2 h 26"/>
              <a:gd name="T12" fmla="*/ 1 w 10"/>
              <a:gd name="T13" fmla="*/ 11 h 26"/>
              <a:gd name="T14" fmla="*/ 4 w 10"/>
              <a:gd name="T15" fmla="*/ 1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6">
                <a:moveTo>
                  <a:pt x="4" y="19"/>
                </a:moveTo>
                <a:cubicBezTo>
                  <a:pt x="1" y="21"/>
                  <a:pt x="2" y="26"/>
                  <a:pt x="5" y="25"/>
                </a:cubicBezTo>
                <a:cubicBezTo>
                  <a:pt x="9" y="23"/>
                  <a:pt x="10" y="19"/>
                  <a:pt x="9" y="16"/>
                </a:cubicBezTo>
                <a:cubicBezTo>
                  <a:pt x="9" y="14"/>
                  <a:pt x="8" y="12"/>
                  <a:pt x="7" y="11"/>
                </a:cubicBezTo>
                <a:cubicBezTo>
                  <a:pt x="6" y="10"/>
                  <a:pt x="5" y="7"/>
                  <a:pt x="7" y="7"/>
                </a:cubicBezTo>
                <a:cubicBezTo>
                  <a:pt x="10" y="5"/>
                  <a:pt x="7" y="0"/>
                  <a:pt x="4" y="2"/>
                </a:cubicBezTo>
                <a:cubicBezTo>
                  <a:pt x="1" y="4"/>
                  <a:pt x="0" y="8"/>
                  <a:pt x="1" y="11"/>
                </a:cubicBezTo>
                <a:cubicBezTo>
                  <a:pt x="2" y="12"/>
                  <a:pt x="6" y="19"/>
                  <a:pt x="4" y="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4" name="íṣľíďe">
            <a:extLst>
              <a:ext uri="{FF2B5EF4-FFF2-40B4-BE49-F238E27FC236}">
                <a16:creationId xmlns:a16="http://schemas.microsoft.com/office/drawing/2014/main" id="{D5A09BD2-C47E-4629-AEA5-0A272C91E9E2}"/>
              </a:ext>
            </a:extLst>
          </p:cNvPr>
          <p:cNvSpPr/>
          <p:nvPr/>
        </p:nvSpPr>
        <p:spPr bwMode="auto">
          <a:xfrm>
            <a:off x="9265635" y="2934636"/>
            <a:ext cx="258791" cy="258791"/>
          </a:xfrm>
          <a:custGeom>
            <a:avLst/>
            <a:gdLst>
              <a:gd name="T0" fmla="*/ 25 w 50"/>
              <a:gd name="T1" fmla="*/ 47 h 50"/>
              <a:gd name="T2" fmla="*/ 29 w 50"/>
              <a:gd name="T3" fmla="*/ 46 h 50"/>
              <a:gd name="T4" fmla="*/ 30 w 50"/>
              <a:gd name="T5" fmla="*/ 50 h 50"/>
              <a:gd name="T6" fmla="*/ 39 w 50"/>
              <a:gd name="T7" fmla="*/ 46 h 50"/>
              <a:gd name="T8" fmla="*/ 38 w 50"/>
              <a:gd name="T9" fmla="*/ 43 h 50"/>
              <a:gd name="T10" fmla="*/ 43 w 50"/>
              <a:gd name="T11" fmla="*/ 37 h 50"/>
              <a:gd name="T12" fmla="*/ 46 w 50"/>
              <a:gd name="T13" fmla="*/ 39 h 50"/>
              <a:gd name="T14" fmla="*/ 50 w 50"/>
              <a:gd name="T15" fmla="*/ 30 h 50"/>
              <a:gd name="T16" fmla="*/ 46 w 50"/>
              <a:gd name="T17" fmla="*/ 29 h 50"/>
              <a:gd name="T18" fmla="*/ 46 w 50"/>
              <a:gd name="T19" fmla="*/ 21 h 50"/>
              <a:gd name="T20" fmla="*/ 50 w 50"/>
              <a:gd name="T21" fmla="*/ 20 h 50"/>
              <a:gd name="T22" fmla="*/ 46 w 50"/>
              <a:gd name="T23" fmla="*/ 11 h 50"/>
              <a:gd name="T24" fmla="*/ 43 w 50"/>
              <a:gd name="T25" fmla="*/ 12 h 50"/>
              <a:gd name="T26" fmla="*/ 37 w 50"/>
              <a:gd name="T27" fmla="*/ 7 h 50"/>
              <a:gd name="T28" fmla="*/ 39 w 50"/>
              <a:gd name="T29" fmla="*/ 4 h 50"/>
              <a:gd name="T30" fmla="*/ 30 w 50"/>
              <a:gd name="T31" fmla="*/ 0 h 50"/>
              <a:gd name="T32" fmla="*/ 29 w 50"/>
              <a:gd name="T33" fmla="*/ 4 h 50"/>
              <a:gd name="T34" fmla="*/ 25 w 50"/>
              <a:gd name="T35" fmla="*/ 3 h 50"/>
              <a:gd name="T36" fmla="*/ 25 w 50"/>
              <a:gd name="T37" fmla="*/ 10 h 50"/>
              <a:gd name="T38" fmla="*/ 38 w 50"/>
              <a:gd name="T39" fmla="*/ 19 h 50"/>
              <a:gd name="T40" fmla="*/ 31 w 50"/>
              <a:gd name="T41" fmla="*/ 38 h 50"/>
              <a:gd name="T42" fmla="*/ 25 w 50"/>
              <a:gd name="T43" fmla="*/ 40 h 50"/>
              <a:gd name="T44" fmla="*/ 25 w 50"/>
              <a:gd name="T45" fmla="*/ 40 h 50"/>
              <a:gd name="T46" fmla="*/ 25 w 50"/>
              <a:gd name="T47" fmla="*/ 47 h 50"/>
              <a:gd name="T48" fmla="*/ 4 w 50"/>
              <a:gd name="T49" fmla="*/ 29 h 50"/>
              <a:gd name="T50" fmla="*/ 0 w 50"/>
              <a:gd name="T51" fmla="*/ 31 h 50"/>
              <a:gd name="T52" fmla="*/ 4 w 50"/>
              <a:gd name="T53" fmla="*/ 39 h 50"/>
              <a:gd name="T54" fmla="*/ 7 w 50"/>
              <a:gd name="T55" fmla="*/ 38 h 50"/>
              <a:gd name="T56" fmla="*/ 13 w 50"/>
              <a:gd name="T57" fmla="*/ 43 h 50"/>
              <a:gd name="T58" fmla="*/ 11 w 50"/>
              <a:gd name="T59" fmla="*/ 46 h 50"/>
              <a:gd name="T60" fmla="*/ 20 w 50"/>
              <a:gd name="T61" fmla="*/ 50 h 50"/>
              <a:gd name="T62" fmla="*/ 21 w 50"/>
              <a:gd name="T63" fmla="*/ 46 h 50"/>
              <a:gd name="T64" fmla="*/ 25 w 50"/>
              <a:gd name="T65" fmla="*/ 47 h 50"/>
              <a:gd name="T66" fmla="*/ 25 w 50"/>
              <a:gd name="T67" fmla="*/ 40 h 50"/>
              <a:gd name="T68" fmla="*/ 12 w 50"/>
              <a:gd name="T69" fmla="*/ 31 h 50"/>
              <a:gd name="T70" fmla="*/ 19 w 50"/>
              <a:gd name="T71" fmla="*/ 12 h 50"/>
              <a:gd name="T72" fmla="*/ 19 w 50"/>
              <a:gd name="T73" fmla="*/ 12 h 50"/>
              <a:gd name="T74" fmla="*/ 25 w 50"/>
              <a:gd name="T75" fmla="*/ 10 h 50"/>
              <a:gd name="T76" fmla="*/ 25 w 50"/>
              <a:gd name="T77" fmla="*/ 10 h 50"/>
              <a:gd name="T78" fmla="*/ 25 w 50"/>
              <a:gd name="T79" fmla="*/ 3 h 50"/>
              <a:gd name="T80" fmla="*/ 21 w 50"/>
              <a:gd name="T81" fmla="*/ 4 h 50"/>
              <a:gd name="T82" fmla="*/ 19 w 50"/>
              <a:gd name="T83" fmla="*/ 0 h 50"/>
              <a:gd name="T84" fmla="*/ 11 w 50"/>
              <a:gd name="T85" fmla="*/ 4 h 50"/>
              <a:gd name="T86" fmla="*/ 12 w 50"/>
              <a:gd name="T87" fmla="*/ 7 h 50"/>
              <a:gd name="T88" fmla="*/ 7 w 50"/>
              <a:gd name="T89" fmla="*/ 13 h 50"/>
              <a:gd name="T90" fmla="*/ 4 w 50"/>
              <a:gd name="T91" fmla="*/ 11 h 50"/>
              <a:gd name="T92" fmla="*/ 0 w 50"/>
              <a:gd name="T93" fmla="*/ 20 h 50"/>
              <a:gd name="T94" fmla="*/ 4 w 50"/>
              <a:gd name="T95" fmla="*/ 21 h 50"/>
              <a:gd name="T96" fmla="*/ 4 w 50"/>
              <a:gd name="T97" fmla="*/ 29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0" h="50">
                <a:moveTo>
                  <a:pt x="25" y="47"/>
                </a:moveTo>
                <a:cubicBezTo>
                  <a:pt x="26" y="47"/>
                  <a:pt x="28" y="47"/>
                  <a:pt x="29" y="46"/>
                </a:cubicBezTo>
                <a:cubicBezTo>
                  <a:pt x="30" y="50"/>
                  <a:pt x="30" y="50"/>
                  <a:pt x="30" y="50"/>
                </a:cubicBezTo>
                <a:cubicBezTo>
                  <a:pt x="39" y="46"/>
                  <a:pt x="39" y="46"/>
                  <a:pt x="39" y="46"/>
                </a:cubicBezTo>
                <a:cubicBezTo>
                  <a:pt x="38" y="43"/>
                  <a:pt x="38" y="43"/>
                  <a:pt x="38" y="43"/>
                </a:cubicBezTo>
                <a:cubicBezTo>
                  <a:pt x="40" y="41"/>
                  <a:pt x="41" y="39"/>
                  <a:pt x="43" y="37"/>
                </a:cubicBezTo>
                <a:cubicBezTo>
                  <a:pt x="46" y="39"/>
                  <a:pt x="46" y="39"/>
                  <a:pt x="46" y="39"/>
                </a:cubicBezTo>
                <a:cubicBezTo>
                  <a:pt x="50" y="30"/>
                  <a:pt x="50" y="30"/>
                  <a:pt x="50" y="30"/>
                </a:cubicBezTo>
                <a:cubicBezTo>
                  <a:pt x="46" y="29"/>
                  <a:pt x="46" y="29"/>
                  <a:pt x="46" y="29"/>
                </a:cubicBezTo>
                <a:cubicBezTo>
                  <a:pt x="47" y="26"/>
                  <a:pt x="47" y="24"/>
                  <a:pt x="46" y="21"/>
                </a:cubicBezTo>
                <a:cubicBezTo>
                  <a:pt x="50" y="20"/>
                  <a:pt x="50" y="20"/>
                  <a:pt x="50" y="20"/>
                </a:cubicBezTo>
                <a:cubicBezTo>
                  <a:pt x="46" y="11"/>
                  <a:pt x="46" y="11"/>
                  <a:pt x="46" y="11"/>
                </a:cubicBezTo>
                <a:cubicBezTo>
                  <a:pt x="43" y="12"/>
                  <a:pt x="43" y="12"/>
                  <a:pt x="43" y="12"/>
                </a:cubicBezTo>
                <a:cubicBezTo>
                  <a:pt x="41" y="10"/>
                  <a:pt x="39" y="9"/>
                  <a:pt x="37" y="7"/>
                </a:cubicBezTo>
                <a:cubicBezTo>
                  <a:pt x="39" y="4"/>
                  <a:pt x="39" y="4"/>
                  <a:pt x="39" y="4"/>
                </a:cubicBezTo>
                <a:cubicBezTo>
                  <a:pt x="30" y="0"/>
                  <a:pt x="30" y="0"/>
                  <a:pt x="30" y="0"/>
                </a:cubicBezTo>
                <a:cubicBezTo>
                  <a:pt x="29" y="4"/>
                  <a:pt x="29" y="4"/>
                  <a:pt x="29" y="4"/>
                </a:cubicBezTo>
                <a:cubicBezTo>
                  <a:pt x="27" y="3"/>
                  <a:pt x="26" y="3"/>
                  <a:pt x="25" y="3"/>
                </a:cubicBezTo>
                <a:cubicBezTo>
                  <a:pt x="25" y="10"/>
                  <a:pt x="25" y="10"/>
                  <a:pt x="25" y="10"/>
                </a:cubicBezTo>
                <a:cubicBezTo>
                  <a:pt x="31" y="10"/>
                  <a:pt x="36" y="14"/>
                  <a:pt x="38" y="19"/>
                </a:cubicBezTo>
                <a:cubicBezTo>
                  <a:pt x="42" y="27"/>
                  <a:pt x="38" y="35"/>
                  <a:pt x="31" y="38"/>
                </a:cubicBezTo>
                <a:cubicBezTo>
                  <a:pt x="29" y="39"/>
                  <a:pt x="27" y="40"/>
                  <a:pt x="25" y="40"/>
                </a:cubicBezTo>
                <a:cubicBezTo>
                  <a:pt x="25" y="40"/>
                  <a:pt x="25" y="40"/>
                  <a:pt x="25" y="40"/>
                </a:cubicBezTo>
                <a:lnTo>
                  <a:pt x="25" y="47"/>
                </a:lnTo>
                <a:close/>
                <a:moveTo>
                  <a:pt x="4" y="29"/>
                </a:moveTo>
                <a:cubicBezTo>
                  <a:pt x="0" y="31"/>
                  <a:pt x="0" y="31"/>
                  <a:pt x="0" y="31"/>
                </a:cubicBezTo>
                <a:cubicBezTo>
                  <a:pt x="4" y="39"/>
                  <a:pt x="4" y="39"/>
                  <a:pt x="4" y="39"/>
                </a:cubicBezTo>
                <a:cubicBezTo>
                  <a:pt x="7" y="38"/>
                  <a:pt x="7" y="38"/>
                  <a:pt x="7" y="38"/>
                </a:cubicBezTo>
                <a:cubicBezTo>
                  <a:pt x="9" y="40"/>
                  <a:pt x="11" y="42"/>
                  <a:pt x="13" y="43"/>
                </a:cubicBezTo>
                <a:cubicBezTo>
                  <a:pt x="11" y="46"/>
                  <a:pt x="11" y="46"/>
                  <a:pt x="11" y="46"/>
                </a:cubicBezTo>
                <a:cubicBezTo>
                  <a:pt x="20" y="50"/>
                  <a:pt x="20" y="50"/>
                  <a:pt x="20" y="50"/>
                </a:cubicBezTo>
                <a:cubicBezTo>
                  <a:pt x="21" y="46"/>
                  <a:pt x="21" y="46"/>
                  <a:pt x="21" y="46"/>
                </a:cubicBezTo>
                <a:cubicBezTo>
                  <a:pt x="23" y="47"/>
                  <a:pt x="24" y="47"/>
                  <a:pt x="25" y="47"/>
                </a:cubicBezTo>
                <a:cubicBezTo>
                  <a:pt x="25" y="40"/>
                  <a:pt x="25" y="40"/>
                  <a:pt x="25" y="40"/>
                </a:cubicBezTo>
                <a:cubicBezTo>
                  <a:pt x="19" y="40"/>
                  <a:pt x="14" y="36"/>
                  <a:pt x="12" y="31"/>
                </a:cubicBezTo>
                <a:cubicBezTo>
                  <a:pt x="8" y="23"/>
                  <a:pt x="12" y="15"/>
                  <a:pt x="19" y="12"/>
                </a:cubicBezTo>
                <a:cubicBezTo>
                  <a:pt x="19" y="12"/>
                  <a:pt x="19" y="12"/>
                  <a:pt x="19" y="12"/>
                </a:cubicBezTo>
                <a:cubicBezTo>
                  <a:pt x="21" y="11"/>
                  <a:pt x="23" y="10"/>
                  <a:pt x="25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25" y="3"/>
                  <a:pt x="25" y="3"/>
                  <a:pt x="25" y="3"/>
                </a:cubicBezTo>
                <a:cubicBezTo>
                  <a:pt x="24" y="3"/>
                  <a:pt x="22" y="3"/>
                  <a:pt x="21" y="4"/>
                </a:cubicBezTo>
                <a:cubicBezTo>
                  <a:pt x="19" y="0"/>
                  <a:pt x="19" y="0"/>
                  <a:pt x="19" y="0"/>
                </a:cubicBezTo>
                <a:cubicBezTo>
                  <a:pt x="11" y="4"/>
                  <a:pt x="11" y="4"/>
                  <a:pt x="11" y="4"/>
                </a:cubicBezTo>
                <a:cubicBezTo>
                  <a:pt x="12" y="7"/>
                  <a:pt x="12" y="7"/>
                  <a:pt x="12" y="7"/>
                </a:cubicBezTo>
                <a:cubicBezTo>
                  <a:pt x="10" y="9"/>
                  <a:pt x="8" y="11"/>
                  <a:pt x="7" y="13"/>
                </a:cubicBezTo>
                <a:cubicBezTo>
                  <a:pt x="4" y="11"/>
                  <a:pt x="4" y="11"/>
                  <a:pt x="4" y="11"/>
                </a:cubicBezTo>
                <a:cubicBezTo>
                  <a:pt x="0" y="20"/>
                  <a:pt x="0" y="20"/>
                  <a:pt x="0" y="20"/>
                </a:cubicBezTo>
                <a:cubicBezTo>
                  <a:pt x="4" y="21"/>
                  <a:pt x="4" y="21"/>
                  <a:pt x="4" y="21"/>
                </a:cubicBezTo>
                <a:cubicBezTo>
                  <a:pt x="3" y="24"/>
                  <a:pt x="3" y="27"/>
                  <a:pt x="4" y="2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5" name="íšlídê">
            <a:extLst>
              <a:ext uri="{FF2B5EF4-FFF2-40B4-BE49-F238E27FC236}">
                <a16:creationId xmlns:a16="http://schemas.microsoft.com/office/drawing/2014/main" id="{D56B7038-4887-4148-A3E0-B8D4D8BCEEE5}"/>
              </a:ext>
            </a:extLst>
          </p:cNvPr>
          <p:cNvSpPr/>
          <p:nvPr/>
        </p:nvSpPr>
        <p:spPr bwMode="auto">
          <a:xfrm>
            <a:off x="8525207" y="4820934"/>
            <a:ext cx="264541" cy="268854"/>
          </a:xfrm>
          <a:custGeom>
            <a:avLst/>
            <a:gdLst>
              <a:gd name="T0" fmla="*/ 38 w 51"/>
              <a:gd name="T1" fmla="*/ 52 h 52"/>
              <a:gd name="T2" fmla="*/ 35 w 51"/>
              <a:gd name="T3" fmla="*/ 52 h 52"/>
              <a:gd name="T4" fmla="*/ 34 w 51"/>
              <a:gd name="T5" fmla="*/ 51 h 52"/>
              <a:gd name="T6" fmla="*/ 30 w 51"/>
              <a:gd name="T7" fmla="*/ 49 h 52"/>
              <a:gd name="T8" fmla="*/ 12 w 51"/>
              <a:gd name="T9" fmla="*/ 49 h 52"/>
              <a:gd name="T10" fmla="*/ 8 w 51"/>
              <a:gd name="T11" fmla="*/ 47 h 52"/>
              <a:gd name="T12" fmla="*/ 1 w 51"/>
              <a:gd name="T13" fmla="*/ 25 h 52"/>
              <a:gd name="T14" fmla="*/ 4 w 51"/>
              <a:gd name="T15" fmla="*/ 20 h 52"/>
              <a:gd name="T16" fmla="*/ 20 w 51"/>
              <a:gd name="T17" fmla="*/ 20 h 52"/>
              <a:gd name="T18" fmla="*/ 19 w 51"/>
              <a:gd name="T19" fmla="*/ 15 h 52"/>
              <a:gd name="T20" fmla="*/ 16 w 51"/>
              <a:gd name="T21" fmla="*/ 7 h 52"/>
              <a:gd name="T22" fmla="*/ 18 w 51"/>
              <a:gd name="T23" fmla="*/ 3 h 52"/>
              <a:gd name="T24" fmla="*/ 24 w 51"/>
              <a:gd name="T25" fmla="*/ 3 h 52"/>
              <a:gd name="T26" fmla="*/ 28 w 51"/>
              <a:gd name="T27" fmla="*/ 13 h 52"/>
              <a:gd name="T28" fmla="*/ 38 w 51"/>
              <a:gd name="T29" fmla="*/ 25 h 52"/>
              <a:gd name="T30" fmla="*/ 40 w 51"/>
              <a:gd name="T31" fmla="*/ 27 h 52"/>
              <a:gd name="T32" fmla="*/ 50 w 51"/>
              <a:gd name="T33" fmla="*/ 37 h 52"/>
              <a:gd name="T34" fmla="*/ 50 w 51"/>
              <a:gd name="T35" fmla="*/ 40 h 52"/>
              <a:gd name="T36" fmla="*/ 38 w 51"/>
              <a:gd name="T37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1" h="52">
                <a:moveTo>
                  <a:pt x="38" y="52"/>
                </a:moveTo>
                <a:cubicBezTo>
                  <a:pt x="37" y="52"/>
                  <a:pt x="36" y="52"/>
                  <a:pt x="35" y="52"/>
                </a:cubicBezTo>
                <a:cubicBezTo>
                  <a:pt x="34" y="51"/>
                  <a:pt x="34" y="51"/>
                  <a:pt x="34" y="51"/>
                </a:cubicBezTo>
                <a:cubicBezTo>
                  <a:pt x="33" y="50"/>
                  <a:pt x="31" y="49"/>
                  <a:pt x="30" y="49"/>
                </a:cubicBezTo>
                <a:cubicBezTo>
                  <a:pt x="12" y="49"/>
                  <a:pt x="12" y="49"/>
                  <a:pt x="12" y="49"/>
                </a:cubicBezTo>
                <a:cubicBezTo>
                  <a:pt x="10" y="49"/>
                  <a:pt x="9" y="48"/>
                  <a:pt x="8" y="47"/>
                </a:cubicBezTo>
                <a:cubicBezTo>
                  <a:pt x="1" y="25"/>
                  <a:pt x="1" y="25"/>
                  <a:pt x="1" y="25"/>
                </a:cubicBezTo>
                <a:cubicBezTo>
                  <a:pt x="0" y="22"/>
                  <a:pt x="1" y="20"/>
                  <a:pt x="4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8"/>
                  <a:pt x="20" y="16"/>
                  <a:pt x="19" y="15"/>
                </a:cubicBezTo>
                <a:cubicBezTo>
                  <a:pt x="18" y="14"/>
                  <a:pt x="16" y="11"/>
                  <a:pt x="16" y="7"/>
                </a:cubicBezTo>
                <a:cubicBezTo>
                  <a:pt x="16" y="6"/>
                  <a:pt x="17" y="4"/>
                  <a:pt x="18" y="3"/>
                </a:cubicBezTo>
                <a:cubicBezTo>
                  <a:pt x="20" y="0"/>
                  <a:pt x="24" y="0"/>
                  <a:pt x="24" y="3"/>
                </a:cubicBezTo>
                <a:cubicBezTo>
                  <a:pt x="24" y="6"/>
                  <a:pt x="22" y="10"/>
                  <a:pt x="28" y="13"/>
                </a:cubicBezTo>
                <a:cubicBezTo>
                  <a:pt x="34" y="17"/>
                  <a:pt x="38" y="25"/>
                  <a:pt x="38" y="25"/>
                </a:cubicBezTo>
                <a:cubicBezTo>
                  <a:pt x="38" y="25"/>
                  <a:pt x="39" y="26"/>
                  <a:pt x="40" y="27"/>
                </a:cubicBezTo>
                <a:cubicBezTo>
                  <a:pt x="50" y="37"/>
                  <a:pt x="50" y="37"/>
                  <a:pt x="50" y="37"/>
                </a:cubicBezTo>
                <a:cubicBezTo>
                  <a:pt x="51" y="38"/>
                  <a:pt x="51" y="39"/>
                  <a:pt x="50" y="40"/>
                </a:cubicBezTo>
                <a:lnTo>
                  <a:pt x="38" y="5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6" name="ïŝḷiḑé">
            <a:extLst>
              <a:ext uri="{FF2B5EF4-FFF2-40B4-BE49-F238E27FC236}">
                <a16:creationId xmlns:a16="http://schemas.microsoft.com/office/drawing/2014/main" id="{59B7C9EB-8347-4C9D-9A91-01D0D50A44FF}"/>
              </a:ext>
            </a:extLst>
          </p:cNvPr>
          <p:cNvSpPr/>
          <p:nvPr/>
        </p:nvSpPr>
        <p:spPr bwMode="auto">
          <a:xfrm>
            <a:off x="8726488" y="5033718"/>
            <a:ext cx="83388" cy="81951"/>
          </a:xfrm>
          <a:custGeom>
            <a:avLst/>
            <a:gdLst>
              <a:gd name="T0" fmla="*/ 47 w 58"/>
              <a:gd name="T1" fmla="*/ 0 h 57"/>
              <a:gd name="T2" fmla="*/ 0 w 58"/>
              <a:gd name="T3" fmla="*/ 46 h 57"/>
              <a:gd name="T4" fmla="*/ 11 w 58"/>
              <a:gd name="T5" fmla="*/ 57 h 57"/>
              <a:gd name="T6" fmla="*/ 58 w 58"/>
              <a:gd name="T7" fmla="*/ 10 h 57"/>
              <a:gd name="T8" fmla="*/ 47 w 58"/>
              <a:gd name="T9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57">
                <a:moveTo>
                  <a:pt x="47" y="0"/>
                </a:moveTo>
                <a:lnTo>
                  <a:pt x="0" y="46"/>
                </a:lnTo>
                <a:lnTo>
                  <a:pt x="11" y="57"/>
                </a:lnTo>
                <a:lnTo>
                  <a:pt x="58" y="10"/>
                </a:lnTo>
                <a:lnTo>
                  <a:pt x="47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7" name="ï$ľíḑè">
            <a:extLst>
              <a:ext uri="{FF2B5EF4-FFF2-40B4-BE49-F238E27FC236}">
                <a16:creationId xmlns:a16="http://schemas.microsoft.com/office/drawing/2014/main" id="{0388411E-CAF9-4733-ABB1-D3783F67F6E9}"/>
              </a:ext>
            </a:extLst>
          </p:cNvPr>
          <p:cNvSpPr/>
          <p:nvPr/>
        </p:nvSpPr>
        <p:spPr bwMode="auto">
          <a:xfrm>
            <a:off x="10700487" y="4116447"/>
            <a:ext cx="41694" cy="40257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8" name="î$ḷïḍè">
            <a:extLst>
              <a:ext uri="{FF2B5EF4-FFF2-40B4-BE49-F238E27FC236}">
                <a16:creationId xmlns:a16="http://schemas.microsoft.com/office/drawing/2014/main" id="{8A60E0E8-2D1B-4F3B-9456-B25467E528E9}"/>
              </a:ext>
            </a:extLst>
          </p:cNvPr>
          <p:cNvSpPr/>
          <p:nvPr/>
        </p:nvSpPr>
        <p:spPr bwMode="auto">
          <a:xfrm>
            <a:off x="7904110" y="2612585"/>
            <a:ext cx="87701" cy="89140"/>
          </a:xfrm>
          <a:custGeom>
            <a:avLst/>
            <a:gdLst>
              <a:gd name="T0" fmla="*/ 9 w 17"/>
              <a:gd name="T1" fmla="*/ 17 h 17"/>
              <a:gd name="T2" fmla="*/ 17 w 17"/>
              <a:gd name="T3" fmla="*/ 9 h 17"/>
              <a:gd name="T4" fmla="*/ 9 w 17"/>
              <a:gd name="T5" fmla="*/ 0 h 17"/>
              <a:gd name="T6" fmla="*/ 9 w 17"/>
              <a:gd name="T7" fmla="*/ 3 h 17"/>
              <a:gd name="T8" fmla="*/ 14 w 17"/>
              <a:gd name="T9" fmla="*/ 9 h 17"/>
              <a:gd name="T10" fmla="*/ 9 w 17"/>
              <a:gd name="T11" fmla="*/ 14 h 17"/>
              <a:gd name="T12" fmla="*/ 9 w 17"/>
              <a:gd name="T13" fmla="*/ 17 h 17"/>
              <a:gd name="T14" fmla="*/ 9 w 17"/>
              <a:gd name="T15" fmla="*/ 0 h 17"/>
              <a:gd name="T16" fmla="*/ 0 w 17"/>
              <a:gd name="T17" fmla="*/ 9 h 17"/>
              <a:gd name="T18" fmla="*/ 9 w 17"/>
              <a:gd name="T19" fmla="*/ 17 h 17"/>
              <a:gd name="T20" fmla="*/ 9 w 17"/>
              <a:gd name="T21" fmla="*/ 17 h 17"/>
              <a:gd name="T22" fmla="*/ 9 w 17"/>
              <a:gd name="T23" fmla="*/ 14 h 17"/>
              <a:gd name="T24" fmla="*/ 9 w 17"/>
              <a:gd name="T25" fmla="*/ 14 h 17"/>
              <a:gd name="T26" fmla="*/ 9 w 17"/>
              <a:gd name="T27" fmla="*/ 14 h 17"/>
              <a:gd name="T28" fmla="*/ 3 w 17"/>
              <a:gd name="T29" fmla="*/ 9 h 17"/>
              <a:gd name="T30" fmla="*/ 9 w 17"/>
              <a:gd name="T31" fmla="*/ 3 h 17"/>
              <a:gd name="T32" fmla="*/ 9 w 17"/>
              <a:gd name="T33" fmla="*/ 3 h 17"/>
              <a:gd name="T34" fmla="*/ 9 w 17"/>
              <a:gd name="T3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" h="17">
                <a:moveTo>
                  <a:pt x="9" y="17"/>
                </a:moveTo>
                <a:cubicBezTo>
                  <a:pt x="13" y="17"/>
                  <a:pt x="17" y="13"/>
                  <a:pt x="17" y="9"/>
                </a:cubicBezTo>
                <a:cubicBezTo>
                  <a:pt x="17" y="4"/>
                  <a:pt x="13" y="0"/>
                  <a:pt x="9" y="0"/>
                </a:cubicBezTo>
                <a:cubicBezTo>
                  <a:pt x="9" y="3"/>
                  <a:pt x="9" y="3"/>
                  <a:pt x="9" y="3"/>
                </a:cubicBezTo>
                <a:cubicBezTo>
                  <a:pt x="12" y="3"/>
                  <a:pt x="14" y="5"/>
                  <a:pt x="14" y="9"/>
                </a:cubicBezTo>
                <a:cubicBezTo>
                  <a:pt x="14" y="12"/>
                  <a:pt x="12" y="14"/>
                  <a:pt x="9" y="14"/>
                </a:cubicBezTo>
                <a:lnTo>
                  <a:pt x="9" y="17"/>
                </a:lnTo>
                <a:close/>
                <a:moveTo>
                  <a:pt x="9" y="0"/>
                </a:moveTo>
                <a:cubicBezTo>
                  <a:pt x="4" y="0"/>
                  <a:pt x="0" y="4"/>
                  <a:pt x="0" y="9"/>
                </a:cubicBezTo>
                <a:cubicBezTo>
                  <a:pt x="0" y="13"/>
                  <a:pt x="4" y="17"/>
                  <a:pt x="9" y="17"/>
                </a:cubicBezTo>
                <a:cubicBezTo>
                  <a:pt x="9" y="17"/>
                  <a:pt x="9" y="17"/>
                  <a:pt x="9" y="17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5" y="14"/>
                  <a:pt x="3" y="12"/>
                  <a:pt x="3" y="9"/>
                </a:cubicBezTo>
                <a:cubicBezTo>
                  <a:pt x="3" y="5"/>
                  <a:pt x="5" y="3"/>
                  <a:pt x="9" y="3"/>
                </a:cubicBezTo>
                <a:cubicBezTo>
                  <a:pt x="9" y="3"/>
                  <a:pt x="9" y="3"/>
                  <a:pt x="9" y="3"/>
                </a:cubicBezTo>
                <a:cubicBezTo>
                  <a:pt x="9" y="0"/>
                  <a:pt x="9" y="0"/>
                  <a:pt x="9" y="0"/>
                </a:cubicBez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99" name="iṥḷíḋe">
            <a:extLst>
              <a:ext uri="{FF2B5EF4-FFF2-40B4-BE49-F238E27FC236}">
                <a16:creationId xmlns:a16="http://schemas.microsoft.com/office/drawing/2014/main" id="{D8D2D2E4-90C7-4561-B197-F0831E02B17F}"/>
              </a:ext>
            </a:extLst>
          </p:cNvPr>
          <p:cNvSpPr/>
          <p:nvPr/>
        </p:nvSpPr>
        <p:spPr bwMode="auto">
          <a:xfrm>
            <a:off x="7850913" y="5157362"/>
            <a:ext cx="21566" cy="51759"/>
          </a:xfrm>
          <a:custGeom>
            <a:avLst/>
            <a:gdLst>
              <a:gd name="T0" fmla="*/ 1 w 4"/>
              <a:gd name="T1" fmla="*/ 8 h 10"/>
              <a:gd name="T2" fmla="*/ 4 w 4"/>
              <a:gd name="T3" fmla="*/ 3 h 10"/>
              <a:gd name="T4" fmla="*/ 1 w 4"/>
              <a:gd name="T5" fmla="*/ 0 h 10"/>
              <a:gd name="T6" fmla="*/ 1 w 4"/>
              <a:gd name="T7" fmla="*/ 8 h 10"/>
              <a:gd name="T8" fmla="*/ 1 w 4"/>
              <a:gd name="T9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0">
                <a:moveTo>
                  <a:pt x="1" y="8"/>
                </a:moveTo>
                <a:cubicBezTo>
                  <a:pt x="2" y="6"/>
                  <a:pt x="3" y="5"/>
                  <a:pt x="4" y="3"/>
                </a:cubicBezTo>
                <a:cubicBezTo>
                  <a:pt x="3" y="2"/>
                  <a:pt x="2" y="1"/>
                  <a:pt x="1" y="0"/>
                </a:cubicBezTo>
                <a:cubicBezTo>
                  <a:pt x="1" y="8"/>
                  <a:pt x="1" y="8"/>
                  <a:pt x="1" y="8"/>
                </a:cubicBezTo>
                <a:cubicBezTo>
                  <a:pt x="1" y="10"/>
                  <a:pt x="0" y="10"/>
                  <a:pt x="1" y="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0" name="ïŝ1íḍe">
            <a:extLst>
              <a:ext uri="{FF2B5EF4-FFF2-40B4-BE49-F238E27FC236}">
                <a16:creationId xmlns:a16="http://schemas.microsoft.com/office/drawing/2014/main" id="{4BECE577-B36B-4813-A798-385940B7F4F1}"/>
              </a:ext>
            </a:extLst>
          </p:cNvPr>
          <p:cNvSpPr/>
          <p:nvPr/>
        </p:nvSpPr>
        <p:spPr bwMode="auto">
          <a:xfrm>
            <a:off x="8172964" y="5535484"/>
            <a:ext cx="357994" cy="161025"/>
          </a:xfrm>
          <a:custGeom>
            <a:avLst/>
            <a:gdLst>
              <a:gd name="T0" fmla="*/ 54 w 69"/>
              <a:gd name="T1" fmla="*/ 31 h 31"/>
              <a:gd name="T2" fmla="*/ 69 w 69"/>
              <a:gd name="T3" fmla="*/ 31 h 31"/>
              <a:gd name="T4" fmla="*/ 69 w 69"/>
              <a:gd name="T5" fmla="*/ 12 h 31"/>
              <a:gd name="T6" fmla="*/ 61 w 69"/>
              <a:gd name="T7" fmla="*/ 12 h 31"/>
              <a:gd name="T8" fmla="*/ 61 w 69"/>
              <a:gd name="T9" fmla="*/ 6 h 31"/>
              <a:gd name="T10" fmla="*/ 54 w 69"/>
              <a:gd name="T11" fmla="*/ 3 h 31"/>
              <a:gd name="T12" fmla="*/ 54 w 69"/>
              <a:gd name="T13" fmla="*/ 18 h 31"/>
              <a:gd name="T14" fmla="*/ 60 w 69"/>
              <a:gd name="T15" fmla="*/ 18 h 31"/>
              <a:gd name="T16" fmla="*/ 60 w 69"/>
              <a:gd name="T17" fmla="*/ 26 h 31"/>
              <a:gd name="T18" fmla="*/ 60 w 69"/>
              <a:gd name="T19" fmla="*/ 26 h 31"/>
              <a:gd name="T20" fmla="*/ 54 w 69"/>
              <a:gd name="T21" fmla="*/ 26 h 31"/>
              <a:gd name="T22" fmla="*/ 54 w 69"/>
              <a:gd name="T23" fmla="*/ 31 h 31"/>
              <a:gd name="T24" fmla="*/ 45 w 69"/>
              <a:gd name="T25" fmla="*/ 0 h 31"/>
              <a:gd name="T26" fmla="*/ 45 w 69"/>
              <a:gd name="T27" fmla="*/ 12 h 31"/>
              <a:gd name="T28" fmla="*/ 34 w 69"/>
              <a:gd name="T29" fmla="*/ 12 h 31"/>
              <a:gd name="T30" fmla="*/ 34 w 69"/>
              <a:gd name="T31" fmla="*/ 18 h 31"/>
              <a:gd name="T32" fmla="*/ 40 w 69"/>
              <a:gd name="T33" fmla="*/ 18 h 31"/>
              <a:gd name="T34" fmla="*/ 40 w 69"/>
              <a:gd name="T35" fmla="*/ 26 h 31"/>
              <a:gd name="T36" fmla="*/ 40 w 69"/>
              <a:gd name="T37" fmla="*/ 26 h 31"/>
              <a:gd name="T38" fmla="*/ 34 w 69"/>
              <a:gd name="T39" fmla="*/ 26 h 31"/>
              <a:gd name="T40" fmla="*/ 34 w 69"/>
              <a:gd name="T41" fmla="*/ 31 h 31"/>
              <a:gd name="T42" fmla="*/ 54 w 69"/>
              <a:gd name="T43" fmla="*/ 31 h 31"/>
              <a:gd name="T44" fmla="*/ 54 w 69"/>
              <a:gd name="T45" fmla="*/ 26 h 31"/>
              <a:gd name="T46" fmla="*/ 48 w 69"/>
              <a:gd name="T47" fmla="*/ 26 h 31"/>
              <a:gd name="T48" fmla="*/ 48 w 69"/>
              <a:gd name="T49" fmla="*/ 18 h 31"/>
              <a:gd name="T50" fmla="*/ 54 w 69"/>
              <a:gd name="T51" fmla="*/ 18 h 31"/>
              <a:gd name="T52" fmla="*/ 54 w 69"/>
              <a:gd name="T53" fmla="*/ 3 h 31"/>
              <a:gd name="T54" fmla="*/ 45 w 69"/>
              <a:gd name="T55" fmla="*/ 0 h 31"/>
              <a:gd name="T56" fmla="*/ 34 w 69"/>
              <a:gd name="T57" fmla="*/ 12 h 31"/>
              <a:gd name="T58" fmla="*/ 15 w 69"/>
              <a:gd name="T59" fmla="*/ 12 h 31"/>
              <a:gd name="T60" fmla="*/ 15 w 69"/>
              <a:gd name="T61" fmla="*/ 18 h 31"/>
              <a:gd name="T62" fmla="*/ 21 w 69"/>
              <a:gd name="T63" fmla="*/ 18 h 31"/>
              <a:gd name="T64" fmla="*/ 21 w 69"/>
              <a:gd name="T65" fmla="*/ 26 h 31"/>
              <a:gd name="T66" fmla="*/ 21 w 69"/>
              <a:gd name="T67" fmla="*/ 26 h 31"/>
              <a:gd name="T68" fmla="*/ 15 w 69"/>
              <a:gd name="T69" fmla="*/ 26 h 31"/>
              <a:gd name="T70" fmla="*/ 15 w 69"/>
              <a:gd name="T71" fmla="*/ 31 h 31"/>
              <a:gd name="T72" fmla="*/ 34 w 69"/>
              <a:gd name="T73" fmla="*/ 31 h 31"/>
              <a:gd name="T74" fmla="*/ 34 w 69"/>
              <a:gd name="T75" fmla="*/ 26 h 31"/>
              <a:gd name="T76" fmla="*/ 29 w 69"/>
              <a:gd name="T77" fmla="*/ 26 h 31"/>
              <a:gd name="T78" fmla="*/ 29 w 69"/>
              <a:gd name="T79" fmla="*/ 18 h 31"/>
              <a:gd name="T80" fmla="*/ 34 w 69"/>
              <a:gd name="T81" fmla="*/ 18 h 31"/>
              <a:gd name="T82" fmla="*/ 34 w 69"/>
              <a:gd name="T83" fmla="*/ 12 h 31"/>
              <a:gd name="T84" fmla="*/ 15 w 69"/>
              <a:gd name="T85" fmla="*/ 12 h 31"/>
              <a:gd name="T86" fmla="*/ 0 w 69"/>
              <a:gd name="T87" fmla="*/ 12 h 31"/>
              <a:gd name="T88" fmla="*/ 0 w 69"/>
              <a:gd name="T89" fmla="*/ 31 h 31"/>
              <a:gd name="T90" fmla="*/ 15 w 69"/>
              <a:gd name="T91" fmla="*/ 31 h 31"/>
              <a:gd name="T92" fmla="*/ 15 w 69"/>
              <a:gd name="T93" fmla="*/ 26 h 31"/>
              <a:gd name="T94" fmla="*/ 9 w 69"/>
              <a:gd name="T95" fmla="*/ 26 h 31"/>
              <a:gd name="T96" fmla="*/ 9 w 69"/>
              <a:gd name="T97" fmla="*/ 18 h 31"/>
              <a:gd name="T98" fmla="*/ 15 w 69"/>
              <a:gd name="T99" fmla="*/ 18 h 31"/>
              <a:gd name="T100" fmla="*/ 15 w 69"/>
              <a:gd name="T101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9" h="31">
                <a:moveTo>
                  <a:pt x="54" y="31"/>
                </a:moveTo>
                <a:cubicBezTo>
                  <a:pt x="69" y="31"/>
                  <a:pt x="69" y="31"/>
                  <a:pt x="69" y="31"/>
                </a:cubicBezTo>
                <a:cubicBezTo>
                  <a:pt x="69" y="12"/>
                  <a:pt x="69" y="12"/>
                  <a:pt x="69" y="12"/>
                </a:cubicBezTo>
                <a:cubicBezTo>
                  <a:pt x="61" y="12"/>
                  <a:pt x="61" y="12"/>
                  <a:pt x="61" y="12"/>
                </a:cubicBezTo>
                <a:cubicBezTo>
                  <a:pt x="61" y="6"/>
                  <a:pt x="61" y="6"/>
                  <a:pt x="61" y="6"/>
                </a:cubicBezTo>
                <a:cubicBezTo>
                  <a:pt x="59" y="5"/>
                  <a:pt x="57" y="4"/>
                  <a:pt x="54" y="3"/>
                </a:cubicBezTo>
                <a:cubicBezTo>
                  <a:pt x="54" y="18"/>
                  <a:pt x="54" y="18"/>
                  <a:pt x="54" y="18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26"/>
                  <a:pt x="60" y="26"/>
                  <a:pt x="60" y="26"/>
                </a:cubicBezTo>
                <a:cubicBezTo>
                  <a:pt x="60" y="26"/>
                  <a:pt x="60" y="26"/>
                  <a:pt x="60" y="26"/>
                </a:cubicBezTo>
                <a:cubicBezTo>
                  <a:pt x="54" y="26"/>
                  <a:pt x="54" y="26"/>
                  <a:pt x="54" y="26"/>
                </a:cubicBezTo>
                <a:lnTo>
                  <a:pt x="54" y="31"/>
                </a:lnTo>
                <a:close/>
                <a:moveTo>
                  <a:pt x="45" y="0"/>
                </a:moveTo>
                <a:cubicBezTo>
                  <a:pt x="45" y="12"/>
                  <a:pt x="45" y="12"/>
                  <a:pt x="45" y="12"/>
                </a:cubicBezTo>
                <a:cubicBezTo>
                  <a:pt x="34" y="12"/>
                  <a:pt x="34" y="12"/>
                  <a:pt x="34" y="12"/>
                </a:cubicBezTo>
                <a:cubicBezTo>
                  <a:pt x="34" y="18"/>
                  <a:pt x="34" y="18"/>
                  <a:pt x="34" y="18"/>
                </a:cubicBezTo>
                <a:cubicBezTo>
                  <a:pt x="40" y="18"/>
                  <a:pt x="40" y="18"/>
                  <a:pt x="40" y="18"/>
                </a:cubicBezTo>
                <a:cubicBezTo>
                  <a:pt x="40" y="26"/>
                  <a:pt x="40" y="26"/>
                  <a:pt x="40" y="26"/>
                </a:cubicBezTo>
                <a:cubicBezTo>
                  <a:pt x="40" y="26"/>
                  <a:pt x="40" y="26"/>
                  <a:pt x="40" y="26"/>
                </a:cubicBezTo>
                <a:cubicBezTo>
                  <a:pt x="34" y="26"/>
                  <a:pt x="34" y="26"/>
                  <a:pt x="34" y="26"/>
                </a:cubicBezTo>
                <a:cubicBezTo>
                  <a:pt x="34" y="31"/>
                  <a:pt x="34" y="31"/>
                  <a:pt x="34" y="31"/>
                </a:cubicBezTo>
                <a:cubicBezTo>
                  <a:pt x="54" y="31"/>
                  <a:pt x="54" y="31"/>
                  <a:pt x="54" y="31"/>
                </a:cubicBezTo>
                <a:cubicBezTo>
                  <a:pt x="54" y="26"/>
                  <a:pt x="54" y="26"/>
                  <a:pt x="54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18"/>
                  <a:pt x="48" y="18"/>
                  <a:pt x="48" y="18"/>
                </a:cubicBezTo>
                <a:cubicBezTo>
                  <a:pt x="54" y="18"/>
                  <a:pt x="54" y="18"/>
                  <a:pt x="54" y="18"/>
                </a:cubicBezTo>
                <a:cubicBezTo>
                  <a:pt x="54" y="3"/>
                  <a:pt x="54" y="3"/>
                  <a:pt x="54" y="3"/>
                </a:cubicBezTo>
                <a:cubicBezTo>
                  <a:pt x="51" y="2"/>
                  <a:pt x="48" y="1"/>
                  <a:pt x="45" y="0"/>
                </a:cubicBezTo>
                <a:close/>
                <a:moveTo>
                  <a:pt x="34" y="12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8"/>
                  <a:pt x="15" y="18"/>
                  <a:pt x="15" y="18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26"/>
                  <a:pt x="21" y="26"/>
                  <a:pt x="21" y="26"/>
                </a:cubicBezTo>
                <a:cubicBezTo>
                  <a:pt x="21" y="26"/>
                  <a:pt x="21" y="26"/>
                  <a:pt x="21" y="26"/>
                </a:cubicBezTo>
                <a:cubicBezTo>
                  <a:pt x="15" y="26"/>
                  <a:pt x="15" y="26"/>
                  <a:pt x="15" y="26"/>
                </a:cubicBezTo>
                <a:cubicBezTo>
                  <a:pt x="15" y="31"/>
                  <a:pt x="15" y="31"/>
                  <a:pt x="15" y="31"/>
                </a:cubicBezTo>
                <a:cubicBezTo>
                  <a:pt x="34" y="31"/>
                  <a:pt x="34" y="31"/>
                  <a:pt x="34" y="31"/>
                </a:cubicBezTo>
                <a:cubicBezTo>
                  <a:pt x="34" y="26"/>
                  <a:pt x="34" y="26"/>
                  <a:pt x="34" y="26"/>
                </a:cubicBezTo>
                <a:cubicBezTo>
                  <a:pt x="29" y="26"/>
                  <a:pt x="29" y="26"/>
                  <a:pt x="29" y="26"/>
                </a:cubicBezTo>
                <a:cubicBezTo>
                  <a:pt x="29" y="18"/>
                  <a:pt x="29" y="18"/>
                  <a:pt x="29" y="18"/>
                </a:cubicBezTo>
                <a:cubicBezTo>
                  <a:pt x="34" y="18"/>
                  <a:pt x="34" y="18"/>
                  <a:pt x="34" y="18"/>
                </a:cubicBezTo>
                <a:lnTo>
                  <a:pt x="34" y="12"/>
                </a:lnTo>
                <a:close/>
                <a:moveTo>
                  <a:pt x="15" y="12"/>
                </a:moveTo>
                <a:cubicBezTo>
                  <a:pt x="0" y="12"/>
                  <a:pt x="0" y="12"/>
                  <a:pt x="0" y="12"/>
                </a:cubicBezTo>
                <a:cubicBezTo>
                  <a:pt x="0" y="31"/>
                  <a:pt x="0" y="31"/>
                  <a:pt x="0" y="31"/>
                </a:cubicBezTo>
                <a:cubicBezTo>
                  <a:pt x="15" y="31"/>
                  <a:pt x="15" y="31"/>
                  <a:pt x="15" y="31"/>
                </a:cubicBezTo>
                <a:cubicBezTo>
                  <a:pt x="15" y="26"/>
                  <a:pt x="15" y="26"/>
                  <a:pt x="15" y="26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18"/>
                  <a:pt x="9" y="18"/>
                  <a:pt x="9" y="18"/>
                </a:cubicBezTo>
                <a:cubicBezTo>
                  <a:pt x="15" y="18"/>
                  <a:pt x="15" y="18"/>
                  <a:pt x="15" y="18"/>
                </a:cubicBezTo>
                <a:lnTo>
                  <a:pt x="15" y="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1" name="iślîďe">
            <a:extLst>
              <a:ext uri="{FF2B5EF4-FFF2-40B4-BE49-F238E27FC236}">
                <a16:creationId xmlns:a16="http://schemas.microsoft.com/office/drawing/2014/main" id="{6A921537-8B2E-4A77-87D8-590DEC3B547E}"/>
              </a:ext>
            </a:extLst>
          </p:cNvPr>
          <p:cNvSpPr/>
          <p:nvPr/>
        </p:nvSpPr>
        <p:spPr bwMode="auto">
          <a:xfrm>
            <a:off x="8085262" y="5706574"/>
            <a:ext cx="485951" cy="155275"/>
          </a:xfrm>
          <a:custGeom>
            <a:avLst/>
            <a:gdLst>
              <a:gd name="T0" fmla="*/ 328 w 338"/>
              <a:gd name="T1" fmla="*/ 108 h 108"/>
              <a:gd name="T2" fmla="*/ 338 w 338"/>
              <a:gd name="T3" fmla="*/ 0 h 108"/>
              <a:gd name="T4" fmla="*/ 0 w 338"/>
              <a:gd name="T5" fmla="*/ 0 h 108"/>
              <a:gd name="T6" fmla="*/ 39 w 338"/>
              <a:gd name="T7" fmla="*/ 108 h 108"/>
              <a:gd name="T8" fmla="*/ 328 w 338"/>
              <a:gd name="T9" fmla="*/ 10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8" h="108">
                <a:moveTo>
                  <a:pt x="328" y="108"/>
                </a:moveTo>
                <a:lnTo>
                  <a:pt x="338" y="0"/>
                </a:lnTo>
                <a:lnTo>
                  <a:pt x="0" y="0"/>
                </a:lnTo>
                <a:lnTo>
                  <a:pt x="39" y="108"/>
                </a:lnTo>
                <a:lnTo>
                  <a:pt x="328" y="1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2" name="íṥļïde">
            <a:extLst>
              <a:ext uri="{FF2B5EF4-FFF2-40B4-BE49-F238E27FC236}">
                <a16:creationId xmlns:a16="http://schemas.microsoft.com/office/drawing/2014/main" id="{59BE2C6F-9C55-4E71-862D-46EE8C0211D1}"/>
              </a:ext>
            </a:extLst>
          </p:cNvPr>
          <p:cNvSpPr/>
          <p:nvPr/>
        </p:nvSpPr>
        <p:spPr bwMode="auto">
          <a:xfrm>
            <a:off x="7291638" y="4592335"/>
            <a:ext cx="228599" cy="326365"/>
          </a:xfrm>
          <a:custGeom>
            <a:avLst/>
            <a:gdLst>
              <a:gd name="T0" fmla="*/ 41 w 44"/>
              <a:gd name="T1" fmla="*/ 0 h 63"/>
              <a:gd name="T2" fmla="*/ 0 w 44"/>
              <a:gd name="T3" fmla="*/ 43 h 63"/>
              <a:gd name="T4" fmla="*/ 5 w 44"/>
              <a:gd name="T5" fmla="*/ 63 h 63"/>
              <a:gd name="T6" fmla="*/ 5 w 44"/>
              <a:gd name="T7" fmla="*/ 52 h 63"/>
              <a:gd name="T8" fmla="*/ 7 w 44"/>
              <a:gd name="T9" fmla="*/ 46 h 63"/>
              <a:gd name="T10" fmla="*/ 7 w 44"/>
              <a:gd name="T11" fmla="*/ 43 h 63"/>
              <a:gd name="T12" fmla="*/ 43 w 44"/>
              <a:gd name="T13" fmla="*/ 7 h 63"/>
              <a:gd name="T14" fmla="*/ 44 w 44"/>
              <a:gd name="T15" fmla="*/ 7 h 63"/>
              <a:gd name="T16" fmla="*/ 41 w 44"/>
              <a:gd name="T17" fmla="*/ 0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4" h="63">
                <a:moveTo>
                  <a:pt x="41" y="0"/>
                </a:moveTo>
                <a:cubicBezTo>
                  <a:pt x="19" y="1"/>
                  <a:pt x="0" y="20"/>
                  <a:pt x="0" y="43"/>
                </a:cubicBezTo>
                <a:cubicBezTo>
                  <a:pt x="0" y="50"/>
                  <a:pt x="2" y="57"/>
                  <a:pt x="5" y="63"/>
                </a:cubicBezTo>
                <a:cubicBezTo>
                  <a:pt x="5" y="52"/>
                  <a:pt x="5" y="52"/>
                  <a:pt x="5" y="52"/>
                </a:cubicBezTo>
                <a:cubicBezTo>
                  <a:pt x="5" y="50"/>
                  <a:pt x="6" y="48"/>
                  <a:pt x="7" y="46"/>
                </a:cubicBezTo>
                <a:cubicBezTo>
                  <a:pt x="7" y="45"/>
                  <a:pt x="7" y="44"/>
                  <a:pt x="7" y="43"/>
                </a:cubicBezTo>
                <a:cubicBezTo>
                  <a:pt x="7" y="23"/>
                  <a:pt x="23" y="7"/>
                  <a:pt x="43" y="7"/>
                </a:cubicBezTo>
                <a:cubicBezTo>
                  <a:pt x="43" y="7"/>
                  <a:pt x="44" y="7"/>
                  <a:pt x="44" y="7"/>
                </a:cubicBezTo>
                <a:cubicBezTo>
                  <a:pt x="43" y="4"/>
                  <a:pt x="42" y="2"/>
                  <a:pt x="4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3" name="î$1iḓé">
            <a:extLst>
              <a:ext uri="{FF2B5EF4-FFF2-40B4-BE49-F238E27FC236}">
                <a16:creationId xmlns:a16="http://schemas.microsoft.com/office/drawing/2014/main" id="{07875B23-10B4-444D-B0BE-CF522B7F08EE}"/>
              </a:ext>
            </a:extLst>
          </p:cNvPr>
          <p:cNvSpPr/>
          <p:nvPr/>
        </p:nvSpPr>
        <p:spPr bwMode="auto">
          <a:xfrm>
            <a:off x="7333332" y="4815183"/>
            <a:ext cx="99202" cy="176840"/>
          </a:xfrm>
          <a:custGeom>
            <a:avLst/>
            <a:gdLst>
              <a:gd name="T0" fmla="*/ 0 w 19"/>
              <a:gd name="T1" fmla="*/ 7 h 34"/>
              <a:gd name="T2" fmla="*/ 0 w 19"/>
              <a:gd name="T3" fmla="*/ 9 h 34"/>
              <a:gd name="T4" fmla="*/ 0 w 19"/>
              <a:gd name="T5" fmla="*/ 20 h 34"/>
              <a:gd name="T6" fmla="*/ 0 w 19"/>
              <a:gd name="T7" fmla="*/ 25 h 34"/>
              <a:gd name="T8" fmla="*/ 13 w 19"/>
              <a:gd name="T9" fmla="*/ 34 h 34"/>
              <a:gd name="T10" fmla="*/ 19 w 19"/>
              <a:gd name="T11" fmla="*/ 34 h 34"/>
              <a:gd name="T12" fmla="*/ 19 w 19"/>
              <a:gd name="T13" fmla="*/ 0 h 34"/>
              <a:gd name="T14" fmla="*/ 13 w 19"/>
              <a:gd name="T15" fmla="*/ 0 h 34"/>
              <a:gd name="T16" fmla="*/ 0 w 19"/>
              <a:gd name="T17" fmla="*/ 7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" h="34">
                <a:moveTo>
                  <a:pt x="0" y="7"/>
                </a:moveTo>
                <a:cubicBezTo>
                  <a:pt x="0" y="8"/>
                  <a:pt x="0" y="8"/>
                  <a:pt x="0" y="9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30"/>
                  <a:pt x="6" y="34"/>
                  <a:pt x="13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0"/>
                  <a:pt x="19" y="0"/>
                  <a:pt x="19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7" y="0"/>
                  <a:pt x="1" y="3"/>
                  <a:pt x="0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4" name="íṥľïḋé">
            <a:extLst>
              <a:ext uri="{FF2B5EF4-FFF2-40B4-BE49-F238E27FC236}">
                <a16:creationId xmlns:a16="http://schemas.microsoft.com/office/drawing/2014/main" id="{98A4F698-6C8B-4C84-81EF-63DBA4228CC1}"/>
              </a:ext>
            </a:extLst>
          </p:cNvPr>
          <p:cNvSpPr/>
          <p:nvPr/>
        </p:nvSpPr>
        <p:spPr bwMode="auto">
          <a:xfrm>
            <a:off x="7597874" y="4815183"/>
            <a:ext cx="93452" cy="176840"/>
          </a:xfrm>
          <a:custGeom>
            <a:avLst/>
            <a:gdLst>
              <a:gd name="T0" fmla="*/ 1 w 18"/>
              <a:gd name="T1" fmla="*/ 0 h 34"/>
              <a:gd name="T2" fmla="*/ 0 w 18"/>
              <a:gd name="T3" fmla="*/ 0 h 34"/>
              <a:gd name="T4" fmla="*/ 0 w 18"/>
              <a:gd name="T5" fmla="*/ 34 h 34"/>
              <a:gd name="T6" fmla="*/ 6 w 18"/>
              <a:gd name="T7" fmla="*/ 34 h 34"/>
              <a:gd name="T8" fmla="*/ 18 w 18"/>
              <a:gd name="T9" fmla="*/ 28 h 34"/>
              <a:gd name="T10" fmla="*/ 1 w 18"/>
              <a:gd name="T11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34">
                <a:moveTo>
                  <a:pt x="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4"/>
                  <a:pt x="17" y="31"/>
                  <a:pt x="18" y="28"/>
                </a:cubicBezTo>
                <a:cubicBezTo>
                  <a:pt x="12" y="19"/>
                  <a:pt x="7" y="9"/>
                  <a:pt x="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5" name="iṥľîḋê">
            <a:extLst>
              <a:ext uri="{FF2B5EF4-FFF2-40B4-BE49-F238E27FC236}">
                <a16:creationId xmlns:a16="http://schemas.microsoft.com/office/drawing/2014/main" id="{06749B10-A217-4ED9-9B61-B1CB6E3162CE}"/>
              </a:ext>
            </a:extLst>
          </p:cNvPr>
          <p:cNvSpPr/>
          <p:nvPr/>
        </p:nvSpPr>
        <p:spPr bwMode="auto">
          <a:xfrm>
            <a:off x="9420911" y="2266092"/>
            <a:ext cx="73324" cy="258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6" name="îṩḷíḋe">
            <a:extLst>
              <a:ext uri="{FF2B5EF4-FFF2-40B4-BE49-F238E27FC236}">
                <a16:creationId xmlns:a16="http://schemas.microsoft.com/office/drawing/2014/main" id="{AA4F9B02-D0FD-4456-92D7-A8D987209E5C}"/>
              </a:ext>
            </a:extLst>
          </p:cNvPr>
          <p:cNvSpPr/>
          <p:nvPr/>
        </p:nvSpPr>
        <p:spPr bwMode="auto">
          <a:xfrm>
            <a:off x="9152057" y="2307786"/>
            <a:ext cx="388186" cy="264541"/>
          </a:xfrm>
          <a:custGeom>
            <a:avLst/>
            <a:gdLst>
              <a:gd name="T0" fmla="*/ 75 w 75"/>
              <a:gd name="T1" fmla="*/ 51 h 51"/>
              <a:gd name="T2" fmla="*/ 75 w 75"/>
              <a:gd name="T3" fmla="*/ 0 h 51"/>
              <a:gd name="T4" fmla="*/ 0 w 75"/>
              <a:gd name="T5" fmla="*/ 0 h 51"/>
              <a:gd name="T6" fmla="*/ 0 w 75"/>
              <a:gd name="T7" fmla="*/ 34 h 51"/>
              <a:gd name="T8" fmla="*/ 19 w 75"/>
              <a:gd name="T9" fmla="*/ 37 h 51"/>
              <a:gd name="T10" fmla="*/ 17 w 75"/>
              <a:gd name="T11" fmla="*/ 27 h 51"/>
              <a:gd name="T12" fmla="*/ 38 w 75"/>
              <a:gd name="T13" fmla="*/ 6 h 51"/>
              <a:gd name="T14" fmla="*/ 38 w 75"/>
              <a:gd name="T15" fmla="*/ 6 h 51"/>
              <a:gd name="T16" fmla="*/ 58 w 75"/>
              <a:gd name="T17" fmla="*/ 27 h 51"/>
              <a:gd name="T18" fmla="*/ 50 w 75"/>
              <a:gd name="T19" fmla="*/ 43 h 51"/>
              <a:gd name="T20" fmla="*/ 75 w 75"/>
              <a:gd name="T21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5" h="51">
                <a:moveTo>
                  <a:pt x="75" y="51"/>
                </a:moveTo>
                <a:cubicBezTo>
                  <a:pt x="75" y="0"/>
                  <a:pt x="75" y="0"/>
                  <a:pt x="7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7" y="35"/>
                  <a:pt x="13" y="36"/>
                  <a:pt x="19" y="37"/>
                </a:cubicBezTo>
                <a:cubicBezTo>
                  <a:pt x="18" y="34"/>
                  <a:pt x="17" y="30"/>
                  <a:pt x="17" y="27"/>
                </a:cubicBezTo>
                <a:cubicBezTo>
                  <a:pt x="17" y="15"/>
                  <a:pt x="26" y="6"/>
                  <a:pt x="38" y="6"/>
                </a:cubicBezTo>
                <a:cubicBezTo>
                  <a:pt x="38" y="6"/>
                  <a:pt x="38" y="6"/>
                  <a:pt x="38" y="6"/>
                </a:cubicBezTo>
                <a:cubicBezTo>
                  <a:pt x="49" y="6"/>
                  <a:pt x="58" y="15"/>
                  <a:pt x="58" y="27"/>
                </a:cubicBezTo>
                <a:cubicBezTo>
                  <a:pt x="58" y="33"/>
                  <a:pt x="55" y="39"/>
                  <a:pt x="50" y="43"/>
                </a:cubicBezTo>
                <a:cubicBezTo>
                  <a:pt x="59" y="46"/>
                  <a:pt x="67" y="48"/>
                  <a:pt x="75" y="5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7" name="işlîḑê">
            <a:extLst>
              <a:ext uri="{FF2B5EF4-FFF2-40B4-BE49-F238E27FC236}">
                <a16:creationId xmlns:a16="http://schemas.microsoft.com/office/drawing/2014/main" id="{4618E97D-1C13-4DB8-8800-8ACD71785124}"/>
              </a:ext>
            </a:extLst>
          </p:cNvPr>
          <p:cNvSpPr/>
          <p:nvPr/>
        </p:nvSpPr>
        <p:spPr bwMode="auto">
          <a:xfrm>
            <a:off x="9271387" y="2369609"/>
            <a:ext cx="149524" cy="150961"/>
          </a:xfrm>
          <a:custGeom>
            <a:avLst/>
            <a:gdLst>
              <a:gd name="T0" fmla="*/ 16 w 29"/>
              <a:gd name="T1" fmla="*/ 29 h 29"/>
              <a:gd name="T2" fmla="*/ 29 w 29"/>
              <a:gd name="T3" fmla="*/ 15 h 29"/>
              <a:gd name="T4" fmla="*/ 15 w 29"/>
              <a:gd name="T5" fmla="*/ 0 h 29"/>
              <a:gd name="T6" fmla="*/ 0 w 29"/>
              <a:gd name="T7" fmla="*/ 15 h 29"/>
              <a:gd name="T8" fmla="*/ 8 w 29"/>
              <a:gd name="T9" fmla="*/ 27 h 29"/>
              <a:gd name="T10" fmla="*/ 16 w 29"/>
              <a:gd name="T11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" h="29">
                <a:moveTo>
                  <a:pt x="16" y="29"/>
                </a:moveTo>
                <a:cubicBezTo>
                  <a:pt x="23" y="28"/>
                  <a:pt x="29" y="22"/>
                  <a:pt x="29" y="15"/>
                </a:cubicBezTo>
                <a:cubicBezTo>
                  <a:pt x="29" y="7"/>
                  <a:pt x="22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0"/>
                  <a:pt x="3" y="24"/>
                  <a:pt x="8" y="27"/>
                </a:cubicBezTo>
                <a:cubicBezTo>
                  <a:pt x="10" y="27"/>
                  <a:pt x="13" y="28"/>
                  <a:pt x="16" y="2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8" name="îśľîḓe">
            <a:extLst>
              <a:ext uri="{FF2B5EF4-FFF2-40B4-BE49-F238E27FC236}">
                <a16:creationId xmlns:a16="http://schemas.microsoft.com/office/drawing/2014/main" id="{91B93717-F341-496E-AAE5-95C13DCB8351}"/>
              </a:ext>
            </a:extLst>
          </p:cNvPr>
          <p:cNvSpPr/>
          <p:nvPr/>
        </p:nvSpPr>
        <p:spPr bwMode="auto">
          <a:xfrm>
            <a:off x="7183808" y="3804461"/>
            <a:ext cx="253040" cy="222847"/>
          </a:xfrm>
          <a:custGeom>
            <a:avLst/>
            <a:gdLst>
              <a:gd name="T0" fmla="*/ 49 w 49"/>
              <a:gd name="T1" fmla="*/ 1 h 43"/>
              <a:gd name="T2" fmla="*/ 41 w 49"/>
              <a:gd name="T3" fmla="*/ 0 h 43"/>
              <a:gd name="T4" fmla="*/ 20 w 49"/>
              <a:gd name="T5" fmla="*/ 21 h 43"/>
              <a:gd name="T6" fmla="*/ 12 w 49"/>
              <a:gd name="T7" fmla="*/ 18 h 43"/>
              <a:gd name="T8" fmla="*/ 0 w 49"/>
              <a:gd name="T9" fmla="*/ 30 h 43"/>
              <a:gd name="T10" fmla="*/ 12 w 49"/>
              <a:gd name="T11" fmla="*/ 43 h 43"/>
              <a:gd name="T12" fmla="*/ 40 w 49"/>
              <a:gd name="T13" fmla="*/ 43 h 43"/>
              <a:gd name="T14" fmla="*/ 41 w 49"/>
              <a:gd name="T15" fmla="*/ 43 h 43"/>
              <a:gd name="T16" fmla="*/ 45 w 49"/>
              <a:gd name="T17" fmla="*/ 43 h 43"/>
              <a:gd name="T18" fmla="*/ 49 w 49"/>
              <a:gd name="T19" fmla="*/ 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9" h="43">
                <a:moveTo>
                  <a:pt x="49" y="1"/>
                </a:moveTo>
                <a:cubicBezTo>
                  <a:pt x="47" y="0"/>
                  <a:pt x="44" y="0"/>
                  <a:pt x="41" y="0"/>
                </a:cubicBezTo>
                <a:cubicBezTo>
                  <a:pt x="29" y="0"/>
                  <a:pt x="20" y="9"/>
                  <a:pt x="20" y="21"/>
                </a:cubicBezTo>
                <a:cubicBezTo>
                  <a:pt x="18" y="19"/>
                  <a:pt x="15" y="18"/>
                  <a:pt x="12" y="18"/>
                </a:cubicBezTo>
                <a:cubicBezTo>
                  <a:pt x="5" y="18"/>
                  <a:pt x="0" y="23"/>
                  <a:pt x="0" y="30"/>
                </a:cubicBezTo>
                <a:cubicBezTo>
                  <a:pt x="0" y="37"/>
                  <a:pt x="5" y="43"/>
                  <a:pt x="12" y="43"/>
                </a:cubicBezTo>
                <a:cubicBezTo>
                  <a:pt x="40" y="43"/>
                  <a:pt x="40" y="43"/>
                  <a:pt x="40" y="43"/>
                </a:cubicBezTo>
                <a:cubicBezTo>
                  <a:pt x="41" y="43"/>
                  <a:pt x="41" y="43"/>
                  <a:pt x="41" y="43"/>
                </a:cubicBezTo>
                <a:cubicBezTo>
                  <a:pt x="45" y="43"/>
                  <a:pt x="45" y="43"/>
                  <a:pt x="45" y="43"/>
                </a:cubicBezTo>
                <a:cubicBezTo>
                  <a:pt x="46" y="29"/>
                  <a:pt x="47" y="15"/>
                  <a:pt x="49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9" name="iŝḻíḋê">
            <a:extLst>
              <a:ext uri="{FF2B5EF4-FFF2-40B4-BE49-F238E27FC236}">
                <a16:creationId xmlns:a16="http://schemas.microsoft.com/office/drawing/2014/main" id="{B8BAE790-D684-498E-AC78-4F4295008E31}"/>
              </a:ext>
            </a:extLst>
          </p:cNvPr>
          <p:cNvSpPr/>
          <p:nvPr/>
        </p:nvSpPr>
        <p:spPr bwMode="auto">
          <a:xfrm>
            <a:off x="7229815" y="4043122"/>
            <a:ext cx="31629" cy="73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0" name="îSḻîḍè">
            <a:extLst>
              <a:ext uri="{FF2B5EF4-FFF2-40B4-BE49-F238E27FC236}">
                <a16:creationId xmlns:a16="http://schemas.microsoft.com/office/drawing/2014/main" id="{998E183D-40F7-4433-A4E0-18A4031160D3}"/>
              </a:ext>
            </a:extLst>
          </p:cNvPr>
          <p:cNvSpPr/>
          <p:nvPr/>
        </p:nvSpPr>
        <p:spPr bwMode="auto">
          <a:xfrm>
            <a:off x="7307453" y="4084817"/>
            <a:ext cx="31629" cy="67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1" name="îṣlîḋé">
            <a:extLst>
              <a:ext uri="{FF2B5EF4-FFF2-40B4-BE49-F238E27FC236}">
                <a16:creationId xmlns:a16="http://schemas.microsoft.com/office/drawing/2014/main" id="{E4595FE6-F037-4809-8691-31B23314E667}"/>
              </a:ext>
            </a:extLst>
          </p:cNvPr>
          <p:cNvSpPr/>
          <p:nvPr/>
        </p:nvSpPr>
        <p:spPr bwMode="auto">
          <a:xfrm>
            <a:off x="7380777" y="4043122"/>
            <a:ext cx="30193" cy="73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2" name="í$ḻïďê">
            <a:extLst>
              <a:ext uri="{FF2B5EF4-FFF2-40B4-BE49-F238E27FC236}">
                <a16:creationId xmlns:a16="http://schemas.microsoft.com/office/drawing/2014/main" id="{D86495CB-ED1B-4289-8B35-9282EBAF96C6}"/>
              </a:ext>
            </a:extLst>
          </p:cNvPr>
          <p:cNvSpPr/>
          <p:nvPr/>
        </p:nvSpPr>
        <p:spPr bwMode="auto">
          <a:xfrm>
            <a:off x="9737211" y="5587242"/>
            <a:ext cx="347930" cy="342179"/>
          </a:xfrm>
          <a:custGeom>
            <a:avLst/>
            <a:gdLst>
              <a:gd name="T0" fmla="*/ 34 w 67"/>
              <a:gd name="T1" fmla="*/ 4 h 66"/>
              <a:gd name="T2" fmla="*/ 37 w 67"/>
              <a:gd name="T3" fmla="*/ 5 h 66"/>
              <a:gd name="T4" fmla="*/ 38 w 67"/>
              <a:gd name="T5" fmla="*/ 0 h 66"/>
              <a:gd name="T6" fmla="*/ 48 w 67"/>
              <a:gd name="T7" fmla="*/ 3 h 66"/>
              <a:gd name="T8" fmla="*/ 47 w 67"/>
              <a:gd name="T9" fmla="*/ 8 h 66"/>
              <a:gd name="T10" fmla="*/ 56 w 67"/>
              <a:gd name="T11" fmla="*/ 15 h 66"/>
              <a:gd name="T12" fmla="*/ 60 w 67"/>
              <a:gd name="T13" fmla="*/ 13 h 66"/>
              <a:gd name="T14" fmla="*/ 65 w 67"/>
              <a:gd name="T15" fmla="*/ 22 h 66"/>
              <a:gd name="T16" fmla="*/ 61 w 67"/>
              <a:gd name="T17" fmla="*/ 24 h 66"/>
              <a:gd name="T18" fmla="*/ 62 w 67"/>
              <a:gd name="T19" fmla="*/ 36 h 66"/>
              <a:gd name="T20" fmla="*/ 67 w 67"/>
              <a:gd name="T21" fmla="*/ 38 h 66"/>
              <a:gd name="T22" fmla="*/ 64 w 67"/>
              <a:gd name="T23" fmla="*/ 48 h 66"/>
              <a:gd name="T24" fmla="*/ 59 w 67"/>
              <a:gd name="T25" fmla="*/ 46 h 66"/>
              <a:gd name="T26" fmla="*/ 52 w 67"/>
              <a:gd name="T27" fmla="*/ 56 h 66"/>
              <a:gd name="T28" fmla="*/ 54 w 67"/>
              <a:gd name="T29" fmla="*/ 60 h 66"/>
              <a:gd name="T30" fmla="*/ 45 w 67"/>
              <a:gd name="T31" fmla="*/ 65 h 66"/>
              <a:gd name="T32" fmla="*/ 42 w 67"/>
              <a:gd name="T33" fmla="*/ 60 h 66"/>
              <a:gd name="T34" fmla="*/ 34 w 67"/>
              <a:gd name="T35" fmla="*/ 62 h 66"/>
              <a:gd name="T36" fmla="*/ 34 w 67"/>
              <a:gd name="T37" fmla="*/ 54 h 66"/>
              <a:gd name="T38" fmla="*/ 54 w 67"/>
              <a:gd name="T39" fmla="*/ 39 h 66"/>
              <a:gd name="T40" fmla="*/ 40 w 67"/>
              <a:gd name="T41" fmla="*/ 13 h 66"/>
              <a:gd name="T42" fmla="*/ 34 w 67"/>
              <a:gd name="T43" fmla="*/ 12 h 66"/>
              <a:gd name="T44" fmla="*/ 34 w 67"/>
              <a:gd name="T45" fmla="*/ 4 h 66"/>
              <a:gd name="T46" fmla="*/ 16 w 67"/>
              <a:gd name="T47" fmla="*/ 11 h 66"/>
              <a:gd name="T48" fmla="*/ 13 w 67"/>
              <a:gd name="T49" fmla="*/ 6 h 66"/>
              <a:gd name="T50" fmla="*/ 23 w 67"/>
              <a:gd name="T51" fmla="*/ 1 h 66"/>
              <a:gd name="T52" fmla="*/ 25 w 67"/>
              <a:gd name="T53" fmla="*/ 6 h 66"/>
              <a:gd name="T54" fmla="*/ 34 w 67"/>
              <a:gd name="T55" fmla="*/ 4 h 66"/>
              <a:gd name="T56" fmla="*/ 34 w 67"/>
              <a:gd name="T57" fmla="*/ 12 h 66"/>
              <a:gd name="T58" fmla="*/ 13 w 67"/>
              <a:gd name="T59" fmla="*/ 27 h 66"/>
              <a:gd name="T60" fmla="*/ 27 w 67"/>
              <a:gd name="T61" fmla="*/ 53 h 66"/>
              <a:gd name="T62" fmla="*/ 27 w 67"/>
              <a:gd name="T63" fmla="*/ 53 h 66"/>
              <a:gd name="T64" fmla="*/ 34 w 67"/>
              <a:gd name="T65" fmla="*/ 54 h 66"/>
              <a:gd name="T66" fmla="*/ 34 w 67"/>
              <a:gd name="T67" fmla="*/ 62 h 66"/>
              <a:gd name="T68" fmla="*/ 30 w 67"/>
              <a:gd name="T69" fmla="*/ 62 h 66"/>
              <a:gd name="T70" fmla="*/ 29 w 67"/>
              <a:gd name="T71" fmla="*/ 66 h 66"/>
              <a:gd name="T72" fmla="*/ 19 w 67"/>
              <a:gd name="T73" fmla="*/ 63 h 66"/>
              <a:gd name="T74" fmla="*/ 20 w 67"/>
              <a:gd name="T75" fmla="*/ 59 h 66"/>
              <a:gd name="T76" fmla="*/ 11 w 67"/>
              <a:gd name="T77" fmla="*/ 51 h 66"/>
              <a:gd name="T78" fmla="*/ 7 w 67"/>
              <a:gd name="T79" fmla="*/ 53 h 66"/>
              <a:gd name="T80" fmla="*/ 2 w 67"/>
              <a:gd name="T81" fmla="*/ 44 h 66"/>
              <a:gd name="T82" fmla="*/ 6 w 67"/>
              <a:gd name="T83" fmla="*/ 42 h 66"/>
              <a:gd name="T84" fmla="*/ 5 w 67"/>
              <a:gd name="T85" fmla="*/ 30 h 66"/>
              <a:gd name="T86" fmla="*/ 0 w 67"/>
              <a:gd name="T87" fmla="*/ 28 h 66"/>
              <a:gd name="T88" fmla="*/ 3 w 67"/>
              <a:gd name="T89" fmla="*/ 18 h 66"/>
              <a:gd name="T90" fmla="*/ 8 w 67"/>
              <a:gd name="T91" fmla="*/ 20 h 66"/>
              <a:gd name="T92" fmla="*/ 16 w 67"/>
              <a:gd name="T93" fmla="*/ 11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7" h="66">
                <a:moveTo>
                  <a:pt x="34" y="4"/>
                </a:moveTo>
                <a:cubicBezTo>
                  <a:pt x="35" y="4"/>
                  <a:pt x="36" y="4"/>
                  <a:pt x="37" y="5"/>
                </a:cubicBezTo>
                <a:cubicBezTo>
                  <a:pt x="38" y="0"/>
                  <a:pt x="38" y="0"/>
                  <a:pt x="38" y="0"/>
                </a:cubicBezTo>
                <a:cubicBezTo>
                  <a:pt x="48" y="3"/>
                  <a:pt x="48" y="3"/>
                  <a:pt x="48" y="3"/>
                </a:cubicBezTo>
                <a:cubicBezTo>
                  <a:pt x="47" y="8"/>
                  <a:pt x="47" y="8"/>
                  <a:pt x="47" y="8"/>
                </a:cubicBezTo>
                <a:cubicBezTo>
                  <a:pt x="50" y="9"/>
                  <a:pt x="54" y="12"/>
                  <a:pt x="56" y="15"/>
                </a:cubicBezTo>
                <a:cubicBezTo>
                  <a:pt x="60" y="13"/>
                  <a:pt x="60" y="13"/>
                  <a:pt x="60" y="13"/>
                </a:cubicBezTo>
                <a:cubicBezTo>
                  <a:pt x="65" y="22"/>
                  <a:pt x="65" y="22"/>
                  <a:pt x="65" y="22"/>
                </a:cubicBezTo>
                <a:cubicBezTo>
                  <a:pt x="61" y="24"/>
                  <a:pt x="61" y="24"/>
                  <a:pt x="61" y="24"/>
                </a:cubicBezTo>
                <a:cubicBezTo>
                  <a:pt x="62" y="28"/>
                  <a:pt x="63" y="32"/>
                  <a:pt x="62" y="36"/>
                </a:cubicBezTo>
                <a:cubicBezTo>
                  <a:pt x="67" y="38"/>
                  <a:pt x="67" y="38"/>
                  <a:pt x="67" y="38"/>
                </a:cubicBezTo>
                <a:cubicBezTo>
                  <a:pt x="64" y="48"/>
                  <a:pt x="64" y="48"/>
                  <a:pt x="64" y="48"/>
                </a:cubicBezTo>
                <a:cubicBezTo>
                  <a:pt x="59" y="46"/>
                  <a:pt x="59" y="46"/>
                  <a:pt x="59" y="46"/>
                </a:cubicBezTo>
                <a:cubicBezTo>
                  <a:pt x="57" y="50"/>
                  <a:pt x="55" y="53"/>
                  <a:pt x="52" y="56"/>
                </a:cubicBezTo>
                <a:cubicBezTo>
                  <a:pt x="54" y="60"/>
                  <a:pt x="54" y="60"/>
                  <a:pt x="54" y="60"/>
                </a:cubicBezTo>
                <a:cubicBezTo>
                  <a:pt x="45" y="65"/>
                  <a:pt x="45" y="65"/>
                  <a:pt x="45" y="65"/>
                </a:cubicBezTo>
                <a:cubicBezTo>
                  <a:pt x="42" y="60"/>
                  <a:pt x="42" y="60"/>
                  <a:pt x="42" y="60"/>
                </a:cubicBezTo>
                <a:cubicBezTo>
                  <a:pt x="40" y="61"/>
                  <a:pt x="37" y="62"/>
                  <a:pt x="34" y="62"/>
                </a:cubicBezTo>
                <a:cubicBezTo>
                  <a:pt x="34" y="54"/>
                  <a:pt x="34" y="54"/>
                  <a:pt x="34" y="54"/>
                </a:cubicBezTo>
                <a:cubicBezTo>
                  <a:pt x="43" y="54"/>
                  <a:pt x="51" y="48"/>
                  <a:pt x="54" y="39"/>
                </a:cubicBezTo>
                <a:cubicBezTo>
                  <a:pt x="57" y="28"/>
                  <a:pt x="51" y="16"/>
                  <a:pt x="40" y="13"/>
                </a:cubicBezTo>
                <a:cubicBezTo>
                  <a:pt x="38" y="12"/>
                  <a:pt x="36" y="12"/>
                  <a:pt x="34" y="12"/>
                </a:cubicBezTo>
                <a:lnTo>
                  <a:pt x="34" y="4"/>
                </a:lnTo>
                <a:close/>
                <a:moveTo>
                  <a:pt x="16" y="11"/>
                </a:moveTo>
                <a:cubicBezTo>
                  <a:pt x="13" y="6"/>
                  <a:pt x="13" y="6"/>
                  <a:pt x="13" y="6"/>
                </a:cubicBezTo>
                <a:cubicBezTo>
                  <a:pt x="23" y="1"/>
                  <a:pt x="23" y="1"/>
                  <a:pt x="23" y="1"/>
                </a:cubicBezTo>
                <a:cubicBezTo>
                  <a:pt x="25" y="6"/>
                  <a:pt x="25" y="6"/>
                  <a:pt x="25" y="6"/>
                </a:cubicBezTo>
                <a:cubicBezTo>
                  <a:pt x="28" y="5"/>
                  <a:pt x="31" y="4"/>
                  <a:pt x="34" y="4"/>
                </a:cubicBezTo>
                <a:cubicBezTo>
                  <a:pt x="34" y="12"/>
                  <a:pt x="34" y="12"/>
                  <a:pt x="34" y="12"/>
                </a:cubicBezTo>
                <a:cubicBezTo>
                  <a:pt x="25" y="12"/>
                  <a:pt x="16" y="18"/>
                  <a:pt x="13" y="27"/>
                </a:cubicBezTo>
                <a:cubicBezTo>
                  <a:pt x="10" y="38"/>
                  <a:pt x="16" y="50"/>
                  <a:pt x="27" y="53"/>
                </a:cubicBezTo>
                <a:cubicBezTo>
                  <a:pt x="27" y="53"/>
                  <a:pt x="27" y="53"/>
                  <a:pt x="27" y="53"/>
                </a:cubicBezTo>
                <a:cubicBezTo>
                  <a:pt x="30" y="54"/>
                  <a:pt x="32" y="54"/>
                  <a:pt x="34" y="54"/>
                </a:cubicBezTo>
                <a:cubicBezTo>
                  <a:pt x="34" y="62"/>
                  <a:pt x="34" y="62"/>
                  <a:pt x="34" y="62"/>
                </a:cubicBezTo>
                <a:cubicBezTo>
                  <a:pt x="33" y="62"/>
                  <a:pt x="32" y="62"/>
                  <a:pt x="30" y="62"/>
                </a:cubicBezTo>
                <a:cubicBezTo>
                  <a:pt x="29" y="66"/>
                  <a:pt x="29" y="66"/>
                  <a:pt x="29" y="66"/>
                </a:cubicBezTo>
                <a:cubicBezTo>
                  <a:pt x="19" y="63"/>
                  <a:pt x="19" y="63"/>
                  <a:pt x="19" y="63"/>
                </a:cubicBezTo>
                <a:cubicBezTo>
                  <a:pt x="20" y="59"/>
                  <a:pt x="20" y="59"/>
                  <a:pt x="20" y="59"/>
                </a:cubicBezTo>
                <a:cubicBezTo>
                  <a:pt x="17" y="57"/>
                  <a:pt x="14" y="54"/>
                  <a:pt x="11" y="51"/>
                </a:cubicBezTo>
                <a:cubicBezTo>
                  <a:pt x="7" y="53"/>
                  <a:pt x="7" y="53"/>
                  <a:pt x="7" y="53"/>
                </a:cubicBezTo>
                <a:cubicBezTo>
                  <a:pt x="2" y="44"/>
                  <a:pt x="2" y="44"/>
                  <a:pt x="2" y="44"/>
                </a:cubicBezTo>
                <a:cubicBezTo>
                  <a:pt x="6" y="42"/>
                  <a:pt x="6" y="42"/>
                  <a:pt x="6" y="42"/>
                </a:cubicBezTo>
                <a:cubicBezTo>
                  <a:pt x="5" y="38"/>
                  <a:pt x="5" y="34"/>
                  <a:pt x="5" y="30"/>
                </a:cubicBezTo>
                <a:cubicBezTo>
                  <a:pt x="0" y="28"/>
                  <a:pt x="0" y="28"/>
                  <a:pt x="0" y="28"/>
                </a:cubicBezTo>
                <a:cubicBezTo>
                  <a:pt x="3" y="18"/>
                  <a:pt x="3" y="18"/>
                  <a:pt x="3" y="18"/>
                </a:cubicBezTo>
                <a:cubicBezTo>
                  <a:pt x="8" y="20"/>
                  <a:pt x="8" y="20"/>
                  <a:pt x="8" y="20"/>
                </a:cubicBezTo>
                <a:cubicBezTo>
                  <a:pt x="10" y="16"/>
                  <a:pt x="13" y="13"/>
                  <a:pt x="16" y="1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3" name="íŝ1îḋe">
            <a:extLst>
              <a:ext uri="{FF2B5EF4-FFF2-40B4-BE49-F238E27FC236}">
                <a16:creationId xmlns:a16="http://schemas.microsoft.com/office/drawing/2014/main" id="{7ACCABDA-8422-4072-B2AB-881B304B9595}"/>
              </a:ext>
            </a:extLst>
          </p:cNvPr>
          <p:cNvSpPr/>
          <p:nvPr/>
        </p:nvSpPr>
        <p:spPr bwMode="auto">
          <a:xfrm>
            <a:off x="10582593" y="3971238"/>
            <a:ext cx="304798" cy="336429"/>
          </a:xfrm>
          <a:custGeom>
            <a:avLst/>
            <a:gdLst>
              <a:gd name="T0" fmla="*/ 27 w 59"/>
              <a:gd name="T1" fmla="*/ 65 h 65"/>
              <a:gd name="T2" fmla="*/ 59 w 59"/>
              <a:gd name="T3" fmla="*/ 33 h 65"/>
              <a:gd name="T4" fmla="*/ 27 w 59"/>
              <a:gd name="T5" fmla="*/ 0 h 65"/>
              <a:gd name="T6" fmla="*/ 27 w 59"/>
              <a:gd name="T7" fmla="*/ 0 h 65"/>
              <a:gd name="T8" fmla="*/ 27 w 59"/>
              <a:gd name="T9" fmla="*/ 23 h 65"/>
              <a:gd name="T10" fmla="*/ 43 w 59"/>
              <a:gd name="T11" fmla="*/ 16 h 65"/>
              <a:gd name="T12" fmla="*/ 33 w 59"/>
              <a:gd name="T13" fmla="*/ 39 h 65"/>
              <a:gd name="T14" fmla="*/ 27 w 59"/>
              <a:gd name="T15" fmla="*/ 42 h 65"/>
              <a:gd name="T16" fmla="*/ 27 w 59"/>
              <a:gd name="T17" fmla="*/ 65 h 65"/>
              <a:gd name="T18" fmla="*/ 27 w 59"/>
              <a:gd name="T19" fmla="*/ 0 h 65"/>
              <a:gd name="T20" fmla="*/ 1 w 59"/>
              <a:gd name="T21" fmla="*/ 12 h 65"/>
              <a:gd name="T22" fmla="*/ 1 w 59"/>
              <a:gd name="T23" fmla="*/ 18 h 65"/>
              <a:gd name="T24" fmla="*/ 0 w 59"/>
              <a:gd name="T25" fmla="*/ 51 h 65"/>
              <a:gd name="T26" fmla="*/ 27 w 59"/>
              <a:gd name="T27" fmla="*/ 65 h 65"/>
              <a:gd name="T28" fmla="*/ 27 w 59"/>
              <a:gd name="T29" fmla="*/ 42 h 65"/>
              <a:gd name="T30" fmla="*/ 10 w 59"/>
              <a:gd name="T31" fmla="*/ 49 h 65"/>
              <a:gd name="T32" fmla="*/ 20 w 59"/>
              <a:gd name="T33" fmla="*/ 26 h 65"/>
              <a:gd name="T34" fmla="*/ 20 w 59"/>
              <a:gd name="T35" fmla="*/ 26 h 65"/>
              <a:gd name="T36" fmla="*/ 27 w 59"/>
              <a:gd name="T37" fmla="*/ 23 h 65"/>
              <a:gd name="T38" fmla="*/ 27 w 59"/>
              <a:gd name="T39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" h="65">
                <a:moveTo>
                  <a:pt x="27" y="65"/>
                </a:moveTo>
                <a:cubicBezTo>
                  <a:pt x="45" y="65"/>
                  <a:pt x="59" y="51"/>
                  <a:pt x="59" y="33"/>
                </a:cubicBezTo>
                <a:cubicBezTo>
                  <a:pt x="59" y="15"/>
                  <a:pt x="45" y="0"/>
                  <a:pt x="2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7" y="23"/>
                  <a:pt x="27" y="23"/>
                  <a:pt x="27" y="23"/>
                </a:cubicBezTo>
                <a:cubicBezTo>
                  <a:pt x="43" y="16"/>
                  <a:pt x="43" y="16"/>
                  <a:pt x="43" y="16"/>
                </a:cubicBezTo>
                <a:cubicBezTo>
                  <a:pt x="33" y="39"/>
                  <a:pt x="33" y="39"/>
                  <a:pt x="33" y="39"/>
                </a:cubicBezTo>
                <a:cubicBezTo>
                  <a:pt x="27" y="42"/>
                  <a:pt x="27" y="42"/>
                  <a:pt x="27" y="42"/>
                </a:cubicBezTo>
                <a:cubicBezTo>
                  <a:pt x="27" y="65"/>
                  <a:pt x="27" y="65"/>
                  <a:pt x="27" y="65"/>
                </a:cubicBezTo>
                <a:close/>
                <a:moveTo>
                  <a:pt x="27" y="0"/>
                </a:moveTo>
                <a:cubicBezTo>
                  <a:pt x="16" y="0"/>
                  <a:pt x="7" y="5"/>
                  <a:pt x="1" y="12"/>
                </a:cubicBezTo>
                <a:cubicBezTo>
                  <a:pt x="1" y="14"/>
                  <a:pt x="1" y="16"/>
                  <a:pt x="1" y="18"/>
                </a:cubicBezTo>
                <a:cubicBezTo>
                  <a:pt x="1" y="29"/>
                  <a:pt x="1" y="40"/>
                  <a:pt x="0" y="51"/>
                </a:cubicBezTo>
                <a:cubicBezTo>
                  <a:pt x="6" y="60"/>
                  <a:pt x="15" y="65"/>
                  <a:pt x="27" y="65"/>
                </a:cubicBezTo>
                <a:cubicBezTo>
                  <a:pt x="27" y="42"/>
                  <a:pt x="27" y="42"/>
                  <a:pt x="27" y="42"/>
                </a:cubicBezTo>
                <a:cubicBezTo>
                  <a:pt x="10" y="49"/>
                  <a:pt x="10" y="49"/>
                  <a:pt x="10" y="49"/>
                </a:cubicBezTo>
                <a:cubicBezTo>
                  <a:pt x="20" y="26"/>
                  <a:pt x="20" y="26"/>
                  <a:pt x="20" y="26"/>
                </a:cubicBezTo>
                <a:cubicBezTo>
                  <a:pt x="20" y="26"/>
                  <a:pt x="20" y="26"/>
                  <a:pt x="20" y="26"/>
                </a:cubicBezTo>
                <a:cubicBezTo>
                  <a:pt x="27" y="23"/>
                  <a:pt x="27" y="23"/>
                  <a:pt x="27" y="23"/>
                </a:cubicBezTo>
                <a:lnTo>
                  <a:pt x="2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4" name="íṡḷíḑé">
            <a:extLst>
              <a:ext uri="{FF2B5EF4-FFF2-40B4-BE49-F238E27FC236}">
                <a16:creationId xmlns:a16="http://schemas.microsoft.com/office/drawing/2014/main" id="{D95D0FAA-6DF1-4F4D-89DD-BA06B73FE5D9}"/>
              </a:ext>
            </a:extLst>
          </p:cNvPr>
          <p:cNvSpPr/>
          <p:nvPr/>
        </p:nvSpPr>
        <p:spPr bwMode="auto">
          <a:xfrm>
            <a:off x="8674731" y="2230150"/>
            <a:ext cx="300485" cy="258791"/>
          </a:xfrm>
          <a:custGeom>
            <a:avLst/>
            <a:gdLst>
              <a:gd name="T0" fmla="*/ 48 w 58"/>
              <a:gd name="T1" fmla="*/ 38 h 50"/>
              <a:gd name="T2" fmla="*/ 44 w 58"/>
              <a:gd name="T3" fmla="*/ 8 h 50"/>
              <a:gd name="T4" fmla="*/ 27 w 58"/>
              <a:gd name="T5" fmla="*/ 0 h 50"/>
              <a:gd name="T6" fmla="*/ 27 w 58"/>
              <a:gd name="T7" fmla="*/ 20 h 50"/>
              <a:gd name="T8" fmla="*/ 42 w 58"/>
              <a:gd name="T9" fmla="*/ 20 h 50"/>
              <a:gd name="T10" fmla="*/ 42 w 58"/>
              <a:gd name="T11" fmla="*/ 30 h 50"/>
              <a:gd name="T12" fmla="*/ 42 w 58"/>
              <a:gd name="T13" fmla="*/ 30 h 50"/>
              <a:gd name="T14" fmla="*/ 42 w 58"/>
              <a:gd name="T15" fmla="*/ 30 h 50"/>
              <a:gd name="T16" fmla="*/ 27 w 58"/>
              <a:gd name="T17" fmla="*/ 30 h 50"/>
              <a:gd name="T18" fmla="*/ 27 w 58"/>
              <a:gd name="T19" fmla="*/ 50 h 50"/>
              <a:gd name="T20" fmla="*/ 40 w 58"/>
              <a:gd name="T21" fmla="*/ 46 h 50"/>
              <a:gd name="T22" fmla="*/ 43 w 58"/>
              <a:gd name="T23" fmla="*/ 49 h 50"/>
              <a:gd name="T24" fmla="*/ 58 w 58"/>
              <a:gd name="T25" fmla="*/ 48 h 50"/>
              <a:gd name="T26" fmla="*/ 48 w 58"/>
              <a:gd name="T27" fmla="*/ 38 h 50"/>
              <a:gd name="T28" fmla="*/ 27 w 58"/>
              <a:gd name="T29" fmla="*/ 0 h 50"/>
              <a:gd name="T30" fmla="*/ 9 w 58"/>
              <a:gd name="T31" fmla="*/ 8 h 50"/>
              <a:gd name="T32" fmla="*/ 9 w 58"/>
              <a:gd name="T33" fmla="*/ 43 h 50"/>
              <a:gd name="T34" fmla="*/ 27 w 58"/>
              <a:gd name="T35" fmla="*/ 50 h 50"/>
              <a:gd name="T36" fmla="*/ 27 w 58"/>
              <a:gd name="T37" fmla="*/ 30 h 50"/>
              <a:gd name="T38" fmla="*/ 12 w 58"/>
              <a:gd name="T39" fmla="*/ 30 h 50"/>
              <a:gd name="T40" fmla="*/ 12 w 58"/>
              <a:gd name="T41" fmla="*/ 20 h 50"/>
              <a:gd name="T42" fmla="*/ 27 w 58"/>
              <a:gd name="T43" fmla="*/ 20 h 50"/>
              <a:gd name="T44" fmla="*/ 27 w 58"/>
              <a:gd name="T45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" h="50">
                <a:moveTo>
                  <a:pt x="48" y="38"/>
                </a:moveTo>
                <a:cubicBezTo>
                  <a:pt x="54" y="29"/>
                  <a:pt x="53" y="16"/>
                  <a:pt x="44" y="8"/>
                </a:cubicBezTo>
                <a:cubicBezTo>
                  <a:pt x="40" y="3"/>
                  <a:pt x="33" y="0"/>
                  <a:pt x="27" y="0"/>
                </a:cubicBezTo>
                <a:cubicBezTo>
                  <a:pt x="27" y="20"/>
                  <a:pt x="27" y="20"/>
                  <a:pt x="27" y="20"/>
                </a:cubicBezTo>
                <a:cubicBezTo>
                  <a:pt x="42" y="20"/>
                  <a:pt x="42" y="20"/>
                  <a:pt x="42" y="20"/>
                </a:cubicBezTo>
                <a:cubicBezTo>
                  <a:pt x="42" y="30"/>
                  <a:pt x="42" y="30"/>
                  <a:pt x="42" y="30"/>
                </a:cubicBezTo>
                <a:cubicBezTo>
                  <a:pt x="42" y="30"/>
                  <a:pt x="42" y="30"/>
                  <a:pt x="42" y="30"/>
                </a:cubicBezTo>
                <a:cubicBezTo>
                  <a:pt x="42" y="30"/>
                  <a:pt x="42" y="30"/>
                  <a:pt x="42" y="30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50"/>
                  <a:pt x="27" y="50"/>
                  <a:pt x="27" y="50"/>
                </a:cubicBezTo>
                <a:cubicBezTo>
                  <a:pt x="31" y="50"/>
                  <a:pt x="36" y="49"/>
                  <a:pt x="40" y="46"/>
                </a:cubicBezTo>
                <a:cubicBezTo>
                  <a:pt x="43" y="49"/>
                  <a:pt x="43" y="49"/>
                  <a:pt x="43" y="49"/>
                </a:cubicBezTo>
                <a:cubicBezTo>
                  <a:pt x="48" y="48"/>
                  <a:pt x="53" y="48"/>
                  <a:pt x="58" y="48"/>
                </a:cubicBezTo>
                <a:lnTo>
                  <a:pt x="48" y="38"/>
                </a:lnTo>
                <a:close/>
                <a:moveTo>
                  <a:pt x="27" y="0"/>
                </a:moveTo>
                <a:cubicBezTo>
                  <a:pt x="21" y="0"/>
                  <a:pt x="14" y="3"/>
                  <a:pt x="9" y="8"/>
                </a:cubicBezTo>
                <a:cubicBezTo>
                  <a:pt x="0" y="17"/>
                  <a:pt x="0" y="33"/>
                  <a:pt x="9" y="43"/>
                </a:cubicBezTo>
                <a:cubicBezTo>
                  <a:pt x="14" y="47"/>
                  <a:pt x="21" y="50"/>
                  <a:pt x="27" y="50"/>
                </a:cubicBezTo>
                <a:cubicBezTo>
                  <a:pt x="27" y="30"/>
                  <a:pt x="27" y="30"/>
                  <a:pt x="27" y="30"/>
                </a:cubicBezTo>
                <a:cubicBezTo>
                  <a:pt x="12" y="30"/>
                  <a:pt x="12" y="30"/>
                  <a:pt x="12" y="30"/>
                </a:cubicBezTo>
                <a:cubicBezTo>
                  <a:pt x="12" y="20"/>
                  <a:pt x="12" y="20"/>
                  <a:pt x="12" y="20"/>
                </a:cubicBezTo>
                <a:cubicBezTo>
                  <a:pt x="27" y="20"/>
                  <a:pt x="27" y="20"/>
                  <a:pt x="27" y="20"/>
                </a:cubicBezTo>
                <a:lnTo>
                  <a:pt x="2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5" name="i$lïďe">
            <a:extLst>
              <a:ext uri="{FF2B5EF4-FFF2-40B4-BE49-F238E27FC236}">
                <a16:creationId xmlns:a16="http://schemas.microsoft.com/office/drawing/2014/main" id="{2CA9ADFF-801A-4296-8D5F-7586CE0F7731}"/>
              </a:ext>
            </a:extLst>
          </p:cNvPr>
          <p:cNvSpPr/>
          <p:nvPr/>
        </p:nvSpPr>
        <p:spPr bwMode="auto">
          <a:xfrm>
            <a:off x="10483391" y="4789304"/>
            <a:ext cx="99202" cy="9920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6" name="iṥľïďê">
            <a:extLst>
              <a:ext uri="{FF2B5EF4-FFF2-40B4-BE49-F238E27FC236}">
                <a16:creationId xmlns:a16="http://schemas.microsoft.com/office/drawing/2014/main" id="{BE76434B-31DA-43E3-82E4-D51E52CA05AE}"/>
              </a:ext>
            </a:extLst>
          </p:cNvPr>
          <p:cNvSpPr/>
          <p:nvPr/>
        </p:nvSpPr>
        <p:spPr bwMode="auto">
          <a:xfrm>
            <a:off x="10441697" y="4743296"/>
            <a:ext cx="186905" cy="274606"/>
          </a:xfrm>
          <a:custGeom>
            <a:avLst/>
            <a:gdLst>
              <a:gd name="T0" fmla="*/ 36 w 36"/>
              <a:gd name="T1" fmla="*/ 0 h 53"/>
              <a:gd name="T2" fmla="*/ 18 w 36"/>
              <a:gd name="T3" fmla="*/ 0 h 53"/>
              <a:gd name="T4" fmla="*/ 18 w 36"/>
              <a:gd name="T5" fmla="*/ 4 h 53"/>
              <a:gd name="T6" fmla="*/ 18 w 36"/>
              <a:gd name="T7" fmla="*/ 4 h 53"/>
              <a:gd name="T8" fmla="*/ 32 w 36"/>
              <a:gd name="T9" fmla="*/ 18 h 53"/>
              <a:gd name="T10" fmla="*/ 18 w 36"/>
              <a:gd name="T11" fmla="*/ 32 h 53"/>
              <a:gd name="T12" fmla="*/ 18 w 36"/>
              <a:gd name="T13" fmla="*/ 32 h 53"/>
              <a:gd name="T14" fmla="*/ 18 w 36"/>
              <a:gd name="T15" fmla="*/ 32 h 53"/>
              <a:gd name="T16" fmla="*/ 18 w 36"/>
              <a:gd name="T17" fmla="*/ 38 h 53"/>
              <a:gd name="T18" fmla="*/ 18 w 36"/>
              <a:gd name="T19" fmla="*/ 38 h 53"/>
              <a:gd name="T20" fmla="*/ 22 w 36"/>
              <a:gd name="T21" fmla="*/ 43 h 53"/>
              <a:gd name="T22" fmla="*/ 18 w 36"/>
              <a:gd name="T23" fmla="*/ 48 h 53"/>
              <a:gd name="T24" fmla="*/ 18 w 36"/>
              <a:gd name="T25" fmla="*/ 48 h 53"/>
              <a:gd name="T26" fmla="*/ 18 w 36"/>
              <a:gd name="T27" fmla="*/ 48 h 53"/>
              <a:gd name="T28" fmla="*/ 18 w 36"/>
              <a:gd name="T29" fmla="*/ 53 h 53"/>
              <a:gd name="T30" fmla="*/ 36 w 36"/>
              <a:gd name="T31" fmla="*/ 53 h 53"/>
              <a:gd name="T32" fmla="*/ 36 w 36"/>
              <a:gd name="T33" fmla="*/ 0 h 53"/>
              <a:gd name="T34" fmla="*/ 18 w 36"/>
              <a:gd name="T35" fmla="*/ 0 h 53"/>
              <a:gd name="T36" fmla="*/ 0 w 36"/>
              <a:gd name="T37" fmla="*/ 0 h 53"/>
              <a:gd name="T38" fmla="*/ 0 w 36"/>
              <a:gd name="T39" fmla="*/ 53 h 53"/>
              <a:gd name="T40" fmla="*/ 18 w 36"/>
              <a:gd name="T41" fmla="*/ 53 h 53"/>
              <a:gd name="T42" fmla="*/ 18 w 36"/>
              <a:gd name="T43" fmla="*/ 48 h 53"/>
              <a:gd name="T44" fmla="*/ 13 w 36"/>
              <a:gd name="T45" fmla="*/ 43 h 53"/>
              <a:gd name="T46" fmla="*/ 18 w 36"/>
              <a:gd name="T47" fmla="*/ 38 h 53"/>
              <a:gd name="T48" fmla="*/ 18 w 36"/>
              <a:gd name="T49" fmla="*/ 32 h 53"/>
              <a:gd name="T50" fmla="*/ 4 w 36"/>
              <a:gd name="T51" fmla="*/ 18 h 53"/>
              <a:gd name="T52" fmla="*/ 18 w 36"/>
              <a:gd name="T53" fmla="*/ 4 h 53"/>
              <a:gd name="T54" fmla="*/ 18 w 36"/>
              <a:gd name="T55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6" h="53">
                <a:moveTo>
                  <a:pt x="36" y="0"/>
                </a:moveTo>
                <a:cubicBezTo>
                  <a:pt x="18" y="0"/>
                  <a:pt x="18" y="0"/>
                  <a:pt x="18" y="0"/>
                </a:cubicBezTo>
                <a:cubicBezTo>
                  <a:pt x="18" y="4"/>
                  <a:pt x="18" y="4"/>
                  <a:pt x="18" y="4"/>
                </a:cubicBezTo>
                <a:cubicBezTo>
                  <a:pt x="18" y="4"/>
                  <a:pt x="18" y="4"/>
                  <a:pt x="18" y="4"/>
                </a:cubicBezTo>
                <a:cubicBezTo>
                  <a:pt x="25" y="4"/>
                  <a:pt x="32" y="11"/>
                  <a:pt x="32" y="18"/>
                </a:cubicBezTo>
                <a:cubicBezTo>
                  <a:pt x="32" y="26"/>
                  <a:pt x="25" y="32"/>
                  <a:pt x="18" y="32"/>
                </a:cubicBezTo>
                <a:cubicBezTo>
                  <a:pt x="18" y="32"/>
                  <a:pt x="18" y="32"/>
                  <a:pt x="18" y="32"/>
                </a:cubicBezTo>
                <a:cubicBezTo>
                  <a:pt x="18" y="32"/>
                  <a:pt x="18" y="32"/>
                  <a:pt x="18" y="32"/>
                </a:cubicBezTo>
                <a:cubicBezTo>
                  <a:pt x="18" y="38"/>
                  <a:pt x="18" y="38"/>
                  <a:pt x="18" y="38"/>
                </a:cubicBezTo>
                <a:cubicBezTo>
                  <a:pt x="18" y="38"/>
                  <a:pt x="18" y="38"/>
                  <a:pt x="18" y="38"/>
                </a:cubicBezTo>
                <a:cubicBezTo>
                  <a:pt x="20" y="38"/>
                  <a:pt x="22" y="40"/>
                  <a:pt x="22" y="43"/>
                </a:cubicBezTo>
                <a:cubicBezTo>
                  <a:pt x="22" y="46"/>
                  <a:pt x="20" y="48"/>
                  <a:pt x="18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8" y="53"/>
                  <a:pt x="18" y="53"/>
                  <a:pt x="18" y="53"/>
                </a:cubicBezTo>
                <a:cubicBezTo>
                  <a:pt x="36" y="53"/>
                  <a:pt x="36" y="53"/>
                  <a:pt x="36" y="53"/>
                </a:cubicBezTo>
                <a:lnTo>
                  <a:pt x="36" y="0"/>
                </a:lnTo>
                <a:close/>
                <a:moveTo>
                  <a:pt x="1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3"/>
                  <a:pt x="0" y="53"/>
                  <a:pt x="0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18" y="48"/>
                  <a:pt x="18" y="48"/>
                  <a:pt x="18" y="48"/>
                </a:cubicBezTo>
                <a:cubicBezTo>
                  <a:pt x="15" y="48"/>
                  <a:pt x="13" y="46"/>
                  <a:pt x="13" y="43"/>
                </a:cubicBezTo>
                <a:cubicBezTo>
                  <a:pt x="13" y="40"/>
                  <a:pt x="15" y="38"/>
                  <a:pt x="18" y="38"/>
                </a:cubicBezTo>
                <a:cubicBezTo>
                  <a:pt x="18" y="32"/>
                  <a:pt x="18" y="32"/>
                  <a:pt x="18" y="32"/>
                </a:cubicBezTo>
                <a:cubicBezTo>
                  <a:pt x="10" y="32"/>
                  <a:pt x="4" y="26"/>
                  <a:pt x="4" y="18"/>
                </a:cubicBezTo>
                <a:cubicBezTo>
                  <a:pt x="4" y="11"/>
                  <a:pt x="10" y="4"/>
                  <a:pt x="18" y="4"/>
                </a:cubicBezTo>
                <a:lnTo>
                  <a:pt x="1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7" name="îş1îḍé">
            <a:extLst>
              <a:ext uri="{FF2B5EF4-FFF2-40B4-BE49-F238E27FC236}">
                <a16:creationId xmlns:a16="http://schemas.microsoft.com/office/drawing/2014/main" id="{91162FA6-C7B0-479A-8B71-A95F89FF381E}"/>
              </a:ext>
            </a:extLst>
          </p:cNvPr>
          <p:cNvSpPr/>
          <p:nvPr/>
        </p:nvSpPr>
        <p:spPr bwMode="auto">
          <a:xfrm>
            <a:off x="10270607" y="4789304"/>
            <a:ext cx="145211" cy="228599"/>
          </a:xfrm>
          <a:custGeom>
            <a:avLst/>
            <a:gdLst>
              <a:gd name="T0" fmla="*/ 0 w 28"/>
              <a:gd name="T1" fmla="*/ 44 h 44"/>
              <a:gd name="T2" fmla="*/ 28 w 28"/>
              <a:gd name="T3" fmla="*/ 44 h 44"/>
              <a:gd name="T4" fmla="*/ 28 w 28"/>
              <a:gd name="T5" fmla="*/ 0 h 44"/>
              <a:gd name="T6" fmla="*/ 24 w 28"/>
              <a:gd name="T7" fmla="*/ 8 h 44"/>
              <a:gd name="T8" fmla="*/ 24 w 28"/>
              <a:gd name="T9" fmla="*/ 9 h 44"/>
              <a:gd name="T10" fmla="*/ 15 w 28"/>
              <a:gd name="T11" fmla="*/ 22 h 44"/>
              <a:gd name="T12" fmla="*/ 10 w 28"/>
              <a:gd name="T13" fmla="*/ 29 h 44"/>
              <a:gd name="T14" fmla="*/ 15 w 28"/>
              <a:gd name="T15" fmla="*/ 34 h 44"/>
              <a:gd name="T16" fmla="*/ 10 w 28"/>
              <a:gd name="T17" fmla="*/ 39 h 44"/>
              <a:gd name="T18" fmla="*/ 10 w 28"/>
              <a:gd name="T19" fmla="*/ 39 h 44"/>
              <a:gd name="T20" fmla="*/ 6 w 28"/>
              <a:gd name="T21" fmla="*/ 36 h 44"/>
              <a:gd name="T22" fmla="*/ 0 w 28"/>
              <a:gd name="T23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" h="44">
                <a:moveTo>
                  <a:pt x="0" y="44"/>
                </a:moveTo>
                <a:cubicBezTo>
                  <a:pt x="28" y="44"/>
                  <a:pt x="28" y="44"/>
                  <a:pt x="28" y="44"/>
                </a:cubicBezTo>
                <a:cubicBezTo>
                  <a:pt x="28" y="0"/>
                  <a:pt x="28" y="0"/>
                  <a:pt x="28" y="0"/>
                </a:cubicBezTo>
                <a:cubicBezTo>
                  <a:pt x="26" y="3"/>
                  <a:pt x="25" y="5"/>
                  <a:pt x="24" y="8"/>
                </a:cubicBezTo>
                <a:cubicBezTo>
                  <a:pt x="24" y="8"/>
                  <a:pt x="24" y="9"/>
                  <a:pt x="24" y="9"/>
                </a:cubicBezTo>
                <a:cubicBezTo>
                  <a:pt x="24" y="15"/>
                  <a:pt x="20" y="20"/>
                  <a:pt x="15" y="22"/>
                </a:cubicBezTo>
                <a:cubicBezTo>
                  <a:pt x="13" y="25"/>
                  <a:pt x="12" y="27"/>
                  <a:pt x="10" y="29"/>
                </a:cubicBezTo>
                <a:cubicBezTo>
                  <a:pt x="13" y="30"/>
                  <a:pt x="15" y="32"/>
                  <a:pt x="15" y="34"/>
                </a:cubicBezTo>
                <a:cubicBezTo>
                  <a:pt x="15" y="37"/>
                  <a:pt x="12" y="39"/>
                  <a:pt x="10" y="39"/>
                </a:cubicBezTo>
                <a:cubicBezTo>
                  <a:pt x="10" y="39"/>
                  <a:pt x="10" y="39"/>
                  <a:pt x="10" y="39"/>
                </a:cubicBezTo>
                <a:cubicBezTo>
                  <a:pt x="8" y="39"/>
                  <a:pt x="6" y="38"/>
                  <a:pt x="6" y="36"/>
                </a:cubicBezTo>
                <a:cubicBezTo>
                  <a:pt x="4" y="39"/>
                  <a:pt x="2" y="41"/>
                  <a:pt x="0" y="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8" name="i$ḷiďè">
            <a:extLst>
              <a:ext uri="{FF2B5EF4-FFF2-40B4-BE49-F238E27FC236}">
                <a16:creationId xmlns:a16="http://schemas.microsoft.com/office/drawing/2014/main" id="{CD45CB8A-796B-4A24-899F-552CADFEECB0}"/>
              </a:ext>
            </a:extLst>
          </p:cNvPr>
          <p:cNvSpPr/>
          <p:nvPr/>
        </p:nvSpPr>
        <p:spPr bwMode="auto">
          <a:xfrm>
            <a:off x="10302238" y="3110039"/>
            <a:ext cx="139459" cy="73324"/>
          </a:xfrm>
          <a:custGeom>
            <a:avLst/>
            <a:gdLst>
              <a:gd name="T0" fmla="*/ 22 w 27"/>
              <a:gd name="T1" fmla="*/ 9 h 14"/>
              <a:gd name="T2" fmla="*/ 0 w 27"/>
              <a:gd name="T3" fmla="*/ 9 h 14"/>
              <a:gd name="T4" fmla="*/ 4 w 27"/>
              <a:gd name="T5" fmla="*/ 14 h 14"/>
              <a:gd name="T6" fmla="*/ 27 w 27"/>
              <a:gd name="T7" fmla="*/ 14 h 14"/>
              <a:gd name="T8" fmla="*/ 27 w 27"/>
              <a:gd name="T9" fmla="*/ 0 h 14"/>
              <a:gd name="T10" fmla="*/ 22 w 27"/>
              <a:gd name="T11" fmla="*/ 0 h 14"/>
              <a:gd name="T12" fmla="*/ 22 w 27"/>
              <a:gd name="T13" fmla="*/ 9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4">
                <a:moveTo>
                  <a:pt x="22" y="9"/>
                </a:moveTo>
                <a:cubicBezTo>
                  <a:pt x="0" y="9"/>
                  <a:pt x="0" y="9"/>
                  <a:pt x="0" y="9"/>
                </a:cubicBezTo>
                <a:cubicBezTo>
                  <a:pt x="1" y="10"/>
                  <a:pt x="3" y="12"/>
                  <a:pt x="4" y="14"/>
                </a:cubicBezTo>
                <a:cubicBezTo>
                  <a:pt x="27" y="14"/>
                  <a:pt x="27" y="14"/>
                  <a:pt x="27" y="14"/>
                </a:cubicBezTo>
                <a:cubicBezTo>
                  <a:pt x="27" y="0"/>
                  <a:pt x="27" y="0"/>
                  <a:pt x="27" y="0"/>
                </a:cubicBezTo>
                <a:cubicBezTo>
                  <a:pt x="22" y="0"/>
                  <a:pt x="22" y="0"/>
                  <a:pt x="22" y="0"/>
                </a:cubicBezTo>
                <a:lnTo>
                  <a:pt x="22" y="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19" name="ïsḷïḋe">
            <a:extLst>
              <a:ext uri="{FF2B5EF4-FFF2-40B4-BE49-F238E27FC236}">
                <a16:creationId xmlns:a16="http://schemas.microsoft.com/office/drawing/2014/main" id="{7DA435AB-1512-4AC6-A691-A63B804FECFE}"/>
              </a:ext>
            </a:extLst>
          </p:cNvPr>
          <p:cNvSpPr/>
          <p:nvPr/>
        </p:nvSpPr>
        <p:spPr bwMode="auto">
          <a:xfrm>
            <a:off x="10192969" y="2892942"/>
            <a:ext cx="212784" cy="242977"/>
          </a:xfrm>
          <a:custGeom>
            <a:avLst/>
            <a:gdLst>
              <a:gd name="T0" fmla="*/ 5 w 41"/>
              <a:gd name="T1" fmla="*/ 27 h 47"/>
              <a:gd name="T2" fmla="*/ 5 w 41"/>
              <a:gd name="T3" fmla="*/ 30 h 47"/>
              <a:gd name="T4" fmla="*/ 18 w 41"/>
              <a:gd name="T5" fmla="*/ 47 h 47"/>
              <a:gd name="T6" fmla="*/ 33 w 41"/>
              <a:gd name="T7" fmla="*/ 47 h 47"/>
              <a:gd name="T8" fmla="*/ 33 w 41"/>
              <a:gd name="T9" fmla="*/ 27 h 47"/>
              <a:gd name="T10" fmla="*/ 41 w 41"/>
              <a:gd name="T11" fmla="*/ 27 h 47"/>
              <a:gd name="T12" fmla="*/ 19 w 41"/>
              <a:gd name="T13" fmla="*/ 0 h 47"/>
              <a:gd name="T14" fmla="*/ 0 w 41"/>
              <a:gd name="T15" fmla="*/ 24 h 47"/>
              <a:gd name="T16" fmla="*/ 3 w 41"/>
              <a:gd name="T17" fmla="*/ 27 h 47"/>
              <a:gd name="T18" fmla="*/ 5 w 41"/>
              <a:gd name="T19" fmla="*/ 2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7">
                <a:moveTo>
                  <a:pt x="5" y="27"/>
                </a:moveTo>
                <a:cubicBezTo>
                  <a:pt x="5" y="30"/>
                  <a:pt x="5" y="30"/>
                  <a:pt x="5" y="30"/>
                </a:cubicBezTo>
                <a:cubicBezTo>
                  <a:pt x="10" y="35"/>
                  <a:pt x="14" y="41"/>
                  <a:pt x="18" y="47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27"/>
                  <a:pt x="33" y="27"/>
                  <a:pt x="33" y="27"/>
                </a:cubicBezTo>
                <a:cubicBezTo>
                  <a:pt x="41" y="27"/>
                  <a:pt x="41" y="27"/>
                  <a:pt x="41" y="27"/>
                </a:cubicBezTo>
                <a:cubicBezTo>
                  <a:pt x="19" y="0"/>
                  <a:pt x="19" y="0"/>
                  <a:pt x="19" y="0"/>
                </a:cubicBezTo>
                <a:cubicBezTo>
                  <a:pt x="0" y="24"/>
                  <a:pt x="0" y="24"/>
                  <a:pt x="0" y="24"/>
                </a:cubicBezTo>
                <a:cubicBezTo>
                  <a:pt x="1" y="25"/>
                  <a:pt x="2" y="26"/>
                  <a:pt x="3" y="27"/>
                </a:cubicBezTo>
                <a:lnTo>
                  <a:pt x="5" y="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0" name="îṡ1ïḑê">
            <a:extLst>
              <a:ext uri="{FF2B5EF4-FFF2-40B4-BE49-F238E27FC236}">
                <a16:creationId xmlns:a16="http://schemas.microsoft.com/office/drawing/2014/main" id="{A476AC01-2268-4272-8AC9-A75274F75C97}"/>
              </a:ext>
            </a:extLst>
          </p:cNvPr>
          <p:cNvSpPr/>
          <p:nvPr/>
        </p:nvSpPr>
        <p:spPr bwMode="auto">
          <a:xfrm>
            <a:off x="10571092" y="3457968"/>
            <a:ext cx="264541" cy="419817"/>
          </a:xfrm>
          <a:custGeom>
            <a:avLst/>
            <a:gdLst>
              <a:gd name="T0" fmla="*/ 51 w 51"/>
              <a:gd name="T1" fmla="*/ 81 h 81"/>
              <a:gd name="T2" fmla="*/ 45 w 51"/>
              <a:gd name="T3" fmla="*/ 1 h 81"/>
              <a:gd name="T4" fmla="*/ 40 w 51"/>
              <a:gd name="T5" fmla="*/ 0 h 81"/>
              <a:gd name="T6" fmla="*/ 45 w 51"/>
              <a:gd name="T7" fmla="*/ 7 h 81"/>
              <a:gd name="T8" fmla="*/ 45 w 51"/>
              <a:gd name="T9" fmla="*/ 53 h 81"/>
              <a:gd name="T10" fmla="*/ 40 w 51"/>
              <a:gd name="T11" fmla="*/ 58 h 81"/>
              <a:gd name="T12" fmla="*/ 45 w 51"/>
              <a:gd name="T13" fmla="*/ 65 h 81"/>
              <a:gd name="T14" fmla="*/ 40 w 51"/>
              <a:gd name="T15" fmla="*/ 65 h 81"/>
              <a:gd name="T16" fmla="*/ 45 w 51"/>
              <a:gd name="T17" fmla="*/ 69 h 81"/>
              <a:gd name="T18" fmla="*/ 45 w 51"/>
              <a:gd name="T19" fmla="*/ 76 h 81"/>
              <a:gd name="T20" fmla="*/ 40 w 51"/>
              <a:gd name="T21" fmla="*/ 81 h 81"/>
              <a:gd name="T22" fmla="*/ 35 w 51"/>
              <a:gd name="T23" fmla="*/ 1 h 81"/>
              <a:gd name="T24" fmla="*/ 25 w 51"/>
              <a:gd name="T25" fmla="*/ 7 h 81"/>
              <a:gd name="T26" fmla="*/ 40 w 51"/>
              <a:gd name="T27" fmla="*/ 0 h 81"/>
              <a:gd name="T28" fmla="*/ 25 w 51"/>
              <a:gd name="T29" fmla="*/ 81 h 81"/>
              <a:gd name="T30" fmla="*/ 40 w 51"/>
              <a:gd name="T31" fmla="*/ 76 h 81"/>
              <a:gd name="T32" fmla="*/ 35 w 51"/>
              <a:gd name="T33" fmla="*/ 69 h 81"/>
              <a:gd name="T34" fmla="*/ 40 w 51"/>
              <a:gd name="T35" fmla="*/ 65 h 81"/>
              <a:gd name="T36" fmla="*/ 35 w 51"/>
              <a:gd name="T37" fmla="*/ 58 h 81"/>
              <a:gd name="T38" fmla="*/ 40 w 51"/>
              <a:gd name="T39" fmla="*/ 53 h 81"/>
              <a:gd name="T40" fmla="*/ 25 w 51"/>
              <a:gd name="T41" fmla="*/ 58 h 81"/>
              <a:gd name="T42" fmla="*/ 30 w 51"/>
              <a:gd name="T43" fmla="*/ 65 h 81"/>
              <a:gd name="T44" fmla="*/ 25 w 51"/>
              <a:gd name="T45" fmla="*/ 65 h 81"/>
              <a:gd name="T46" fmla="*/ 30 w 51"/>
              <a:gd name="T47" fmla="*/ 69 h 81"/>
              <a:gd name="T48" fmla="*/ 30 w 51"/>
              <a:gd name="T49" fmla="*/ 76 h 81"/>
              <a:gd name="T50" fmla="*/ 25 w 51"/>
              <a:gd name="T51" fmla="*/ 81 h 81"/>
              <a:gd name="T52" fmla="*/ 10 w 51"/>
              <a:gd name="T53" fmla="*/ 1 h 81"/>
              <a:gd name="T54" fmla="*/ 25 w 51"/>
              <a:gd name="T55" fmla="*/ 7 h 81"/>
              <a:gd name="T56" fmla="*/ 10 w 51"/>
              <a:gd name="T57" fmla="*/ 81 h 81"/>
              <a:gd name="T58" fmla="*/ 25 w 51"/>
              <a:gd name="T59" fmla="*/ 76 h 81"/>
              <a:gd name="T60" fmla="*/ 20 w 51"/>
              <a:gd name="T61" fmla="*/ 69 h 81"/>
              <a:gd name="T62" fmla="*/ 25 w 51"/>
              <a:gd name="T63" fmla="*/ 65 h 81"/>
              <a:gd name="T64" fmla="*/ 20 w 51"/>
              <a:gd name="T65" fmla="*/ 58 h 81"/>
              <a:gd name="T66" fmla="*/ 25 w 51"/>
              <a:gd name="T67" fmla="*/ 53 h 81"/>
              <a:gd name="T68" fmla="*/ 10 w 51"/>
              <a:gd name="T69" fmla="*/ 58 h 81"/>
              <a:gd name="T70" fmla="*/ 15 w 51"/>
              <a:gd name="T71" fmla="*/ 65 h 81"/>
              <a:gd name="T72" fmla="*/ 10 w 51"/>
              <a:gd name="T73" fmla="*/ 65 h 81"/>
              <a:gd name="T74" fmla="*/ 15 w 51"/>
              <a:gd name="T75" fmla="*/ 69 h 81"/>
              <a:gd name="T76" fmla="*/ 15 w 51"/>
              <a:gd name="T77" fmla="*/ 76 h 81"/>
              <a:gd name="T78" fmla="*/ 10 w 51"/>
              <a:gd name="T79" fmla="*/ 81 h 81"/>
              <a:gd name="T80" fmla="*/ 0 w 51"/>
              <a:gd name="T81" fmla="*/ 1 h 81"/>
              <a:gd name="T82" fmla="*/ 1 w 51"/>
              <a:gd name="T83" fmla="*/ 81 h 81"/>
              <a:gd name="T84" fmla="*/ 10 w 51"/>
              <a:gd name="T85" fmla="*/ 76 h 81"/>
              <a:gd name="T86" fmla="*/ 5 w 51"/>
              <a:gd name="T87" fmla="*/ 69 h 81"/>
              <a:gd name="T88" fmla="*/ 10 w 51"/>
              <a:gd name="T89" fmla="*/ 65 h 81"/>
              <a:gd name="T90" fmla="*/ 5 w 51"/>
              <a:gd name="T91" fmla="*/ 58 h 81"/>
              <a:gd name="T92" fmla="*/ 10 w 51"/>
              <a:gd name="T93" fmla="*/ 53 h 81"/>
              <a:gd name="T94" fmla="*/ 5 w 51"/>
              <a:gd name="T95" fmla="*/ 7 h 81"/>
              <a:gd name="T96" fmla="*/ 10 w 51"/>
              <a:gd name="T97" fmla="*/ 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" h="81">
                <a:moveTo>
                  <a:pt x="40" y="81"/>
                </a:moveTo>
                <a:cubicBezTo>
                  <a:pt x="51" y="81"/>
                  <a:pt x="51" y="81"/>
                  <a:pt x="51" y="81"/>
                </a:cubicBezTo>
                <a:cubicBezTo>
                  <a:pt x="51" y="1"/>
                  <a:pt x="51" y="1"/>
                  <a:pt x="51" y="1"/>
                </a:cubicBezTo>
                <a:cubicBezTo>
                  <a:pt x="45" y="1"/>
                  <a:pt x="45" y="1"/>
                  <a:pt x="45" y="1"/>
                </a:cubicBezTo>
                <a:cubicBezTo>
                  <a:pt x="45" y="0"/>
                  <a:pt x="45" y="0"/>
                  <a:pt x="45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0" y="7"/>
                  <a:pt x="40" y="7"/>
                  <a:pt x="40" y="7"/>
                </a:cubicBezTo>
                <a:cubicBezTo>
                  <a:pt x="45" y="7"/>
                  <a:pt x="45" y="7"/>
                  <a:pt x="45" y="7"/>
                </a:cubicBezTo>
                <a:cubicBezTo>
                  <a:pt x="45" y="53"/>
                  <a:pt x="45" y="53"/>
                  <a:pt x="45" y="53"/>
                </a:cubicBezTo>
                <a:cubicBezTo>
                  <a:pt x="45" y="53"/>
                  <a:pt x="45" y="53"/>
                  <a:pt x="45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8"/>
                  <a:pt x="40" y="58"/>
                  <a:pt x="40" y="58"/>
                </a:cubicBezTo>
                <a:cubicBezTo>
                  <a:pt x="45" y="58"/>
                  <a:pt x="45" y="58"/>
                  <a:pt x="45" y="58"/>
                </a:cubicBezTo>
                <a:cubicBezTo>
                  <a:pt x="45" y="65"/>
                  <a:pt x="45" y="65"/>
                  <a:pt x="45" y="65"/>
                </a:cubicBezTo>
                <a:cubicBezTo>
                  <a:pt x="45" y="65"/>
                  <a:pt x="45" y="65"/>
                  <a:pt x="45" y="65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9"/>
                  <a:pt x="40" y="69"/>
                  <a:pt x="40" y="69"/>
                </a:cubicBezTo>
                <a:cubicBezTo>
                  <a:pt x="45" y="69"/>
                  <a:pt x="45" y="69"/>
                  <a:pt x="45" y="69"/>
                </a:cubicBezTo>
                <a:cubicBezTo>
                  <a:pt x="45" y="76"/>
                  <a:pt x="45" y="76"/>
                  <a:pt x="45" y="76"/>
                </a:cubicBezTo>
                <a:cubicBezTo>
                  <a:pt x="45" y="76"/>
                  <a:pt x="45" y="76"/>
                  <a:pt x="45" y="76"/>
                </a:cubicBezTo>
                <a:cubicBezTo>
                  <a:pt x="40" y="76"/>
                  <a:pt x="40" y="76"/>
                  <a:pt x="40" y="76"/>
                </a:cubicBezTo>
                <a:lnTo>
                  <a:pt x="40" y="81"/>
                </a:lnTo>
                <a:close/>
                <a:moveTo>
                  <a:pt x="35" y="0"/>
                </a:moveTo>
                <a:cubicBezTo>
                  <a:pt x="35" y="1"/>
                  <a:pt x="35" y="1"/>
                  <a:pt x="35" y="1"/>
                </a:cubicBezTo>
                <a:cubicBezTo>
                  <a:pt x="25" y="1"/>
                  <a:pt x="25" y="1"/>
                  <a:pt x="25" y="1"/>
                </a:cubicBezTo>
                <a:cubicBezTo>
                  <a:pt x="25" y="7"/>
                  <a:pt x="25" y="7"/>
                  <a:pt x="25" y="7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0"/>
                  <a:pt x="40" y="0"/>
                  <a:pt x="40" y="0"/>
                </a:cubicBezTo>
                <a:cubicBezTo>
                  <a:pt x="35" y="0"/>
                  <a:pt x="35" y="0"/>
                  <a:pt x="35" y="0"/>
                </a:cubicBezTo>
                <a:close/>
                <a:moveTo>
                  <a:pt x="25" y="81"/>
                </a:moveTo>
                <a:cubicBezTo>
                  <a:pt x="40" y="81"/>
                  <a:pt x="40" y="81"/>
                  <a:pt x="40" y="81"/>
                </a:cubicBezTo>
                <a:cubicBezTo>
                  <a:pt x="40" y="76"/>
                  <a:pt x="40" y="76"/>
                  <a:pt x="40" y="76"/>
                </a:cubicBezTo>
                <a:cubicBezTo>
                  <a:pt x="35" y="76"/>
                  <a:pt x="35" y="76"/>
                  <a:pt x="35" y="76"/>
                </a:cubicBezTo>
                <a:cubicBezTo>
                  <a:pt x="35" y="69"/>
                  <a:pt x="35" y="69"/>
                  <a:pt x="35" y="69"/>
                </a:cubicBezTo>
                <a:cubicBezTo>
                  <a:pt x="40" y="69"/>
                  <a:pt x="40" y="69"/>
                  <a:pt x="40" y="69"/>
                </a:cubicBezTo>
                <a:cubicBezTo>
                  <a:pt x="40" y="65"/>
                  <a:pt x="40" y="65"/>
                  <a:pt x="40" y="65"/>
                </a:cubicBezTo>
                <a:cubicBezTo>
                  <a:pt x="35" y="65"/>
                  <a:pt x="35" y="65"/>
                  <a:pt x="35" y="65"/>
                </a:cubicBezTo>
                <a:cubicBezTo>
                  <a:pt x="35" y="58"/>
                  <a:pt x="35" y="58"/>
                  <a:pt x="35" y="58"/>
                </a:cubicBezTo>
                <a:cubicBezTo>
                  <a:pt x="40" y="58"/>
                  <a:pt x="40" y="58"/>
                  <a:pt x="40" y="58"/>
                </a:cubicBezTo>
                <a:cubicBezTo>
                  <a:pt x="40" y="53"/>
                  <a:pt x="40" y="53"/>
                  <a:pt x="40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8"/>
                  <a:pt x="25" y="58"/>
                  <a:pt x="25" y="58"/>
                </a:cubicBezTo>
                <a:cubicBezTo>
                  <a:pt x="30" y="58"/>
                  <a:pt x="30" y="58"/>
                  <a:pt x="30" y="58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25" y="65"/>
                  <a:pt x="25" y="65"/>
                  <a:pt x="25" y="65"/>
                </a:cubicBezTo>
                <a:cubicBezTo>
                  <a:pt x="25" y="69"/>
                  <a:pt x="25" y="69"/>
                  <a:pt x="25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25" y="76"/>
                  <a:pt x="25" y="76"/>
                  <a:pt x="25" y="76"/>
                </a:cubicBezTo>
                <a:lnTo>
                  <a:pt x="25" y="81"/>
                </a:lnTo>
                <a:close/>
                <a:moveTo>
                  <a:pt x="25" y="1"/>
                </a:moveTo>
                <a:cubicBezTo>
                  <a:pt x="10" y="1"/>
                  <a:pt x="10" y="1"/>
                  <a:pt x="10" y="1"/>
                </a:cubicBezTo>
                <a:cubicBezTo>
                  <a:pt x="10" y="7"/>
                  <a:pt x="10" y="7"/>
                  <a:pt x="10" y="7"/>
                </a:cubicBezTo>
                <a:cubicBezTo>
                  <a:pt x="25" y="7"/>
                  <a:pt x="25" y="7"/>
                  <a:pt x="25" y="7"/>
                </a:cubicBezTo>
                <a:cubicBezTo>
                  <a:pt x="25" y="1"/>
                  <a:pt x="25" y="1"/>
                  <a:pt x="25" y="1"/>
                </a:cubicBezTo>
                <a:close/>
                <a:moveTo>
                  <a:pt x="10" y="81"/>
                </a:moveTo>
                <a:cubicBezTo>
                  <a:pt x="25" y="81"/>
                  <a:pt x="25" y="81"/>
                  <a:pt x="25" y="81"/>
                </a:cubicBezTo>
                <a:cubicBezTo>
                  <a:pt x="25" y="76"/>
                  <a:pt x="25" y="76"/>
                  <a:pt x="25" y="76"/>
                </a:cubicBezTo>
                <a:cubicBezTo>
                  <a:pt x="20" y="76"/>
                  <a:pt x="20" y="76"/>
                  <a:pt x="20" y="76"/>
                </a:cubicBezTo>
                <a:cubicBezTo>
                  <a:pt x="20" y="69"/>
                  <a:pt x="20" y="69"/>
                  <a:pt x="20" y="69"/>
                </a:cubicBezTo>
                <a:cubicBezTo>
                  <a:pt x="25" y="69"/>
                  <a:pt x="25" y="69"/>
                  <a:pt x="25" y="69"/>
                </a:cubicBezTo>
                <a:cubicBezTo>
                  <a:pt x="25" y="65"/>
                  <a:pt x="25" y="65"/>
                  <a:pt x="25" y="65"/>
                </a:cubicBezTo>
                <a:cubicBezTo>
                  <a:pt x="20" y="65"/>
                  <a:pt x="20" y="65"/>
                  <a:pt x="20" y="65"/>
                </a:cubicBezTo>
                <a:cubicBezTo>
                  <a:pt x="20" y="58"/>
                  <a:pt x="20" y="58"/>
                  <a:pt x="20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3"/>
                  <a:pt x="25" y="53"/>
                  <a:pt x="25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10" y="58"/>
                  <a:pt x="10" y="58"/>
                  <a:pt x="10" y="58"/>
                </a:cubicBezTo>
                <a:cubicBezTo>
                  <a:pt x="15" y="58"/>
                  <a:pt x="15" y="58"/>
                  <a:pt x="15" y="58"/>
                </a:cubicBezTo>
                <a:cubicBezTo>
                  <a:pt x="15" y="65"/>
                  <a:pt x="15" y="65"/>
                  <a:pt x="15" y="65"/>
                </a:cubicBezTo>
                <a:cubicBezTo>
                  <a:pt x="15" y="65"/>
                  <a:pt x="15" y="65"/>
                  <a:pt x="15" y="65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9"/>
                  <a:pt x="10" y="69"/>
                  <a:pt x="10" y="69"/>
                </a:cubicBezTo>
                <a:cubicBezTo>
                  <a:pt x="15" y="69"/>
                  <a:pt x="15" y="69"/>
                  <a:pt x="15" y="69"/>
                </a:cubicBezTo>
                <a:cubicBezTo>
                  <a:pt x="15" y="76"/>
                  <a:pt x="15" y="76"/>
                  <a:pt x="15" y="76"/>
                </a:cubicBezTo>
                <a:cubicBezTo>
                  <a:pt x="15" y="76"/>
                  <a:pt x="15" y="76"/>
                  <a:pt x="15" y="76"/>
                </a:cubicBezTo>
                <a:cubicBezTo>
                  <a:pt x="10" y="76"/>
                  <a:pt x="10" y="76"/>
                  <a:pt x="10" y="76"/>
                </a:cubicBezTo>
                <a:lnTo>
                  <a:pt x="10" y="81"/>
                </a:lnTo>
                <a:close/>
                <a:moveTo>
                  <a:pt x="10" y="1"/>
                </a:moveTo>
                <a:cubicBezTo>
                  <a:pt x="0" y="1"/>
                  <a:pt x="0" y="1"/>
                  <a:pt x="0" y="1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74"/>
                  <a:pt x="1" y="78"/>
                  <a:pt x="1" y="81"/>
                </a:cubicBezTo>
                <a:cubicBezTo>
                  <a:pt x="10" y="81"/>
                  <a:pt x="10" y="81"/>
                  <a:pt x="10" y="81"/>
                </a:cubicBezTo>
                <a:cubicBezTo>
                  <a:pt x="10" y="76"/>
                  <a:pt x="10" y="76"/>
                  <a:pt x="10" y="76"/>
                </a:cubicBezTo>
                <a:cubicBezTo>
                  <a:pt x="5" y="76"/>
                  <a:pt x="5" y="76"/>
                  <a:pt x="5" y="76"/>
                </a:cubicBezTo>
                <a:cubicBezTo>
                  <a:pt x="5" y="69"/>
                  <a:pt x="5" y="69"/>
                  <a:pt x="5" y="69"/>
                </a:cubicBezTo>
                <a:cubicBezTo>
                  <a:pt x="10" y="69"/>
                  <a:pt x="10" y="69"/>
                  <a:pt x="10" y="69"/>
                </a:cubicBezTo>
                <a:cubicBezTo>
                  <a:pt x="10" y="65"/>
                  <a:pt x="10" y="65"/>
                  <a:pt x="10" y="65"/>
                </a:cubicBezTo>
                <a:cubicBezTo>
                  <a:pt x="5" y="65"/>
                  <a:pt x="5" y="65"/>
                  <a:pt x="5" y="65"/>
                </a:cubicBezTo>
                <a:cubicBezTo>
                  <a:pt x="5" y="58"/>
                  <a:pt x="5" y="58"/>
                  <a:pt x="5" y="58"/>
                </a:cubicBezTo>
                <a:cubicBezTo>
                  <a:pt x="10" y="58"/>
                  <a:pt x="10" y="58"/>
                  <a:pt x="10" y="58"/>
                </a:cubicBezTo>
                <a:cubicBezTo>
                  <a:pt x="10" y="53"/>
                  <a:pt x="10" y="53"/>
                  <a:pt x="10" y="53"/>
                </a:cubicBezTo>
                <a:cubicBezTo>
                  <a:pt x="5" y="53"/>
                  <a:pt x="5" y="53"/>
                  <a:pt x="5" y="53"/>
                </a:cubicBezTo>
                <a:cubicBezTo>
                  <a:pt x="5" y="7"/>
                  <a:pt x="5" y="7"/>
                  <a:pt x="5" y="7"/>
                </a:cubicBezTo>
                <a:cubicBezTo>
                  <a:pt x="10" y="7"/>
                  <a:pt x="10" y="7"/>
                  <a:pt x="10" y="7"/>
                </a:cubicBezTo>
                <a:lnTo>
                  <a:pt x="1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1" name="íṡlïḑè">
            <a:extLst>
              <a:ext uri="{FF2B5EF4-FFF2-40B4-BE49-F238E27FC236}">
                <a16:creationId xmlns:a16="http://schemas.microsoft.com/office/drawing/2014/main" id="{858CFEC6-5D28-4CB9-8709-D31B5E80EE74}"/>
              </a:ext>
            </a:extLst>
          </p:cNvPr>
          <p:cNvSpPr/>
          <p:nvPr/>
        </p:nvSpPr>
        <p:spPr bwMode="auto">
          <a:xfrm>
            <a:off x="9747274" y="2572329"/>
            <a:ext cx="166777" cy="71887"/>
          </a:xfrm>
          <a:custGeom>
            <a:avLst/>
            <a:gdLst>
              <a:gd name="T0" fmla="*/ 0 w 116"/>
              <a:gd name="T1" fmla="*/ 28 h 50"/>
              <a:gd name="T2" fmla="*/ 44 w 116"/>
              <a:gd name="T3" fmla="*/ 50 h 50"/>
              <a:gd name="T4" fmla="*/ 116 w 116"/>
              <a:gd name="T5" fmla="*/ 50 h 50"/>
              <a:gd name="T6" fmla="*/ 15 w 116"/>
              <a:gd name="T7" fmla="*/ 0 h 50"/>
              <a:gd name="T8" fmla="*/ 0 w 116"/>
              <a:gd name="T9" fmla="*/ 2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" h="50">
                <a:moveTo>
                  <a:pt x="0" y="28"/>
                </a:moveTo>
                <a:lnTo>
                  <a:pt x="44" y="50"/>
                </a:lnTo>
                <a:lnTo>
                  <a:pt x="116" y="50"/>
                </a:lnTo>
                <a:lnTo>
                  <a:pt x="15" y="0"/>
                </a:lnTo>
                <a:lnTo>
                  <a:pt x="0" y="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2" name="íŝḻiďè">
            <a:extLst>
              <a:ext uri="{FF2B5EF4-FFF2-40B4-BE49-F238E27FC236}">
                <a16:creationId xmlns:a16="http://schemas.microsoft.com/office/drawing/2014/main" id="{0C97D9DE-1BA8-4314-882B-0537DA79C9D9}"/>
              </a:ext>
            </a:extLst>
          </p:cNvPr>
          <p:cNvSpPr/>
          <p:nvPr/>
        </p:nvSpPr>
        <p:spPr bwMode="auto">
          <a:xfrm>
            <a:off x="9747274" y="2654279"/>
            <a:ext cx="409752" cy="207032"/>
          </a:xfrm>
          <a:custGeom>
            <a:avLst/>
            <a:gdLst>
              <a:gd name="T0" fmla="*/ 56 w 79"/>
              <a:gd name="T1" fmla="*/ 40 h 40"/>
              <a:gd name="T2" fmla="*/ 64 w 79"/>
              <a:gd name="T3" fmla="*/ 40 h 40"/>
              <a:gd name="T4" fmla="*/ 64 w 79"/>
              <a:gd name="T5" fmla="*/ 32 h 40"/>
              <a:gd name="T6" fmla="*/ 79 w 79"/>
              <a:gd name="T7" fmla="*/ 32 h 40"/>
              <a:gd name="T8" fmla="*/ 79 w 79"/>
              <a:gd name="T9" fmla="*/ 8 h 40"/>
              <a:gd name="T10" fmla="*/ 64 w 79"/>
              <a:gd name="T11" fmla="*/ 8 h 40"/>
              <a:gd name="T12" fmla="*/ 64 w 79"/>
              <a:gd name="T13" fmla="*/ 0 h 40"/>
              <a:gd name="T14" fmla="*/ 37 w 79"/>
              <a:gd name="T15" fmla="*/ 0 h 40"/>
              <a:gd name="T16" fmla="*/ 17 w 79"/>
              <a:gd name="T17" fmla="*/ 0 h 40"/>
              <a:gd name="T18" fmla="*/ 0 w 79"/>
              <a:gd name="T19" fmla="*/ 0 h 40"/>
              <a:gd name="T20" fmla="*/ 0 w 79"/>
              <a:gd name="T21" fmla="*/ 2 h 40"/>
              <a:gd name="T22" fmla="*/ 24 w 79"/>
              <a:gd name="T23" fmla="*/ 16 h 40"/>
              <a:gd name="T24" fmla="*/ 48 w 79"/>
              <a:gd name="T25" fmla="*/ 16 h 40"/>
              <a:gd name="T26" fmla="*/ 48 w 79"/>
              <a:gd name="T27" fmla="*/ 25 h 40"/>
              <a:gd name="T28" fmla="*/ 36 w 79"/>
              <a:gd name="T29" fmla="*/ 25 h 40"/>
              <a:gd name="T30" fmla="*/ 56 w 79"/>
              <a:gd name="T31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9" h="40">
                <a:moveTo>
                  <a:pt x="56" y="40"/>
                </a:moveTo>
                <a:cubicBezTo>
                  <a:pt x="64" y="40"/>
                  <a:pt x="64" y="40"/>
                  <a:pt x="64" y="40"/>
                </a:cubicBezTo>
                <a:cubicBezTo>
                  <a:pt x="64" y="32"/>
                  <a:pt x="64" y="32"/>
                  <a:pt x="64" y="32"/>
                </a:cubicBezTo>
                <a:cubicBezTo>
                  <a:pt x="79" y="32"/>
                  <a:pt x="79" y="32"/>
                  <a:pt x="79" y="32"/>
                </a:cubicBezTo>
                <a:cubicBezTo>
                  <a:pt x="79" y="8"/>
                  <a:pt x="79" y="8"/>
                  <a:pt x="79" y="8"/>
                </a:cubicBezTo>
                <a:cubicBezTo>
                  <a:pt x="64" y="8"/>
                  <a:pt x="64" y="8"/>
                  <a:pt x="64" y="8"/>
                </a:cubicBezTo>
                <a:cubicBezTo>
                  <a:pt x="64" y="0"/>
                  <a:pt x="64" y="0"/>
                  <a:pt x="64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"/>
                  <a:pt x="0" y="2"/>
                  <a:pt x="0" y="2"/>
                </a:cubicBezTo>
                <a:cubicBezTo>
                  <a:pt x="8" y="6"/>
                  <a:pt x="16" y="11"/>
                  <a:pt x="24" y="16"/>
                </a:cubicBezTo>
                <a:cubicBezTo>
                  <a:pt x="48" y="16"/>
                  <a:pt x="48" y="16"/>
                  <a:pt x="48" y="16"/>
                </a:cubicBezTo>
                <a:cubicBezTo>
                  <a:pt x="48" y="25"/>
                  <a:pt x="48" y="25"/>
                  <a:pt x="48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43" y="30"/>
                  <a:pt x="50" y="35"/>
                  <a:pt x="56" y="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3" name="ïṣḻiḋè">
            <a:extLst>
              <a:ext uri="{FF2B5EF4-FFF2-40B4-BE49-F238E27FC236}">
                <a16:creationId xmlns:a16="http://schemas.microsoft.com/office/drawing/2014/main" id="{257E38C3-32EF-4365-B1CB-E115C2CBA59D}"/>
              </a:ext>
            </a:extLst>
          </p:cNvPr>
          <p:cNvSpPr/>
          <p:nvPr/>
        </p:nvSpPr>
        <p:spPr bwMode="auto">
          <a:xfrm>
            <a:off x="8690546" y="5784210"/>
            <a:ext cx="347930" cy="93453"/>
          </a:xfrm>
          <a:custGeom>
            <a:avLst/>
            <a:gdLst>
              <a:gd name="T0" fmla="*/ 33 w 242"/>
              <a:gd name="T1" fmla="*/ 65 h 65"/>
              <a:gd name="T2" fmla="*/ 36 w 242"/>
              <a:gd name="T3" fmla="*/ 65 h 65"/>
              <a:gd name="T4" fmla="*/ 202 w 242"/>
              <a:gd name="T5" fmla="*/ 65 h 65"/>
              <a:gd name="T6" fmla="*/ 206 w 242"/>
              <a:gd name="T7" fmla="*/ 65 h 65"/>
              <a:gd name="T8" fmla="*/ 242 w 242"/>
              <a:gd name="T9" fmla="*/ 0 h 65"/>
              <a:gd name="T10" fmla="*/ 238 w 242"/>
              <a:gd name="T11" fmla="*/ 0 h 65"/>
              <a:gd name="T12" fmla="*/ 206 w 242"/>
              <a:gd name="T13" fmla="*/ 0 h 65"/>
              <a:gd name="T14" fmla="*/ 177 w 242"/>
              <a:gd name="T15" fmla="*/ 0 h 65"/>
              <a:gd name="T16" fmla="*/ 65 w 242"/>
              <a:gd name="T17" fmla="*/ 0 h 65"/>
              <a:gd name="T18" fmla="*/ 36 w 242"/>
              <a:gd name="T19" fmla="*/ 0 h 65"/>
              <a:gd name="T20" fmla="*/ 0 w 242"/>
              <a:gd name="T21" fmla="*/ 0 h 65"/>
              <a:gd name="T22" fmla="*/ 33 w 242"/>
              <a:gd name="T23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2" h="65">
                <a:moveTo>
                  <a:pt x="33" y="65"/>
                </a:moveTo>
                <a:lnTo>
                  <a:pt x="36" y="65"/>
                </a:lnTo>
                <a:lnTo>
                  <a:pt x="202" y="65"/>
                </a:lnTo>
                <a:lnTo>
                  <a:pt x="206" y="65"/>
                </a:lnTo>
                <a:lnTo>
                  <a:pt x="242" y="0"/>
                </a:lnTo>
                <a:lnTo>
                  <a:pt x="238" y="0"/>
                </a:lnTo>
                <a:lnTo>
                  <a:pt x="206" y="0"/>
                </a:lnTo>
                <a:lnTo>
                  <a:pt x="177" y="0"/>
                </a:lnTo>
                <a:lnTo>
                  <a:pt x="65" y="0"/>
                </a:lnTo>
                <a:lnTo>
                  <a:pt x="36" y="0"/>
                </a:lnTo>
                <a:lnTo>
                  <a:pt x="0" y="0"/>
                </a:lnTo>
                <a:lnTo>
                  <a:pt x="33" y="6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4" name="îSlïďê">
            <a:extLst>
              <a:ext uri="{FF2B5EF4-FFF2-40B4-BE49-F238E27FC236}">
                <a16:creationId xmlns:a16="http://schemas.microsoft.com/office/drawing/2014/main" id="{5A7987D6-DAF2-45CA-91A6-51625F8A2564}"/>
              </a:ext>
            </a:extLst>
          </p:cNvPr>
          <p:cNvSpPr/>
          <p:nvPr/>
        </p:nvSpPr>
        <p:spPr bwMode="auto">
          <a:xfrm>
            <a:off x="8686233" y="5805776"/>
            <a:ext cx="346492" cy="165338"/>
          </a:xfrm>
          <a:custGeom>
            <a:avLst/>
            <a:gdLst>
              <a:gd name="T0" fmla="*/ 0 w 67"/>
              <a:gd name="T1" fmla="*/ 32 h 32"/>
              <a:gd name="T2" fmla="*/ 67 w 67"/>
              <a:gd name="T3" fmla="*/ 32 h 32"/>
              <a:gd name="T4" fmla="*/ 67 w 67"/>
              <a:gd name="T5" fmla="*/ 0 h 32"/>
              <a:gd name="T6" fmla="*/ 60 w 67"/>
              <a:gd name="T7" fmla="*/ 15 h 32"/>
              <a:gd name="T8" fmla="*/ 59 w 67"/>
              <a:gd name="T9" fmla="*/ 16 h 32"/>
              <a:gd name="T10" fmla="*/ 58 w 67"/>
              <a:gd name="T11" fmla="*/ 16 h 32"/>
              <a:gd name="T12" fmla="*/ 56 w 67"/>
              <a:gd name="T13" fmla="*/ 16 h 32"/>
              <a:gd name="T14" fmla="*/ 39 w 67"/>
              <a:gd name="T15" fmla="*/ 16 h 32"/>
              <a:gd name="T16" fmla="*/ 39 w 67"/>
              <a:gd name="T17" fmla="*/ 17 h 32"/>
              <a:gd name="T18" fmla="*/ 39 w 67"/>
              <a:gd name="T19" fmla="*/ 20 h 32"/>
              <a:gd name="T20" fmla="*/ 34 w 67"/>
              <a:gd name="T21" fmla="*/ 22 h 32"/>
              <a:gd name="T22" fmla="*/ 30 w 67"/>
              <a:gd name="T23" fmla="*/ 20 h 32"/>
              <a:gd name="T24" fmla="*/ 29 w 67"/>
              <a:gd name="T25" fmla="*/ 17 h 32"/>
              <a:gd name="T26" fmla="*/ 29 w 67"/>
              <a:gd name="T27" fmla="*/ 16 h 32"/>
              <a:gd name="T28" fmla="*/ 12 w 67"/>
              <a:gd name="T29" fmla="*/ 16 h 32"/>
              <a:gd name="T30" fmla="*/ 10 w 67"/>
              <a:gd name="T31" fmla="*/ 16 h 32"/>
              <a:gd name="T32" fmla="*/ 9 w 67"/>
              <a:gd name="T33" fmla="*/ 16 h 32"/>
              <a:gd name="T34" fmla="*/ 8 w 67"/>
              <a:gd name="T35" fmla="*/ 15 h 32"/>
              <a:gd name="T36" fmla="*/ 0 w 67"/>
              <a:gd name="T37" fmla="*/ 1 h 32"/>
              <a:gd name="T38" fmla="*/ 0 w 67"/>
              <a:gd name="T3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7" h="32">
                <a:moveTo>
                  <a:pt x="0" y="32"/>
                </a:moveTo>
                <a:cubicBezTo>
                  <a:pt x="67" y="32"/>
                  <a:pt x="67" y="32"/>
                  <a:pt x="67" y="32"/>
                </a:cubicBezTo>
                <a:cubicBezTo>
                  <a:pt x="67" y="0"/>
                  <a:pt x="67" y="0"/>
                  <a:pt x="67" y="0"/>
                </a:cubicBezTo>
                <a:cubicBezTo>
                  <a:pt x="60" y="15"/>
                  <a:pt x="60" y="15"/>
                  <a:pt x="60" y="15"/>
                </a:cubicBezTo>
                <a:cubicBezTo>
                  <a:pt x="59" y="16"/>
                  <a:pt x="59" y="16"/>
                  <a:pt x="59" y="16"/>
                </a:cubicBezTo>
                <a:cubicBezTo>
                  <a:pt x="58" y="16"/>
                  <a:pt x="58" y="16"/>
                  <a:pt x="58" y="16"/>
                </a:cubicBezTo>
                <a:cubicBezTo>
                  <a:pt x="56" y="16"/>
                  <a:pt x="56" y="16"/>
                  <a:pt x="56" y="16"/>
                </a:cubicBezTo>
                <a:cubicBezTo>
                  <a:pt x="39" y="16"/>
                  <a:pt x="39" y="16"/>
                  <a:pt x="39" y="16"/>
                </a:cubicBezTo>
                <a:cubicBezTo>
                  <a:pt x="39" y="16"/>
                  <a:pt x="39" y="17"/>
                  <a:pt x="39" y="17"/>
                </a:cubicBezTo>
                <a:cubicBezTo>
                  <a:pt x="39" y="18"/>
                  <a:pt x="39" y="19"/>
                  <a:pt x="39" y="20"/>
                </a:cubicBezTo>
                <a:cubicBezTo>
                  <a:pt x="38" y="21"/>
                  <a:pt x="36" y="22"/>
                  <a:pt x="34" y="22"/>
                </a:cubicBezTo>
                <a:cubicBezTo>
                  <a:pt x="32" y="22"/>
                  <a:pt x="31" y="21"/>
                  <a:pt x="30" y="20"/>
                </a:cubicBezTo>
                <a:cubicBezTo>
                  <a:pt x="29" y="19"/>
                  <a:pt x="29" y="18"/>
                  <a:pt x="29" y="17"/>
                </a:cubicBezTo>
                <a:cubicBezTo>
                  <a:pt x="29" y="17"/>
                  <a:pt x="29" y="16"/>
                  <a:pt x="29" y="16"/>
                </a:cubicBezTo>
                <a:cubicBezTo>
                  <a:pt x="12" y="16"/>
                  <a:pt x="12" y="16"/>
                  <a:pt x="12" y="16"/>
                </a:cubicBezTo>
                <a:cubicBezTo>
                  <a:pt x="10" y="16"/>
                  <a:pt x="10" y="16"/>
                  <a:pt x="10" y="16"/>
                </a:cubicBezTo>
                <a:cubicBezTo>
                  <a:pt x="9" y="16"/>
                  <a:pt x="9" y="16"/>
                  <a:pt x="9" y="16"/>
                </a:cubicBezTo>
                <a:cubicBezTo>
                  <a:pt x="8" y="15"/>
                  <a:pt x="8" y="15"/>
                  <a:pt x="8" y="15"/>
                </a:cubicBezTo>
                <a:cubicBezTo>
                  <a:pt x="0" y="1"/>
                  <a:pt x="0" y="1"/>
                  <a:pt x="0" y="1"/>
                </a:cubicBezTo>
                <a:lnTo>
                  <a:pt x="0" y="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5" name="íślídè">
            <a:extLst>
              <a:ext uri="{FF2B5EF4-FFF2-40B4-BE49-F238E27FC236}">
                <a16:creationId xmlns:a16="http://schemas.microsoft.com/office/drawing/2014/main" id="{04F3BB5A-15AD-47A6-86A5-2967BC63719E}"/>
              </a:ext>
            </a:extLst>
          </p:cNvPr>
          <p:cNvSpPr/>
          <p:nvPr/>
        </p:nvSpPr>
        <p:spPr bwMode="auto">
          <a:xfrm>
            <a:off x="8742304" y="5660567"/>
            <a:ext cx="244413" cy="113581"/>
          </a:xfrm>
          <a:custGeom>
            <a:avLst/>
            <a:gdLst>
              <a:gd name="T0" fmla="*/ 47 w 47"/>
              <a:gd name="T1" fmla="*/ 22 h 22"/>
              <a:gd name="T2" fmla="*/ 47 w 47"/>
              <a:gd name="T3" fmla="*/ 10 h 22"/>
              <a:gd name="T4" fmla="*/ 38 w 47"/>
              <a:gd name="T5" fmla="*/ 0 h 22"/>
              <a:gd name="T6" fmla="*/ 9 w 47"/>
              <a:gd name="T7" fmla="*/ 0 h 22"/>
              <a:gd name="T8" fmla="*/ 0 w 47"/>
              <a:gd name="T9" fmla="*/ 10 h 22"/>
              <a:gd name="T10" fmla="*/ 0 w 47"/>
              <a:gd name="T11" fmla="*/ 22 h 22"/>
              <a:gd name="T12" fmla="*/ 8 w 47"/>
              <a:gd name="T13" fmla="*/ 22 h 22"/>
              <a:gd name="T14" fmla="*/ 8 w 47"/>
              <a:gd name="T15" fmla="*/ 10 h 22"/>
              <a:gd name="T16" fmla="*/ 9 w 47"/>
              <a:gd name="T17" fmla="*/ 8 h 22"/>
              <a:gd name="T18" fmla="*/ 38 w 47"/>
              <a:gd name="T19" fmla="*/ 8 h 22"/>
              <a:gd name="T20" fmla="*/ 39 w 47"/>
              <a:gd name="T21" fmla="*/ 10 h 22"/>
              <a:gd name="T22" fmla="*/ 39 w 47"/>
              <a:gd name="T23" fmla="*/ 22 h 22"/>
              <a:gd name="T24" fmla="*/ 47 w 47"/>
              <a:gd name="T25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7" h="22">
                <a:moveTo>
                  <a:pt x="47" y="22"/>
                </a:moveTo>
                <a:cubicBezTo>
                  <a:pt x="47" y="10"/>
                  <a:pt x="47" y="10"/>
                  <a:pt x="47" y="10"/>
                </a:cubicBezTo>
                <a:cubicBezTo>
                  <a:pt x="47" y="5"/>
                  <a:pt x="43" y="0"/>
                  <a:pt x="38" y="0"/>
                </a:cubicBez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5"/>
                  <a:pt x="0" y="10"/>
                </a:cubicBezTo>
                <a:cubicBezTo>
                  <a:pt x="0" y="22"/>
                  <a:pt x="0" y="22"/>
                  <a:pt x="0" y="22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9"/>
                  <a:pt x="8" y="8"/>
                  <a:pt x="9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38" y="8"/>
                  <a:pt x="39" y="9"/>
                  <a:pt x="39" y="10"/>
                </a:cubicBezTo>
                <a:cubicBezTo>
                  <a:pt x="39" y="22"/>
                  <a:pt x="39" y="22"/>
                  <a:pt x="39" y="22"/>
                </a:cubicBezTo>
                <a:lnTo>
                  <a:pt x="47" y="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6" name="ïṧľiḋe">
            <a:extLst>
              <a:ext uri="{FF2B5EF4-FFF2-40B4-BE49-F238E27FC236}">
                <a16:creationId xmlns:a16="http://schemas.microsoft.com/office/drawing/2014/main" id="{067786BB-6701-4BC1-90D4-0761048DC590}"/>
              </a:ext>
            </a:extLst>
          </p:cNvPr>
          <p:cNvSpPr/>
          <p:nvPr/>
        </p:nvSpPr>
        <p:spPr bwMode="auto">
          <a:xfrm>
            <a:off x="7768964" y="2478876"/>
            <a:ext cx="362307" cy="362307"/>
          </a:xfrm>
          <a:custGeom>
            <a:avLst/>
            <a:gdLst>
              <a:gd name="T0" fmla="*/ 35 w 70"/>
              <a:gd name="T1" fmla="*/ 70 h 70"/>
              <a:gd name="T2" fmla="*/ 46 w 70"/>
              <a:gd name="T3" fmla="*/ 68 h 70"/>
              <a:gd name="T4" fmla="*/ 63 w 70"/>
              <a:gd name="T5" fmla="*/ 55 h 70"/>
              <a:gd name="T6" fmla="*/ 70 w 70"/>
              <a:gd name="T7" fmla="*/ 35 h 70"/>
              <a:gd name="T8" fmla="*/ 35 w 70"/>
              <a:gd name="T9" fmla="*/ 0 h 70"/>
              <a:gd name="T10" fmla="*/ 35 w 70"/>
              <a:gd name="T11" fmla="*/ 24 h 70"/>
              <a:gd name="T12" fmla="*/ 45 w 70"/>
              <a:gd name="T13" fmla="*/ 35 h 70"/>
              <a:gd name="T14" fmla="*/ 35 w 70"/>
              <a:gd name="T15" fmla="*/ 45 h 70"/>
              <a:gd name="T16" fmla="*/ 35 w 70"/>
              <a:gd name="T17" fmla="*/ 70 h 70"/>
              <a:gd name="T18" fmla="*/ 35 w 70"/>
              <a:gd name="T19" fmla="*/ 0 h 70"/>
              <a:gd name="T20" fmla="*/ 0 w 70"/>
              <a:gd name="T21" fmla="*/ 35 h 70"/>
              <a:gd name="T22" fmla="*/ 35 w 70"/>
              <a:gd name="T23" fmla="*/ 70 h 70"/>
              <a:gd name="T24" fmla="*/ 35 w 70"/>
              <a:gd name="T25" fmla="*/ 70 h 70"/>
              <a:gd name="T26" fmla="*/ 35 w 70"/>
              <a:gd name="T27" fmla="*/ 45 h 70"/>
              <a:gd name="T28" fmla="*/ 35 w 70"/>
              <a:gd name="T29" fmla="*/ 45 h 70"/>
              <a:gd name="T30" fmla="*/ 35 w 70"/>
              <a:gd name="T31" fmla="*/ 45 h 70"/>
              <a:gd name="T32" fmla="*/ 25 w 70"/>
              <a:gd name="T33" fmla="*/ 35 h 70"/>
              <a:gd name="T34" fmla="*/ 35 w 70"/>
              <a:gd name="T35" fmla="*/ 24 h 70"/>
              <a:gd name="T36" fmla="*/ 35 w 70"/>
              <a:gd name="T37" fmla="*/ 24 h 70"/>
              <a:gd name="T38" fmla="*/ 35 w 70"/>
              <a:gd name="T39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39" y="70"/>
                  <a:pt x="43" y="69"/>
                  <a:pt x="46" y="68"/>
                </a:cubicBezTo>
                <a:cubicBezTo>
                  <a:pt x="52" y="63"/>
                  <a:pt x="57" y="59"/>
                  <a:pt x="63" y="55"/>
                </a:cubicBezTo>
                <a:cubicBezTo>
                  <a:pt x="67" y="49"/>
                  <a:pt x="70" y="42"/>
                  <a:pt x="70" y="35"/>
                </a:cubicBezTo>
                <a:cubicBezTo>
                  <a:pt x="70" y="15"/>
                  <a:pt x="54" y="0"/>
                  <a:pt x="35" y="0"/>
                </a:cubicBezTo>
                <a:cubicBezTo>
                  <a:pt x="35" y="24"/>
                  <a:pt x="35" y="24"/>
                  <a:pt x="35" y="24"/>
                </a:cubicBezTo>
                <a:cubicBezTo>
                  <a:pt x="40" y="24"/>
                  <a:pt x="45" y="29"/>
                  <a:pt x="45" y="35"/>
                </a:cubicBezTo>
                <a:cubicBezTo>
                  <a:pt x="45" y="40"/>
                  <a:pt x="40" y="45"/>
                  <a:pt x="35" y="45"/>
                </a:cubicBezTo>
                <a:lnTo>
                  <a:pt x="35" y="70"/>
                </a:lnTo>
                <a:close/>
                <a:moveTo>
                  <a:pt x="35" y="0"/>
                </a:moveTo>
                <a:cubicBezTo>
                  <a:pt x="15" y="0"/>
                  <a:pt x="0" y="15"/>
                  <a:pt x="0" y="35"/>
                </a:cubicBezTo>
                <a:cubicBezTo>
                  <a:pt x="0" y="54"/>
                  <a:pt x="15" y="70"/>
                  <a:pt x="35" y="70"/>
                </a:cubicBezTo>
                <a:cubicBezTo>
                  <a:pt x="35" y="70"/>
                  <a:pt x="35" y="70"/>
                  <a:pt x="35" y="70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29" y="45"/>
                  <a:pt x="25" y="40"/>
                  <a:pt x="25" y="35"/>
                </a:cubicBezTo>
                <a:cubicBezTo>
                  <a:pt x="25" y="29"/>
                  <a:pt x="29" y="24"/>
                  <a:pt x="35" y="24"/>
                </a:cubicBezTo>
                <a:cubicBezTo>
                  <a:pt x="35" y="24"/>
                  <a:pt x="35" y="24"/>
                  <a:pt x="35" y="24"/>
                </a:cubicBezTo>
                <a:cubicBezTo>
                  <a:pt x="35" y="0"/>
                  <a:pt x="35" y="0"/>
                  <a:pt x="3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7" name="íṡļíḑè">
            <a:extLst>
              <a:ext uri="{FF2B5EF4-FFF2-40B4-BE49-F238E27FC236}">
                <a16:creationId xmlns:a16="http://schemas.microsoft.com/office/drawing/2014/main" id="{EABFAD75-3F27-40C0-A4CB-7AA37F04B026}"/>
              </a:ext>
            </a:extLst>
          </p:cNvPr>
          <p:cNvSpPr/>
          <p:nvPr/>
        </p:nvSpPr>
        <p:spPr bwMode="auto">
          <a:xfrm>
            <a:off x="7602187" y="2918821"/>
            <a:ext cx="301923" cy="254478"/>
          </a:xfrm>
          <a:custGeom>
            <a:avLst/>
            <a:gdLst>
              <a:gd name="T0" fmla="*/ 15 w 58"/>
              <a:gd name="T1" fmla="*/ 49 h 49"/>
              <a:gd name="T2" fmla="*/ 17 w 58"/>
              <a:gd name="T3" fmla="*/ 49 h 49"/>
              <a:gd name="T4" fmla="*/ 21 w 58"/>
              <a:gd name="T5" fmla="*/ 43 h 49"/>
              <a:gd name="T6" fmla="*/ 15 w 58"/>
              <a:gd name="T7" fmla="*/ 43 h 49"/>
              <a:gd name="T8" fmla="*/ 15 w 58"/>
              <a:gd name="T9" fmla="*/ 49 h 49"/>
              <a:gd name="T10" fmla="*/ 15 w 58"/>
              <a:gd name="T11" fmla="*/ 31 h 49"/>
              <a:gd name="T12" fmla="*/ 19 w 58"/>
              <a:gd name="T13" fmla="*/ 25 h 49"/>
              <a:gd name="T14" fmla="*/ 27 w 58"/>
              <a:gd name="T15" fmla="*/ 36 h 49"/>
              <a:gd name="T16" fmla="*/ 35 w 58"/>
              <a:gd name="T17" fmla="*/ 26 h 49"/>
              <a:gd name="T18" fmla="*/ 41 w 58"/>
              <a:gd name="T19" fmla="*/ 16 h 49"/>
              <a:gd name="T20" fmla="*/ 41 w 58"/>
              <a:gd name="T21" fmla="*/ 16 h 49"/>
              <a:gd name="T22" fmla="*/ 42 w 58"/>
              <a:gd name="T23" fmla="*/ 17 h 49"/>
              <a:gd name="T24" fmla="*/ 58 w 58"/>
              <a:gd name="T25" fmla="*/ 0 h 49"/>
              <a:gd name="T26" fmla="*/ 15 w 58"/>
              <a:gd name="T27" fmla="*/ 0 h 49"/>
              <a:gd name="T28" fmla="*/ 15 w 58"/>
              <a:gd name="T29" fmla="*/ 7 h 49"/>
              <a:gd name="T30" fmla="*/ 20 w 58"/>
              <a:gd name="T31" fmla="*/ 12 h 49"/>
              <a:gd name="T32" fmla="*/ 15 w 58"/>
              <a:gd name="T33" fmla="*/ 17 h 49"/>
              <a:gd name="T34" fmla="*/ 15 w 58"/>
              <a:gd name="T35" fmla="*/ 31 h 49"/>
              <a:gd name="T36" fmla="*/ 0 w 58"/>
              <a:gd name="T37" fmla="*/ 49 h 49"/>
              <a:gd name="T38" fmla="*/ 15 w 58"/>
              <a:gd name="T39" fmla="*/ 49 h 49"/>
              <a:gd name="T40" fmla="*/ 15 w 58"/>
              <a:gd name="T41" fmla="*/ 43 h 49"/>
              <a:gd name="T42" fmla="*/ 5 w 58"/>
              <a:gd name="T43" fmla="*/ 43 h 49"/>
              <a:gd name="T44" fmla="*/ 5 w 58"/>
              <a:gd name="T45" fmla="*/ 43 h 49"/>
              <a:gd name="T46" fmla="*/ 15 w 58"/>
              <a:gd name="T47" fmla="*/ 31 h 49"/>
              <a:gd name="T48" fmla="*/ 15 w 58"/>
              <a:gd name="T49" fmla="*/ 17 h 49"/>
              <a:gd name="T50" fmla="*/ 15 w 58"/>
              <a:gd name="T51" fmla="*/ 17 h 49"/>
              <a:gd name="T52" fmla="*/ 9 w 58"/>
              <a:gd name="T53" fmla="*/ 12 h 49"/>
              <a:gd name="T54" fmla="*/ 15 w 58"/>
              <a:gd name="T55" fmla="*/ 7 h 49"/>
              <a:gd name="T56" fmla="*/ 15 w 58"/>
              <a:gd name="T57" fmla="*/ 7 h 49"/>
              <a:gd name="T58" fmla="*/ 15 w 58"/>
              <a:gd name="T59" fmla="*/ 7 h 49"/>
              <a:gd name="T60" fmla="*/ 15 w 58"/>
              <a:gd name="T61" fmla="*/ 0 h 49"/>
              <a:gd name="T62" fmla="*/ 0 w 58"/>
              <a:gd name="T63" fmla="*/ 0 h 49"/>
              <a:gd name="T64" fmla="*/ 0 w 58"/>
              <a:gd name="T65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8" h="49">
                <a:moveTo>
                  <a:pt x="15" y="49"/>
                </a:moveTo>
                <a:cubicBezTo>
                  <a:pt x="17" y="49"/>
                  <a:pt x="17" y="49"/>
                  <a:pt x="17" y="49"/>
                </a:cubicBezTo>
                <a:cubicBezTo>
                  <a:pt x="18" y="47"/>
                  <a:pt x="20" y="45"/>
                  <a:pt x="21" y="43"/>
                </a:cubicBezTo>
                <a:cubicBezTo>
                  <a:pt x="15" y="43"/>
                  <a:pt x="15" y="43"/>
                  <a:pt x="15" y="43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5" y="31"/>
                </a:moveTo>
                <a:cubicBezTo>
                  <a:pt x="19" y="25"/>
                  <a:pt x="19" y="25"/>
                  <a:pt x="19" y="25"/>
                </a:cubicBezTo>
                <a:cubicBezTo>
                  <a:pt x="27" y="36"/>
                  <a:pt x="27" y="36"/>
                  <a:pt x="27" y="36"/>
                </a:cubicBezTo>
                <a:cubicBezTo>
                  <a:pt x="29" y="32"/>
                  <a:pt x="32" y="29"/>
                  <a:pt x="35" y="26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6"/>
                  <a:pt x="41" y="16"/>
                </a:cubicBezTo>
                <a:cubicBezTo>
                  <a:pt x="42" y="17"/>
                  <a:pt x="42" y="17"/>
                  <a:pt x="42" y="17"/>
                </a:cubicBezTo>
                <a:cubicBezTo>
                  <a:pt x="47" y="11"/>
                  <a:pt x="53" y="6"/>
                  <a:pt x="58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7"/>
                  <a:pt x="15" y="7"/>
                  <a:pt x="15" y="7"/>
                </a:cubicBezTo>
                <a:cubicBezTo>
                  <a:pt x="18" y="7"/>
                  <a:pt x="20" y="9"/>
                  <a:pt x="20" y="12"/>
                </a:cubicBezTo>
                <a:cubicBezTo>
                  <a:pt x="20" y="15"/>
                  <a:pt x="18" y="17"/>
                  <a:pt x="15" y="17"/>
                </a:cubicBezTo>
                <a:lnTo>
                  <a:pt x="15" y="31"/>
                </a:lnTo>
                <a:close/>
                <a:moveTo>
                  <a:pt x="0" y="49"/>
                </a:moveTo>
                <a:cubicBezTo>
                  <a:pt x="15" y="49"/>
                  <a:pt x="15" y="49"/>
                  <a:pt x="15" y="49"/>
                </a:cubicBezTo>
                <a:cubicBezTo>
                  <a:pt x="15" y="43"/>
                  <a:pt x="15" y="43"/>
                  <a:pt x="1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15" y="31"/>
                  <a:pt x="15" y="31"/>
                  <a:pt x="15" y="31"/>
                </a:cubicBezTo>
                <a:cubicBezTo>
                  <a:pt x="15" y="17"/>
                  <a:pt x="15" y="17"/>
                  <a:pt x="15" y="17"/>
                </a:cubicBezTo>
                <a:cubicBezTo>
                  <a:pt x="15" y="17"/>
                  <a:pt x="15" y="17"/>
                  <a:pt x="15" y="17"/>
                </a:cubicBezTo>
                <a:cubicBezTo>
                  <a:pt x="12" y="17"/>
                  <a:pt x="9" y="15"/>
                  <a:pt x="9" y="12"/>
                </a:cubicBezTo>
                <a:cubicBezTo>
                  <a:pt x="9" y="9"/>
                  <a:pt x="12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lnTo>
                  <a:pt x="0" y="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8" name="îṧlídé">
            <a:extLst>
              <a:ext uri="{FF2B5EF4-FFF2-40B4-BE49-F238E27FC236}">
                <a16:creationId xmlns:a16="http://schemas.microsoft.com/office/drawing/2014/main" id="{4942CB1B-451D-4CCF-8009-2CFCFCD35452}"/>
              </a:ext>
            </a:extLst>
          </p:cNvPr>
          <p:cNvSpPr/>
          <p:nvPr/>
        </p:nvSpPr>
        <p:spPr bwMode="auto">
          <a:xfrm>
            <a:off x="8270730" y="2353793"/>
            <a:ext cx="192655" cy="274606"/>
          </a:xfrm>
          <a:custGeom>
            <a:avLst/>
            <a:gdLst>
              <a:gd name="T0" fmla="*/ 37 w 37"/>
              <a:gd name="T1" fmla="*/ 35 h 53"/>
              <a:gd name="T2" fmla="*/ 37 w 37"/>
              <a:gd name="T3" fmla="*/ 0 h 53"/>
              <a:gd name="T4" fmla="*/ 19 w 37"/>
              <a:gd name="T5" fmla="*/ 0 h 53"/>
              <a:gd name="T6" fmla="*/ 0 w 37"/>
              <a:gd name="T7" fmla="*/ 49 h 53"/>
              <a:gd name="T8" fmla="*/ 10 w 37"/>
              <a:gd name="T9" fmla="*/ 53 h 53"/>
              <a:gd name="T10" fmla="*/ 34 w 37"/>
              <a:gd name="T11" fmla="*/ 43 h 53"/>
              <a:gd name="T12" fmla="*/ 37 w 37"/>
              <a:gd name="T13" fmla="*/ 35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53">
                <a:moveTo>
                  <a:pt x="37" y="35"/>
                </a:moveTo>
                <a:cubicBezTo>
                  <a:pt x="37" y="0"/>
                  <a:pt x="37" y="0"/>
                  <a:pt x="37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0" y="49"/>
                  <a:pt x="0" y="49"/>
                  <a:pt x="0" y="49"/>
                </a:cubicBezTo>
                <a:cubicBezTo>
                  <a:pt x="10" y="53"/>
                  <a:pt x="10" y="53"/>
                  <a:pt x="10" y="53"/>
                </a:cubicBezTo>
                <a:cubicBezTo>
                  <a:pt x="18" y="50"/>
                  <a:pt x="26" y="46"/>
                  <a:pt x="34" y="43"/>
                </a:cubicBezTo>
                <a:lnTo>
                  <a:pt x="37" y="3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29" name="iṥlîdé">
            <a:extLst>
              <a:ext uri="{FF2B5EF4-FFF2-40B4-BE49-F238E27FC236}">
                <a16:creationId xmlns:a16="http://schemas.microsoft.com/office/drawing/2014/main" id="{7D449EA8-A966-4DA7-AFBD-186F324735BC}"/>
              </a:ext>
            </a:extLst>
          </p:cNvPr>
          <p:cNvSpPr/>
          <p:nvPr/>
        </p:nvSpPr>
        <p:spPr bwMode="auto">
          <a:xfrm>
            <a:off x="8479201" y="2353793"/>
            <a:ext cx="35942" cy="99202"/>
          </a:xfrm>
          <a:custGeom>
            <a:avLst/>
            <a:gdLst>
              <a:gd name="T0" fmla="*/ 0 w 7"/>
              <a:gd name="T1" fmla="*/ 19 h 19"/>
              <a:gd name="T2" fmla="*/ 6 w 7"/>
              <a:gd name="T3" fmla="*/ 0 h 19"/>
              <a:gd name="T4" fmla="*/ 7 w 7"/>
              <a:gd name="T5" fmla="*/ 0 h 19"/>
              <a:gd name="T6" fmla="*/ 0 w 7"/>
              <a:gd name="T7" fmla="*/ 0 h 19"/>
              <a:gd name="T8" fmla="*/ 0 w 7"/>
              <a:gd name="T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9">
                <a:moveTo>
                  <a:pt x="0" y="19"/>
                </a:moveTo>
                <a:cubicBezTo>
                  <a:pt x="6" y="15"/>
                  <a:pt x="6" y="7"/>
                  <a:pt x="6" y="0"/>
                </a:cubicBezTo>
                <a:cubicBezTo>
                  <a:pt x="6" y="0"/>
                  <a:pt x="6" y="0"/>
                  <a:pt x="7" y="0"/>
                </a:cubicBezTo>
                <a:cubicBezTo>
                  <a:pt x="0" y="0"/>
                  <a:pt x="0" y="0"/>
                  <a:pt x="0" y="0"/>
                </a:cubicBezTo>
                <a:lnTo>
                  <a:pt x="0" y="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0" name="îṥľîḋè">
            <a:extLst>
              <a:ext uri="{FF2B5EF4-FFF2-40B4-BE49-F238E27FC236}">
                <a16:creationId xmlns:a16="http://schemas.microsoft.com/office/drawing/2014/main" id="{3A9440F8-C712-4C57-A23E-D0543A38F179}"/>
              </a:ext>
            </a:extLst>
          </p:cNvPr>
          <p:cNvSpPr/>
          <p:nvPr/>
        </p:nvSpPr>
        <p:spPr bwMode="auto">
          <a:xfrm>
            <a:off x="8479201" y="2353793"/>
            <a:ext cx="159588" cy="212784"/>
          </a:xfrm>
          <a:custGeom>
            <a:avLst/>
            <a:gdLst>
              <a:gd name="T0" fmla="*/ 9 w 31"/>
              <a:gd name="T1" fmla="*/ 0 h 41"/>
              <a:gd name="T2" fmla="*/ 9 w 31"/>
              <a:gd name="T3" fmla="*/ 0 h 41"/>
              <a:gd name="T4" fmla="*/ 0 w 31"/>
              <a:gd name="T5" fmla="*/ 21 h 41"/>
              <a:gd name="T6" fmla="*/ 0 w 31"/>
              <a:gd name="T7" fmla="*/ 35 h 41"/>
              <a:gd name="T8" fmla="*/ 2 w 31"/>
              <a:gd name="T9" fmla="*/ 41 h 41"/>
              <a:gd name="T10" fmla="*/ 31 w 31"/>
              <a:gd name="T11" fmla="*/ 32 h 41"/>
              <a:gd name="T12" fmla="*/ 18 w 31"/>
              <a:gd name="T13" fmla="*/ 0 h 41"/>
              <a:gd name="T14" fmla="*/ 9 w 31"/>
              <a:gd name="T15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41">
                <a:moveTo>
                  <a:pt x="9" y="0"/>
                </a:moveTo>
                <a:cubicBezTo>
                  <a:pt x="9" y="0"/>
                  <a:pt x="9" y="0"/>
                  <a:pt x="9" y="0"/>
                </a:cubicBezTo>
                <a:cubicBezTo>
                  <a:pt x="9" y="8"/>
                  <a:pt x="8" y="18"/>
                  <a:pt x="0" y="21"/>
                </a:cubicBezTo>
                <a:cubicBezTo>
                  <a:pt x="0" y="35"/>
                  <a:pt x="0" y="35"/>
                  <a:pt x="0" y="35"/>
                </a:cubicBezTo>
                <a:cubicBezTo>
                  <a:pt x="2" y="41"/>
                  <a:pt x="2" y="41"/>
                  <a:pt x="2" y="41"/>
                </a:cubicBezTo>
                <a:cubicBezTo>
                  <a:pt x="11" y="37"/>
                  <a:pt x="21" y="35"/>
                  <a:pt x="31" y="32"/>
                </a:cubicBezTo>
                <a:cubicBezTo>
                  <a:pt x="18" y="0"/>
                  <a:pt x="18" y="0"/>
                  <a:pt x="18" y="0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1" name="işļíḋe">
            <a:extLst>
              <a:ext uri="{FF2B5EF4-FFF2-40B4-BE49-F238E27FC236}">
                <a16:creationId xmlns:a16="http://schemas.microsoft.com/office/drawing/2014/main" id="{9C134F8F-3734-4DF8-991F-3FF4F4329F1C}"/>
              </a:ext>
            </a:extLst>
          </p:cNvPr>
          <p:cNvSpPr/>
          <p:nvPr/>
        </p:nvSpPr>
        <p:spPr bwMode="auto">
          <a:xfrm>
            <a:off x="8369933" y="2317851"/>
            <a:ext cx="201282" cy="25879"/>
          </a:xfrm>
          <a:custGeom>
            <a:avLst/>
            <a:gdLst>
              <a:gd name="T0" fmla="*/ 140 w 140"/>
              <a:gd name="T1" fmla="*/ 0 h 18"/>
              <a:gd name="T2" fmla="*/ 0 w 140"/>
              <a:gd name="T3" fmla="*/ 0 h 18"/>
              <a:gd name="T4" fmla="*/ 0 w 140"/>
              <a:gd name="T5" fmla="*/ 18 h 18"/>
              <a:gd name="T6" fmla="*/ 65 w 140"/>
              <a:gd name="T7" fmla="*/ 18 h 18"/>
              <a:gd name="T8" fmla="*/ 76 w 140"/>
              <a:gd name="T9" fmla="*/ 18 h 18"/>
              <a:gd name="T10" fmla="*/ 140 w 140"/>
              <a:gd name="T11" fmla="*/ 18 h 18"/>
              <a:gd name="T12" fmla="*/ 140 w 140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18">
                <a:moveTo>
                  <a:pt x="140" y="0"/>
                </a:moveTo>
                <a:lnTo>
                  <a:pt x="0" y="0"/>
                </a:lnTo>
                <a:lnTo>
                  <a:pt x="0" y="18"/>
                </a:lnTo>
                <a:lnTo>
                  <a:pt x="65" y="18"/>
                </a:lnTo>
                <a:lnTo>
                  <a:pt x="76" y="18"/>
                </a:lnTo>
                <a:lnTo>
                  <a:pt x="140" y="18"/>
                </a:lnTo>
                <a:lnTo>
                  <a:pt x="1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2" name="ïṧlïďê">
            <a:extLst>
              <a:ext uri="{FF2B5EF4-FFF2-40B4-BE49-F238E27FC236}">
                <a16:creationId xmlns:a16="http://schemas.microsoft.com/office/drawing/2014/main" id="{B3449839-4CDE-42A3-A4DF-65EBCCD00A20}"/>
              </a:ext>
            </a:extLst>
          </p:cNvPr>
          <p:cNvSpPr/>
          <p:nvPr/>
        </p:nvSpPr>
        <p:spPr bwMode="auto">
          <a:xfrm>
            <a:off x="7571994" y="5235000"/>
            <a:ext cx="290420" cy="171089"/>
          </a:xfrm>
          <a:custGeom>
            <a:avLst/>
            <a:gdLst>
              <a:gd name="T0" fmla="*/ 32 w 56"/>
              <a:gd name="T1" fmla="*/ 0 h 33"/>
              <a:gd name="T2" fmla="*/ 32 w 56"/>
              <a:gd name="T3" fmla="*/ 6 h 33"/>
              <a:gd name="T4" fmla="*/ 0 w 56"/>
              <a:gd name="T5" fmla="*/ 33 h 33"/>
              <a:gd name="T6" fmla="*/ 32 w 56"/>
              <a:gd name="T7" fmla="*/ 27 h 33"/>
              <a:gd name="T8" fmla="*/ 32 w 56"/>
              <a:gd name="T9" fmla="*/ 32 h 33"/>
              <a:gd name="T10" fmla="*/ 56 w 56"/>
              <a:gd name="T11" fmla="*/ 16 h 33"/>
              <a:gd name="T12" fmla="*/ 32 w 56"/>
              <a:gd name="T13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33">
                <a:moveTo>
                  <a:pt x="32" y="0"/>
                </a:moveTo>
                <a:cubicBezTo>
                  <a:pt x="32" y="6"/>
                  <a:pt x="32" y="6"/>
                  <a:pt x="32" y="6"/>
                </a:cubicBezTo>
                <a:cubicBezTo>
                  <a:pt x="4" y="6"/>
                  <a:pt x="0" y="33"/>
                  <a:pt x="0" y="33"/>
                </a:cubicBezTo>
                <a:cubicBezTo>
                  <a:pt x="0" y="33"/>
                  <a:pt x="9" y="27"/>
                  <a:pt x="32" y="27"/>
                </a:cubicBezTo>
                <a:cubicBezTo>
                  <a:pt x="32" y="32"/>
                  <a:pt x="32" y="32"/>
                  <a:pt x="32" y="32"/>
                </a:cubicBezTo>
                <a:cubicBezTo>
                  <a:pt x="56" y="16"/>
                  <a:pt x="56" y="16"/>
                  <a:pt x="56" y="16"/>
                </a:cubicBezTo>
                <a:lnTo>
                  <a:pt x="3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3" name="ïśľiḋe">
            <a:extLst>
              <a:ext uri="{FF2B5EF4-FFF2-40B4-BE49-F238E27FC236}">
                <a16:creationId xmlns:a16="http://schemas.microsoft.com/office/drawing/2014/main" id="{5B232058-530A-4A4C-BF29-3532F44204EA}"/>
              </a:ext>
            </a:extLst>
          </p:cNvPr>
          <p:cNvSpPr/>
          <p:nvPr/>
        </p:nvSpPr>
        <p:spPr bwMode="auto">
          <a:xfrm>
            <a:off x="7546116" y="5385961"/>
            <a:ext cx="284670" cy="171089"/>
          </a:xfrm>
          <a:custGeom>
            <a:avLst/>
            <a:gdLst>
              <a:gd name="T0" fmla="*/ 24 w 55"/>
              <a:gd name="T1" fmla="*/ 33 h 33"/>
              <a:gd name="T2" fmla="*/ 24 w 55"/>
              <a:gd name="T3" fmla="*/ 28 h 33"/>
              <a:gd name="T4" fmla="*/ 55 w 55"/>
              <a:gd name="T5" fmla="*/ 0 h 33"/>
              <a:gd name="T6" fmla="*/ 24 w 55"/>
              <a:gd name="T7" fmla="*/ 7 h 33"/>
              <a:gd name="T8" fmla="*/ 24 w 55"/>
              <a:gd name="T9" fmla="*/ 1 h 33"/>
              <a:gd name="T10" fmla="*/ 0 w 55"/>
              <a:gd name="T11" fmla="*/ 17 h 33"/>
              <a:gd name="T12" fmla="*/ 24 w 55"/>
              <a:gd name="T13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33">
                <a:moveTo>
                  <a:pt x="24" y="33"/>
                </a:moveTo>
                <a:cubicBezTo>
                  <a:pt x="24" y="28"/>
                  <a:pt x="24" y="28"/>
                  <a:pt x="24" y="28"/>
                </a:cubicBezTo>
                <a:cubicBezTo>
                  <a:pt x="52" y="28"/>
                  <a:pt x="55" y="0"/>
                  <a:pt x="55" y="0"/>
                </a:cubicBezTo>
                <a:cubicBezTo>
                  <a:pt x="55" y="0"/>
                  <a:pt x="47" y="7"/>
                  <a:pt x="24" y="7"/>
                </a:cubicBezTo>
                <a:cubicBezTo>
                  <a:pt x="24" y="1"/>
                  <a:pt x="24" y="1"/>
                  <a:pt x="24" y="1"/>
                </a:cubicBezTo>
                <a:cubicBezTo>
                  <a:pt x="0" y="17"/>
                  <a:pt x="0" y="17"/>
                  <a:pt x="0" y="17"/>
                </a:cubicBezTo>
                <a:lnTo>
                  <a:pt x="24" y="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4" name="îSlîḍé">
            <a:extLst>
              <a:ext uri="{FF2B5EF4-FFF2-40B4-BE49-F238E27FC236}">
                <a16:creationId xmlns:a16="http://schemas.microsoft.com/office/drawing/2014/main" id="{357C5ABB-1D79-4C16-BF06-DF4BCE9C2A45}"/>
              </a:ext>
            </a:extLst>
          </p:cNvPr>
          <p:cNvSpPr/>
          <p:nvPr/>
        </p:nvSpPr>
        <p:spPr bwMode="auto">
          <a:xfrm>
            <a:off x="9737211" y="2307786"/>
            <a:ext cx="238662" cy="238664"/>
          </a:xfrm>
          <a:custGeom>
            <a:avLst/>
            <a:gdLst>
              <a:gd name="T0" fmla="*/ 34 w 46"/>
              <a:gd name="T1" fmla="*/ 43 h 46"/>
              <a:gd name="T2" fmla="*/ 43 w 46"/>
              <a:gd name="T3" fmla="*/ 34 h 46"/>
              <a:gd name="T4" fmla="*/ 45 w 46"/>
              <a:gd name="T5" fmla="*/ 27 h 46"/>
              <a:gd name="T6" fmla="*/ 45 w 46"/>
              <a:gd name="T7" fmla="*/ 18 h 46"/>
              <a:gd name="T8" fmla="*/ 43 w 46"/>
              <a:gd name="T9" fmla="*/ 11 h 46"/>
              <a:gd name="T10" fmla="*/ 34 w 46"/>
              <a:gd name="T11" fmla="*/ 3 h 46"/>
              <a:gd name="T12" fmla="*/ 31 w 46"/>
              <a:gd name="T13" fmla="*/ 1 h 46"/>
              <a:gd name="T14" fmla="*/ 24 w 46"/>
              <a:gd name="T15" fmla="*/ 0 h 46"/>
              <a:gd name="T16" fmla="*/ 25 w 46"/>
              <a:gd name="T17" fmla="*/ 2 h 46"/>
              <a:gd name="T18" fmla="*/ 28 w 46"/>
              <a:gd name="T19" fmla="*/ 2 h 46"/>
              <a:gd name="T20" fmla="*/ 31 w 46"/>
              <a:gd name="T21" fmla="*/ 3 h 46"/>
              <a:gd name="T22" fmla="*/ 30 w 46"/>
              <a:gd name="T23" fmla="*/ 3 h 46"/>
              <a:gd name="T24" fmla="*/ 26 w 46"/>
              <a:gd name="T25" fmla="*/ 5 h 46"/>
              <a:gd name="T26" fmla="*/ 27 w 46"/>
              <a:gd name="T27" fmla="*/ 7 h 46"/>
              <a:gd name="T28" fmla="*/ 29 w 46"/>
              <a:gd name="T29" fmla="*/ 8 h 46"/>
              <a:gd name="T30" fmla="*/ 32 w 46"/>
              <a:gd name="T31" fmla="*/ 4 h 46"/>
              <a:gd name="T32" fmla="*/ 35 w 46"/>
              <a:gd name="T33" fmla="*/ 5 h 46"/>
              <a:gd name="T34" fmla="*/ 37 w 46"/>
              <a:gd name="T35" fmla="*/ 6 h 46"/>
              <a:gd name="T36" fmla="*/ 38 w 46"/>
              <a:gd name="T37" fmla="*/ 9 h 46"/>
              <a:gd name="T38" fmla="*/ 37 w 46"/>
              <a:gd name="T39" fmla="*/ 11 h 46"/>
              <a:gd name="T40" fmla="*/ 36 w 46"/>
              <a:gd name="T41" fmla="*/ 9 h 46"/>
              <a:gd name="T42" fmla="*/ 33 w 46"/>
              <a:gd name="T43" fmla="*/ 10 h 46"/>
              <a:gd name="T44" fmla="*/ 35 w 46"/>
              <a:gd name="T45" fmla="*/ 11 h 46"/>
              <a:gd name="T46" fmla="*/ 30 w 46"/>
              <a:gd name="T47" fmla="*/ 13 h 46"/>
              <a:gd name="T48" fmla="*/ 28 w 46"/>
              <a:gd name="T49" fmla="*/ 15 h 46"/>
              <a:gd name="T50" fmla="*/ 25 w 46"/>
              <a:gd name="T51" fmla="*/ 17 h 46"/>
              <a:gd name="T52" fmla="*/ 26 w 46"/>
              <a:gd name="T53" fmla="*/ 27 h 46"/>
              <a:gd name="T54" fmla="*/ 29 w 46"/>
              <a:gd name="T55" fmla="*/ 28 h 46"/>
              <a:gd name="T56" fmla="*/ 31 w 46"/>
              <a:gd name="T57" fmla="*/ 28 h 46"/>
              <a:gd name="T58" fmla="*/ 36 w 46"/>
              <a:gd name="T59" fmla="*/ 31 h 46"/>
              <a:gd name="T60" fmla="*/ 38 w 46"/>
              <a:gd name="T61" fmla="*/ 33 h 46"/>
              <a:gd name="T62" fmla="*/ 41 w 46"/>
              <a:gd name="T63" fmla="*/ 34 h 46"/>
              <a:gd name="T64" fmla="*/ 26 w 46"/>
              <a:gd name="T65" fmla="*/ 40 h 46"/>
              <a:gd name="T66" fmla="*/ 0 w 46"/>
              <a:gd name="T67" fmla="*/ 19 h 46"/>
              <a:gd name="T68" fmla="*/ 0 w 46"/>
              <a:gd name="T69" fmla="*/ 28 h 46"/>
              <a:gd name="T70" fmla="*/ 4 w 46"/>
              <a:gd name="T71" fmla="*/ 37 h 46"/>
              <a:gd name="T72" fmla="*/ 14 w 46"/>
              <a:gd name="T73" fmla="*/ 44 h 46"/>
              <a:gd name="T74" fmla="*/ 23 w 46"/>
              <a:gd name="T75" fmla="*/ 36 h 46"/>
              <a:gd name="T76" fmla="*/ 22 w 46"/>
              <a:gd name="T77" fmla="*/ 33 h 46"/>
              <a:gd name="T78" fmla="*/ 23 w 46"/>
              <a:gd name="T79" fmla="*/ 29 h 46"/>
              <a:gd name="T80" fmla="*/ 21 w 46"/>
              <a:gd name="T81" fmla="*/ 28 h 46"/>
              <a:gd name="T82" fmla="*/ 18 w 46"/>
              <a:gd name="T83" fmla="*/ 26 h 46"/>
              <a:gd name="T84" fmla="*/ 13 w 46"/>
              <a:gd name="T85" fmla="*/ 24 h 46"/>
              <a:gd name="T86" fmla="*/ 11 w 46"/>
              <a:gd name="T87" fmla="*/ 20 h 46"/>
              <a:gd name="T88" fmla="*/ 10 w 46"/>
              <a:gd name="T89" fmla="*/ 20 h 46"/>
              <a:gd name="T90" fmla="*/ 9 w 46"/>
              <a:gd name="T91" fmla="*/ 21 h 46"/>
              <a:gd name="T92" fmla="*/ 8 w 46"/>
              <a:gd name="T93" fmla="*/ 17 h 46"/>
              <a:gd name="T94" fmla="*/ 8 w 46"/>
              <a:gd name="T95" fmla="*/ 13 h 46"/>
              <a:gd name="T96" fmla="*/ 10 w 46"/>
              <a:gd name="T97" fmla="*/ 9 h 46"/>
              <a:gd name="T98" fmla="*/ 9 w 46"/>
              <a:gd name="T99" fmla="*/ 6 h 46"/>
              <a:gd name="T100" fmla="*/ 20 w 46"/>
              <a:gd name="T101" fmla="*/ 1 h 46"/>
              <a:gd name="T102" fmla="*/ 24 w 46"/>
              <a:gd name="T103" fmla="*/ 0 h 46"/>
              <a:gd name="T104" fmla="*/ 14 w 46"/>
              <a:gd name="T105" fmla="*/ 1 h 46"/>
              <a:gd name="T106" fmla="*/ 6 w 46"/>
              <a:gd name="T107" fmla="*/ 6 h 46"/>
              <a:gd name="T108" fmla="*/ 1 w 46"/>
              <a:gd name="T109" fmla="*/ 14 h 46"/>
              <a:gd name="T110" fmla="*/ 24 w 46"/>
              <a:gd name="T111" fmla="*/ 29 h 46"/>
              <a:gd name="T112" fmla="*/ 21 w 46"/>
              <a:gd name="T113" fmla="*/ 25 h 46"/>
              <a:gd name="T114" fmla="*/ 20 w 46"/>
              <a:gd name="T115" fmla="*/ 23 h 46"/>
              <a:gd name="T116" fmla="*/ 16 w 46"/>
              <a:gd name="T117" fmla="*/ 24 h 46"/>
              <a:gd name="T118" fmla="*/ 18 w 46"/>
              <a:gd name="T119" fmla="*/ 19 h 46"/>
              <a:gd name="T120" fmla="*/ 22 w 46"/>
              <a:gd name="T121" fmla="*/ 19 h 46"/>
              <a:gd name="T122" fmla="*/ 24 w 46"/>
              <a:gd name="T123" fmla="*/ 1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6" h="46">
                <a:moveTo>
                  <a:pt x="24" y="46"/>
                </a:moveTo>
                <a:cubicBezTo>
                  <a:pt x="25" y="46"/>
                  <a:pt x="27" y="45"/>
                  <a:pt x="28" y="45"/>
                </a:cubicBezTo>
                <a:cubicBezTo>
                  <a:pt x="29" y="45"/>
                  <a:pt x="29" y="45"/>
                  <a:pt x="30" y="45"/>
                </a:cubicBezTo>
                <a:cubicBezTo>
                  <a:pt x="30" y="44"/>
                  <a:pt x="31" y="44"/>
                  <a:pt x="31" y="44"/>
                </a:cubicBezTo>
                <a:cubicBezTo>
                  <a:pt x="32" y="44"/>
                  <a:pt x="32" y="44"/>
                  <a:pt x="33" y="43"/>
                </a:cubicBezTo>
                <a:cubicBezTo>
                  <a:pt x="33" y="43"/>
                  <a:pt x="34" y="43"/>
                  <a:pt x="34" y="43"/>
                </a:cubicBezTo>
                <a:cubicBezTo>
                  <a:pt x="36" y="42"/>
                  <a:pt x="37" y="41"/>
                  <a:pt x="38" y="40"/>
                </a:cubicBezTo>
                <a:cubicBezTo>
                  <a:pt x="38" y="40"/>
                  <a:pt x="39" y="39"/>
                  <a:pt x="39" y="39"/>
                </a:cubicBezTo>
                <a:cubicBezTo>
                  <a:pt x="39" y="39"/>
                  <a:pt x="39" y="39"/>
                  <a:pt x="40" y="38"/>
                </a:cubicBezTo>
                <a:cubicBezTo>
                  <a:pt x="40" y="38"/>
                  <a:pt x="40" y="37"/>
                  <a:pt x="41" y="37"/>
                </a:cubicBezTo>
                <a:cubicBezTo>
                  <a:pt x="41" y="36"/>
                  <a:pt x="42" y="36"/>
                  <a:pt x="42" y="35"/>
                </a:cubicBezTo>
                <a:cubicBezTo>
                  <a:pt x="42" y="35"/>
                  <a:pt x="43" y="34"/>
                  <a:pt x="43" y="34"/>
                </a:cubicBezTo>
                <a:cubicBezTo>
                  <a:pt x="43" y="34"/>
                  <a:pt x="43" y="34"/>
                  <a:pt x="43" y="33"/>
                </a:cubicBezTo>
                <a:cubicBezTo>
                  <a:pt x="43" y="33"/>
                  <a:pt x="43" y="33"/>
                  <a:pt x="43" y="33"/>
                </a:cubicBezTo>
                <a:cubicBezTo>
                  <a:pt x="44" y="32"/>
                  <a:pt x="44" y="32"/>
                  <a:pt x="44" y="32"/>
                </a:cubicBezTo>
                <a:cubicBezTo>
                  <a:pt x="44" y="31"/>
                  <a:pt x="44" y="31"/>
                  <a:pt x="44" y="31"/>
                </a:cubicBezTo>
                <a:cubicBezTo>
                  <a:pt x="45" y="30"/>
                  <a:pt x="45" y="29"/>
                  <a:pt x="45" y="28"/>
                </a:cubicBezTo>
                <a:cubicBezTo>
                  <a:pt x="45" y="28"/>
                  <a:pt x="45" y="28"/>
                  <a:pt x="45" y="27"/>
                </a:cubicBezTo>
                <a:cubicBezTo>
                  <a:pt x="45" y="27"/>
                  <a:pt x="45" y="27"/>
                  <a:pt x="45" y="26"/>
                </a:cubicBezTo>
                <a:cubicBezTo>
                  <a:pt x="45" y="26"/>
                  <a:pt x="46" y="25"/>
                  <a:pt x="46" y="25"/>
                </a:cubicBezTo>
                <a:cubicBezTo>
                  <a:pt x="46" y="24"/>
                  <a:pt x="46" y="23"/>
                  <a:pt x="46" y="23"/>
                </a:cubicBezTo>
                <a:cubicBezTo>
                  <a:pt x="46" y="22"/>
                  <a:pt x="46" y="21"/>
                  <a:pt x="46" y="20"/>
                </a:cubicBezTo>
                <a:cubicBezTo>
                  <a:pt x="46" y="20"/>
                  <a:pt x="46" y="20"/>
                  <a:pt x="45" y="19"/>
                </a:cubicBezTo>
                <a:cubicBezTo>
                  <a:pt x="45" y="19"/>
                  <a:pt x="45" y="18"/>
                  <a:pt x="45" y="18"/>
                </a:cubicBezTo>
                <a:cubicBezTo>
                  <a:pt x="45" y="18"/>
                  <a:pt x="45" y="17"/>
                  <a:pt x="45" y="17"/>
                </a:cubicBezTo>
                <a:cubicBezTo>
                  <a:pt x="45" y="16"/>
                  <a:pt x="45" y="15"/>
                  <a:pt x="44" y="15"/>
                </a:cubicBezTo>
                <a:cubicBezTo>
                  <a:pt x="44" y="15"/>
                  <a:pt x="44" y="14"/>
                  <a:pt x="44" y="14"/>
                </a:cubicBezTo>
                <a:cubicBezTo>
                  <a:pt x="44" y="14"/>
                  <a:pt x="44" y="13"/>
                  <a:pt x="43" y="13"/>
                </a:cubicBezTo>
                <a:cubicBezTo>
                  <a:pt x="43" y="13"/>
                  <a:pt x="43" y="12"/>
                  <a:pt x="43" y="12"/>
                </a:cubicBezTo>
                <a:cubicBezTo>
                  <a:pt x="43" y="12"/>
                  <a:pt x="43" y="12"/>
                  <a:pt x="43" y="11"/>
                </a:cubicBezTo>
                <a:cubicBezTo>
                  <a:pt x="42" y="10"/>
                  <a:pt x="41" y="9"/>
                  <a:pt x="41" y="8"/>
                </a:cubicBezTo>
                <a:cubicBezTo>
                  <a:pt x="40" y="8"/>
                  <a:pt x="40" y="8"/>
                  <a:pt x="40" y="7"/>
                </a:cubicBezTo>
                <a:cubicBezTo>
                  <a:pt x="39" y="7"/>
                  <a:pt x="39" y="7"/>
                  <a:pt x="39" y="6"/>
                </a:cubicBezTo>
                <a:cubicBezTo>
                  <a:pt x="39" y="6"/>
                  <a:pt x="38" y="6"/>
                  <a:pt x="38" y="6"/>
                </a:cubicBezTo>
                <a:cubicBezTo>
                  <a:pt x="38" y="5"/>
                  <a:pt x="37" y="5"/>
                  <a:pt x="36" y="4"/>
                </a:cubicBezTo>
                <a:cubicBezTo>
                  <a:pt x="36" y="4"/>
                  <a:pt x="35" y="3"/>
                  <a:pt x="34" y="3"/>
                </a:cubicBezTo>
                <a:cubicBezTo>
                  <a:pt x="34" y="2"/>
                  <a:pt x="33" y="2"/>
                  <a:pt x="33" y="2"/>
                </a:cubicBezTo>
                <a:cubicBezTo>
                  <a:pt x="33" y="2"/>
                  <a:pt x="33" y="2"/>
                  <a:pt x="33" y="2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1" y="1"/>
                  <a:pt x="31" y="1"/>
                </a:cubicBezTo>
                <a:cubicBezTo>
                  <a:pt x="31" y="1"/>
                  <a:pt x="31" y="1"/>
                  <a:pt x="31" y="1"/>
                </a:cubicBezTo>
                <a:cubicBezTo>
                  <a:pt x="31" y="1"/>
                  <a:pt x="30" y="1"/>
                  <a:pt x="30" y="1"/>
                </a:cubicBezTo>
                <a:cubicBezTo>
                  <a:pt x="30" y="1"/>
                  <a:pt x="30" y="1"/>
                  <a:pt x="30" y="1"/>
                </a:cubicBezTo>
                <a:cubicBezTo>
                  <a:pt x="29" y="1"/>
                  <a:pt x="29" y="0"/>
                  <a:pt x="28" y="0"/>
                </a:cubicBezTo>
                <a:cubicBezTo>
                  <a:pt x="28" y="0"/>
                  <a:pt x="27" y="0"/>
                  <a:pt x="2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6" y="0"/>
                  <a:pt x="25" y="0"/>
                  <a:pt x="24" y="0"/>
                </a:cubicBezTo>
                <a:cubicBezTo>
                  <a:pt x="24" y="1"/>
                  <a:pt x="24" y="1"/>
                  <a:pt x="24" y="1"/>
                </a:cubicBezTo>
                <a:cubicBezTo>
                  <a:pt x="25" y="1"/>
                  <a:pt x="26" y="1"/>
                  <a:pt x="27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2"/>
                  <a:pt x="25" y="2"/>
                  <a:pt x="25" y="2"/>
                </a:cubicBezTo>
                <a:cubicBezTo>
                  <a:pt x="25" y="2"/>
                  <a:pt x="25" y="2"/>
                  <a:pt x="25" y="2"/>
                </a:cubicBezTo>
                <a:cubicBezTo>
                  <a:pt x="26" y="2"/>
                  <a:pt x="26" y="2"/>
                  <a:pt x="26" y="2"/>
                </a:cubicBezTo>
                <a:cubicBezTo>
                  <a:pt x="27" y="2"/>
                  <a:pt x="27" y="2"/>
                  <a:pt x="27" y="2"/>
                </a:cubicBezTo>
                <a:cubicBezTo>
                  <a:pt x="27" y="2"/>
                  <a:pt x="27" y="2"/>
                  <a:pt x="27" y="2"/>
                </a:cubicBezTo>
                <a:cubicBezTo>
                  <a:pt x="27" y="2"/>
                  <a:pt x="28" y="1"/>
                  <a:pt x="28" y="1"/>
                </a:cubicBezTo>
                <a:cubicBezTo>
                  <a:pt x="28" y="1"/>
                  <a:pt x="28" y="2"/>
                  <a:pt x="28" y="2"/>
                </a:cubicBezTo>
                <a:cubicBezTo>
                  <a:pt x="28" y="2"/>
                  <a:pt x="28" y="2"/>
                  <a:pt x="28" y="2"/>
                </a:cubicBezTo>
                <a:cubicBezTo>
                  <a:pt x="28" y="2"/>
                  <a:pt x="29" y="2"/>
                  <a:pt x="29" y="2"/>
                </a:cubicBezTo>
                <a:cubicBezTo>
                  <a:pt x="29" y="2"/>
                  <a:pt x="29" y="2"/>
                  <a:pt x="29" y="2"/>
                </a:cubicBezTo>
                <a:cubicBezTo>
                  <a:pt x="29" y="2"/>
                  <a:pt x="30" y="2"/>
                  <a:pt x="30" y="2"/>
                </a:cubicBezTo>
                <a:cubicBezTo>
                  <a:pt x="30" y="2"/>
                  <a:pt x="31" y="2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31" y="3"/>
                  <a:pt x="32" y="3"/>
                  <a:pt x="32" y="4"/>
                </a:cubicBezTo>
                <a:cubicBezTo>
                  <a:pt x="31" y="4"/>
                  <a:pt x="31" y="4"/>
                  <a:pt x="31" y="4"/>
                </a:cubicBezTo>
                <a:cubicBezTo>
                  <a:pt x="30" y="4"/>
                  <a:pt x="30" y="4"/>
                  <a:pt x="30" y="4"/>
                </a:cubicBezTo>
                <a:cubicBezTo>
                  <a:pt x="30" y="3"/>
                  <a:pt x="30" y="3"/>
                  <a:pt x="30" y="3"/>
                </a:cubicBezTo>
                <a:cubicBezTo>
                  <a:pt x="30" y="3"/>
                  <a:pt x="30" y="3"/>
                  <a:pt x="30" y="3"/>
                </a:cubicBezTo>
                <a:cubicBezTo>
                  <a:pt x="30" y="3"/>
                  <a:pt x="30" y="3"/>
                  <a:pt x="30" y="3"/>
                </a:cubicBezTo>
                <a:cubicBezTo>
                  <a:pt x="29" y="3"/>
                  <a:pt x="29" y="4"/>
                  <a:pt x="29" y="4"/>
                </a:cubicBezTo>
                <a:cubicBezTo>
                  <a:pt x="29" y="4"/>
                  <a:pt x="29" y="4"/>
                  <a:pt x="29" y="4"/>
                </a:cubicBezTo>
                <a:cubicBezTo>
                  <a:pt x="28" y="4"/>
                  <a:pt x="28" y="4"/>
                  <a:pt x="28" y="4"/>
                </a:cubicBezTo>
                <a:cubicBezTo>
                  <a:pt x="28" y="4"/>
                  <a:pt x="27" y="4"/>
                  <a:pt x="27" y="4"/>
                </a:cubicBezTo>
                <a:cubicBezTo>
                  <a:pt x="27" y="4"/>
                  <a:pt x="27" y="4"/>
                  <a:pt x="26" y="5"/>
                </a:cubicBezTo>
                <a:cubicBezTo>
                  <a:pt x="26" y="5"/>
                  <a:pt x="26" y="5"/>
                  <a:pt x="25" y="5"/>
                </a:cubicBezTo>
                <a:cubicBezTo>
                  <a:pt x="25" y="5"/>
                  <a:pt x="25" y="6"/>
                  <a:pt x="25" y="6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7"/>
                  <a:pt x="26" y="6"/>
                  <a:pt x="26" y="6"/>
                </a:cubicBezTo>
                <a:cubicBezTo>
                  <a:pt x="26" y="6"/>
                  <a:pt x="26" y="7"/>
                  <a:pt x="27" y="7"/>
                </a:cubicBezTo>
                <a:cubicBezTo>
                  <a:pt x="27" y="7"/>
                  <a:pt x="27" y="7"/>
                  <a:pt x="28" y="7"/>
                </a:cubicBezTo>
                <a:cubicBezTo>
                  <a:pt x="28" y="7"/>
                  <a:pt x="28" y="7"/>
                  <a:pt x="28" y="7"/>
                </a:cubicBezTo>
                <a:cubicBezTo>
                  <a:pt x="28" y="8"/>
                  <a:pt x="28" y="8"/>
                  <a:pt x="28" y="8"/>
                </a:cubicBezTo>
                <a:cubicBezTo>
                  <a:pt x="28" y="8"/>
                  <a:pt x="28" y="8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9" y="9"/>
                  <a:pt x="29" y="9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30" y="8"/>
                  <a:pt x="31" y="7"/>
                  <a:pt x="31" y="6"/>
                </a:cubicBezTo>
                <a:cubicBezTo>
                  <a:pt x="31" y="6"/>
                  <a:pt x="31" y="6"/>
                  <a:pt x="31" y="5"/>
                </a:cubicBezTo>
                <a:cubicBezTo>
                  <a:pt x="31" y="5"/>
                  <a:pt x="32" y="5"/>
                  <a:pt x="32" y="5"/>
                </a:cubicBezTo>
                <a:cubicBezTo>
                  <a:pt x="32" y="5"/>
                  <a:pt x="32" y="5"/>
                  <a:pt x="32" y="5"/>
                </a:cubicBezTo>
                <a:cubicBezTo>
                  <a:pt x="32" y="4"/>
                  <a:pt x="32" y="4"/>
                  <a:pt x="32" y="4"/>
                </a:cubicBezTo>
                <a:cubicBezTo>
                  <a:pt x="32" y="4"/>
                  <a:pt x="32" y="4"/>
                  <a:pt x="32" y="4"/>
                </a:cubicBezTo>
                <a:cubicBezTo>
                  <a:pt x="32" y="4"/>
                  <a:pt x="32" y="4"/>
                  <a:pt x="33" y="4"/>
                </a:cubicBezTo>
                <a:cubicBezTo>
                  <a:pt x="33" y="4"/>
                  <a:pt x="33" y="4"/>
                  <a:pt x="33" y="4"/>
                </a:cubicBezTo>
                <a:cubicBezTo>
                  <a:pt x="33" y="4"/>
                  <a:pt x="34" y="4"/>
                  <a:pt x="34" y="4"/>
                </a:cubicBezTo>
                <a:cubicBezTo>
                  <a:pt x="34" y="4"/>
                  <a:pt x="34" y="5"/>
                  <a:pt x="34" y="5"/>
                </a:cubicBezTo>
                <a:cubicBezTo>
                  <a:pt x="34" y="5"/>
                  <a:pt x="35" y="5"/>
                  <a:pt x="35" y="5"/>
                </a:cubicBezTo>
                <a:cubicBezTo>
                  <a:pt x="35" y="5"/>
                  <a:pt x="34" y="5"/>
                  <a:pt x="34" y="5"/>
                </a:cubicBezTo>
                <a:cubicBezTo>
                  <a:pt x="34" y="5"/>
                  <a:pt x="34" y="5"/>
                  <a:pt x="34" y="5"/>
                </a:cubicBezTo>
                <a:cubicBezTo>
                  <a:pt x="34" y="6"/>
                  <a:pt x="35" y="6"/>
                  <a:pt x="35" y="6"/>
                </a:cubicBezTo>
                <a:cubicBezTo>
                  <a:pt x="35" y="6"/>
                  <a:pt x="35" y="6"/>
                  <a:pt x="35" y="6"/>
                </a:cubicBezTo>
                <a:cubicBezTo>
                  <a:pt x="36" y="6"/>
                  <a:pt x="36" y="5"/>
                  <a:pt x="36" y="5"/>
                </a:cubicBezTo>
                <a:cubicBezTo>
                  <a:pt x="36" y="6"/>
                  <a:pt x="36" y="6"/>
                  <a:pt x="37" y="6"/>
                </a:cubicBezTo>
                <a:cubicBezTo>
                  <a:pt x="37" y="6"/>
                  <a:pt x="37" y="6"/>
                  <a:pt x="37" y="6"/>
                </a:cubicBezTo>
                <a:cubicBezTo>
                  <a:pt x="37" y="6"/>
                  <a:pt x="37" y="7"/>
                  <a:pt x="37" y="7"/>
                </a:cubicBezTo>
                <a:cubicBezTo>
                  <a:pt x="37" y="7"/>
                  <a:pt x="37" y="7"/>
                  <a:pt x="37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38" y="9"/>
                  <a:pt x="38" y="9"/>
                  <a:pt x="38" y="9"/>
                </a:cubicBezTo>
                <a:cubicBezTo>
                  <a:pt x="37" y="9"/>
                  <a:pt x="37" y="9"/>
                  <a:pt x="37" y="10"/>
                </a:cubicBezTo>
                <a:cubicBezTo>
                  <a:pt x="37" y="10"/>
                  <a:pt x="38" y="10"/>
                  <a:pt x="38" y="10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11"/>
                  <a:pt x="38" y="11"/>
                  <a:pt x="38" y="11"/>
                </a:cubicBezTo>
                <a:cubicBezTo>
                  <a:pt x="38" y="11"/>
                  <a:pt x="38" y="11"/>
                  <a:pt x="37" y="11"/>
                </a:cubicBezTo>
                <a:cubicBezTo>
                  <a:pt x="37" y="11"/>
                  <a:pt x="37" y="11"/>
                  <a:pt x="37" y="11"/>
                </a:cubicBezTo>
                <a:cubicBezTo>
                  <a:pt x="37" y="11"/>
                  <a:pt x="37" y="11"/>
                  <a:pt x="37" y="11"/>
                </a:cubicBezTo>
                <a:cubicBezTo>
                  <a:pt x="36" y="11"/>
                  <a:pt x="36" y="11"/>
                  <a:pt x="36" y="11"/>
                </a:cubicBezTo>
                <a:cubicBezTo>
                  <a:pt x="36" y="10"/>
                  <a:pt x="36" y="10"/>
                  <a:pt x="37" y="9"/>
                </a:cubicBezTo>
                <a:cubicBezTo>
                  <a:pt x="37" y="9"/>
                  <a:pt x="37" y="9"/>
                  <a:pt x="37" y="9"/>
                </a:cubicBezTo>
                <a:cubicBezTo>
                  <a:pt x="37" y="9"/>
                  <a:pt x="37" y="9"/>
                  <a:pt x="36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5" y="10"/>
                  <a:pt x="35" y="9"/>
                  <a:pt x="34" y="10"/>
                </a:cubicBezTo>
                <a:cubicBezTo>
                  <a:pt x="34" y="10"/>
                  <a:pt x="35" y="10"/>
                  <a:pt x="35" y="10"/>
                </a:cubicBezTo>
                <a:cubicBezTo>
                  <a:pt x="35" y="10"/>
                  <a:pt x="34" y="10"/>
                  <a:pt x="34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9"/>
                  <a:pt x="34" y="9"/>
                  <a:pt x="33" y="9"/>
                </a:cubicBezTo>
                <a:cubicBezTo>
                  <a:pt x="33" y="10"/>
                  <a:pt x="33" y="10"/>
                  <a:pt x="33" y="10"/>
                </a:cubicBezTo>
                <a:cubicBezTo>
                  <a:pt x="33" y="10"/>
                  <a:pt x="34" y="10"/>
                  <a:pt x="34" y="10"/>
                </a:cubicBezTo>
                <a:cubicBezTo>
                  <a:pt x="34" y="10"/>
                  <a:pt x="33" y="11"/>
                  <a:pt x="33" y="11"/>
                </a:cubicBezTo>
                <a:cubicBezTo>
                  <a:pt x="33" y="11"/>
                  <a:pt x="33" y="11"/>
                  <a:pt x="34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4" y="11"/>
                  <a:pt x="35" y="11"/>
                  <a:pt x="35" y="11"/>
                </a:cubicBezTo>
                <a:cubicBezTo>
                  <a:pt x="35" y="11"/>
                  <a:pt x="35" y="12"/>
                  <a:pt x="34" y="12"/>
                </a:cubicBezTo>
                <a:cubicBezTo>
                  <a:pt x="34" y="12"/>
                  <a:pt x="33" y="12"/>
                  <a:pt x="33" y="12"/>
                </a:cubicBezTo>
                <a:cubicBezTo>
                  <a:pt x="33" y="12"/>
                  <a:pt x="32" y="13"/>
                  <a:pt x="32" y="12"/>
                </a:cubicBezTo>
                <a:cubicBezTo>
                  <a:pt x="32" y="12"/>
                  <a:pt x="32" y="12"/>
                  <a:pt x="33" y="12"/>
                </a:cubicBezTo>
                <a:cubicBezTo>
                  <a:pt x="32" y="12"/>
                  <a:pt x="32" y="12"/>
                  <a:pt x="31" y="12"/>
                </a:cubicBezTo>
                <a:cubicBezTo>
                  <a:pt x="31" y="12"/>
                  <a:pt x="30" y="12"/>
                  <a:pt x="30" y="13"/>
                </a:cubicBezTo>
                <a:cubicBezTo>
                  <a:pt x="30" y="13"/>
                  <a:pt x="30" y="13"/>
                  <a:pt x="30" y="13"/>
                </a:cubicBezTo>
                <a:cubicBezTo>
                  <a:pt x="30" y="13"/>
                  <a:pt x="30" y="13"/>
                  <a:pt x="29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4"/>
                  <a:pt x="28" y="14"/>
                  <a:pt x="28" y="14"/>
                </a:cubicBezTo>
                <a:cubicBezTo>
                  <a:pt x="28" y="14"/>
                  <a:pt x="28" y="14"/>
                  <a:pt x="28" y="14"/>
                </a:cubicBezTo>
                <a:cubicBezTo>
                  <a:pt x="28" y="14"/>
                  <a:pt x="28" y="14"/>
                  <a:pt x="28" y="15"/>
                </a:cubicBezTo>
                <a:cubicBezTo>
                  <a:pt x="27" y="15"/>
                  <a:pt x="27" y="15"/>
                  <a:pt x="27" y="15"/>
                </a:cubicBezTo>
                <a:cubicBezTo>
                  <a:pt x="27" y="15"/>
                  <a:pt x="27" y="15"/>
                  <a:pt x="27" y="15"/>
                </a:cubicBezTo>
                <a:cubicBezTo>
                  <a:pt x="27" y="15"/>
                  <a:pt x="27" y="16"/>
                  <a:pt x="27" y="16"/>
                </a:cubicBezTo>
                <a:cubicBezTo>
                  <a:pt x="26" y="16"/>
                  <a:pt x="26" y="17"/>
                  <a:pt x="26" y="17"/>
                </a:cubicBezTo>
                <a:cubicBezTo>
                  <a:pt x="26" y="17"/>
                  <a:pt x="25" y="17"/>
                  <a:pt x="25" y="17"/>
                </a:cubicBezTo>
                <a:cubicBezTo>
                  <a:pt x="25" y="17"/>
                  <a:pt x="25" y="17"/>
                  <a:pt x="25" y="17"/>
                </a:cubicBezTo>
                <a:cubicBezTo>
                  <a:pt x="24" y="17"/>
                  <a:pt x="24" y="18"/>
                  <a:pt x="24" y="18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28"/>
                  <a:pt x="24" y="28"/>
                  <a:pt x="25" y="28"/>
                </a:cubicBezTo>
                <a:cubicBezTo>
                  <a:pt x="25" y="28"/>
                  <a:pt x="25" y="28"/>
                  <a:pt x="25" y="27"/>
                </a:cubicBezTo>
                <a:cubicBezTo>
                  <a:pt x="25" y="27"/>
                  <a:pt x="25" y="27"/>
                  <a:pt x="26" y="27"/>
                </a:cubicBezTo>
                <a:cubicBezTo>
                  <a:pt x="26" y="27"/>
                  <a:pt x="26" y="27"/>
                  <a:pt x="26" y="27"/>
                </a:cubicBezTo>
                <a:cubicBezTo>
                  <a:pt x="26" y="27"/>
                  <a:pt x="26" y="27"/>
                  <a:pt x="27" y="27"/>
                </a:cubicBezTo>
                <a:cubicBezTo>
                  <a:pt x="27" y="27"/>
                  <a:pt x="26" y="27"/>
                  <a:pt x="26" y="27"/>
                </a:cubicBezTo>
                <a:cubicBezTo>
                  <a:pt x="27" y="28"/>
                  <a:pt x="27" y="27"/>
                  <a:pt x="27" y="27"/>
                </a:cubicBezTo>
                <a:cubicBezTo>
                  <a:pt x="27" y="27"/>
                  <a:pt x="28" y="27"/>
                  <a:pt x="28" y="27"/>
                </a:cubicBezTo>
                <a:cubicBezTo>
                  <a:pt x="28" y="27"/>
                  <a:pt x="28" y="28"/>
                  <a:pt x="28" y="28"/>
                </a:cubicBezTo>
                <a:cubicBezTo>
                  <a:pt x="28" y="28"/>
                  <a:pt x="29" y="28"/>
                  <a:pt x="29" y="28"/>
                </a:cubicBezTo>
                <a:cubicBezTo>
                  <a:pt x="29" y="28"/>
                  <a:pt x="29" y="28"/>
                  <a:pt x="29" y="28"/>
                </a:cubicBezTo>
                <a:cubicBezTo>
                  <a:pt x="30" y="28"/>
                  <a:pt x="30" y="28"/>
                  <a:pt x="30" y="28"/>
                </a:cubicBezTo>
                <a:cubicBezTo>
                  <a:pt x="30" y="27"/>
                  <a:pt x="31" y="28"/>
                  <a:pt x="31" y="28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8"/>
                  <a:pt x="31" y="28"/>
                  <a:pt x="31" y="28"/>
                </a:cubicBezTo>
                <a:cubicBezTo>
                  <a:pt x="31" y="29"/>
                  <a:pt x="32" y="29"/>
                  <a:pt x="32" y="29"/>
                </a:cubicBezTo>
                <a:cubicBezTo>
                  <a:pt x="32" y="29"/>
                  <a:pt x="32" y="29"/>
                  <a:pt x="32" y="29"/>
                </a:cubicBezTo>
                <a:cubicBezTo>
                  <a:pt x="33" y="30"/>
                  <a:pt x="33" y="30"/>
                  <a:pt x="33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0"/>
                  <a:pt x="35" y="30"/>
                  <a:pt x="35" y="30"/>
                </a:cubicBezTo>
                <a:cubicBezTo>
                  <a:pt x="35" y="30"/>
                  <a:pt x="36" y="31"/>
                  <a:pt x="36" y="31"/>
                </a:cubicBezTo>
                <a:cubicBezTo>
                  <a:pt x="36" y="31"/>
                  <a:pt x="36" y="31"/>
                  <a:pt x="36" y="31"/>
                </a:cubicBezTo>
                <a:cubicBezTo>
                  <a:pt x="36" y="32"/>
                  <a:pt x="36" y="32"/>
                  <a:pt x="36" y="32"/>
                </a:cubicBezTo>
                <a:cubicBezTo>
                  <a:pt x="36" y="32"/>
                  <a:pt x="36" y="32"/>
                  <a:pt x="36" y="33"/>
                </a:cubicBezTo>
                <a:cubicBezTo>
                  <a:pt x="37" y="33"/>
                  <a:pt x="37" y="33"/>
                  <a:pt x="37" y="33"/>
                </a:cubicBezTo>
                <a:cubicBezTo>
                  <a:pt x="37" y="33"/>
                  <a:pt x="37" y="33"/>
                  <a:pt x="37" y="33"/>
                </a:cubicBezTo>
                <a:cubicBezTo>
                  <a:pt x="37" y="33"/>
                  <a:pt x="38" y="33"/>
                  <a:pt x="38" y="33"/>
                </a:cubicBezTo>
                <a:cubicBezTo>
                  <a:pt x="38" y="33"/>
                  <a:pt x="38" y="33"/>
                  <a:pt x="38" y="33"/>
                </a:cubicBezTo>
                <a:cubicBezTo>
                  <a:pt x="38" y="33"/>
                  <a:pt x="39" y="34"/>
                  <a:pt x="39" y="34"/>
                </a:cubicBezTo>
                <a:cubicBezTo>
                  <a:pt x="39" y="34"/>
                  <a:pt x="39" y="34"/>
                  <a:pt x="39" y="34"/>
                </a:cubicBezTo>
                <a:cubicBezTo>
                  <a:pt x="39" y="34"/>
                  <a:pt x="40" y="34"/>
                  <a:pt x="40" y="34"/>
                </a:cubicBezTo>
                <a:cubicBezTo>
                  <a:pt x="40" y="34"/>
                  <a:pt x="40" y="34"/>
                  <a:pt x="40" y="34"/>
                </a:cubicBezTo>
                <a:cubicBezTo>
                  <a:pt x="41" y="34"/>
                  <a:pt x="41" y="34"/>
                  <a:pt x="41" y="34"/>
                </a:cubicBezTo>
                <a:cubicBezTo>
                  <a:pt x="38" y="39"/>
                  <a:pt x="33" y="43"/>
                  <a:pt x="28" y="44"/>
                </a:cubicBezTo>
                <a:cubicBezTo>
                  <a:pt x="28" y="44"/>
                  <a:pt x="28" y="44"/>
                  <a:pt x="28" y="43"/>
                </a:cubicBezTo>
                <a:cubicBezTo>
                  <a:pt x="28" y="43"/>
                  <a:pt x="28" y="42"/>
                  <a:pt x="28" y="42"/>
                </a:cubicBezTo>
                <a:cubicBezTo>
                  <a:pt x="28" y="42"/>
                  <a:pt x="27" y="41"/>
                  <a:pt x="27" y="41"/>
                </a:cubicBezTo>
                <a:cubicBezTo>
                  <a:pt x="27" y="41"/>
                  <a:pt x="27" y="40"/>
                  <a:pt x="26" y="40"/>
                </a:cubicBezTo>
                <a:cubicBezTo>
                  <a:pt x="26" y="40"/>
                  <a:pt x="26" y="40"/>
                  <a:pt x="26" y="40"/>
                </a:cubicBezTo>
                <a:cubicBezTo>
                  <a:pt x="25" y="40"/>
                  <a:pt x="25" y="39"/>
                  <a:pt x="25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4" y="39"/>
                  <a:pt x="24" y="38"/>
                  <a:pt x="24" y="38"/>
                </a:cubicBezTo>
                <a:lnTo>
                  <a:pt x="24" y="46"/>
                </a:lnTo>
                <a:close/>
                <a:moveTo>
                  <a:pt x="0" y="18"/>
                </a:moveTo>
                <a:cubicBezTo>
                  <a:pt x="0" y="18"/>
                  <a:pt x="0" y="19"/>
                  <a:pt x="0" y="19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1"/>
                  <a:pt x="0" y="22"/>
                  <a:pt x="0" y="23"/>
                </a:cubicBezTo>
                <a:cubicBezTo>
                  <a:pt x="0" y="23"/>
                  <a:pt x="0" y="24"/>
                  <a:pt x="0" y="25"/>
                </a:cubicBezTo>
                <a:cubicBezTo>
                  <a:pt x="0" y="25"/>
                  <a:pt x="0" y="26"/>
                  <a:pt x="0" y="26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9"/>
                  <a:pt x="1" y="30"/>
                  <a:pt x="1" y="31"/>
                </a:cubicBezTo>
                <a:cubicBezTo>
                  <a:pt x="1" y="31"/>
                  <a:pt x="1" y="31"/>
                  <a:pt x="1" y="32"/>
                </a:cubicBezTo>
                <a:cubicBezTo>
                  <a:pt x="1" y="32"/>
                  <a:pt x="2" y="32"/>
                  <a:pt x="2" y="33"/>
                </a:cubicBezTo>
                <a:cubicBezTo>
                  <a:pt x="2" y="33"/>
                  <a:pt x="2" y="33"/>
                  <a:pt x="2" y="33"/>
                </a:cubicBezTo>
                <a:cubicBezTo>
                  <a:pt x="2" y="34"/>
                  <a:pt x="2" y="34"/>
                  <a:pt x="3" y="34"/>
                </a:cubicBezTo>
                <a:cubicBezTo>
                  <a:pt x="3" y="35"/>
                  <a:pt x="4" y="36"/>
                  <a:pt x="4" y="37"/>
                </a:cubicBezTo>
                <a:cubicBezTo>
                  <a:pt x="5" y="37"/>
                  <a:pt x="5" y="38"/>
                  <a:pt x="6" y="38"/>
                </a:cubicBezTo>
                <a:cubicBezTo>
                  <a:pt x="6" y="39"/>
                  <a:pt x="6" y="39"/>
                  <a:pt x="6" y="39"/>
                </a:cubicBezTo>
                <a:cubicBezTo>
                  <a:pt x="7" y="39"/>
                  <a:pt x="7" y="40"/>
                  <a:pt x="7" y="40"/>
                </a:cubicBezTo>
                <a:cubicBezTo>
                  <a:pt x="8" y="41"/>
                  <a:pt x="10" y="42"/>
                  <a:pt x="11" y="43"/>
                </a:cubicBezTo>
                <a:cubicBezTo>
                  <a:pt x="11" y="43"/>
                  <a:pt x="12" y="43"/>
                  <a:pt x="12" y="43"/>
                </a:cubicBezTo>
                <a:cubicBezTo>
                  <a:pt x="13" y="44"/>
                  <a:pt x="13" y="44"/>
                  <a:pt x="14" y="44"/>
                </a:cubicBezTo>
                <a:cubicBezTo>
                  <a:pt x="14" y="44"/>
                  <a:pt x="15" y="44"/>
                  <a:pt x="15" y="45"/>
                </a:cubicBezTo>
                <a:cubicBezTo>
                  <a:pt x="18" y="45"/>
                  <a:pt x="20" y="46"/>
                  <a:pt x="23" y="46"/>
                </a:cubicBezTo>
                <a:cubicBezTo>
                  <a:pt x="23" y="46"/>
                  <a:pt x="24" y="46"/>
                  <a:pt x="24" y="46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7"/>
                  <a:pt x="23" y="37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2" y="36"/>
                  <a:pt x="22" y="35"/>
                  <a:pt x="22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22" y="34"/>
                  <a:pt x="22" y="34"/>
                  <a:pt x="22" y="34"/>
                </a:cubicBezTo>
                <a:cubicBezTo>
                  <a:pt x="22" y="34"/>
                  <a:pt x="22" y="34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2" y="32"/>
                  <a:pt x="22" y="32"/>
                  <a:pt x="22" y="32"/>
                </a:cubicBezTo>
                <a:cubicBezTo>
                  <a:pt x="23" y="32"/>
                  <a:pt x="23" y="32"/>
                  <a:pt x="23" y="32"/>
                </a:cubicBezTo>
                <a:cubicBezTo>
                  <a:pt x="23" y="32"/>
                  <a:pt x="23" y="32"/>
                  <a:pt x="23" y="31"/>
                </a:cubicBezTo>
                <a:cubicBezTo>
                  <a:pt x="23" y="31"/>
                  <a:pt x="24" y="31"/>
                  <a:pt x="24" y="31"/>
                </a:cubicBezTo>
                <a:cubicBezTo>
                  <a:pt x="24" y="31"/>
                  <a:pt x="24" y="30"/>
                  <a:pt x="24" y="30"/>
                </a:cubicBezTo>
                <a:cubicBezTo>
                  <a:pt x="24" y="29"/>
                  <a:pt x="23" y="29"/>
                  <a:pt x="23" y="29"/>
                </a:cubicBezTo>
                <a:cubicBezTo>
                  <a:pt x="23" y="29"/>
                  <a:pt x="23" y="28"/>
                  <a:pt x="23" y="28"/>
                </a:cubicBezTo>
                <a:cubicBezTo>
                  <a:pt x="23" y="28"/>
                  <a:pt x="23" y="29"/>
                  <a:pt x="23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1" y="29"/>
                  <a:pt x="21" y="29"/>
                  <a:pt x="21" y="29"/>
                </a:cubicBezTo>
                <a:cubicBezTo>
                  <a:pt x="21" y="29"/>
                  <a:pt x="21" y="28"/>
                  <a:pt x="21" y="28"/>
                </a:cubicBezTo>
                <a:cubicBezTo>
                  <a:pt x="20" y="28"/>
                  <a:pt x="20" y="28"/>
                  <a:pt x="20" y="28"/>
                </a:cubicBezTo>
                <a:cubicBezTo>
                  <a:pt x="20" y="28"/>
                  <a:pt x="20" y="28"/>
                  <a:pt x="20" y="27"/>
                </a:cubicBezTo>
                <a:cubicBezTo>
                  <a:pt x="20" y="27"/>
                  <a:pt x="20" y="27"/>
                  <a:pt x="19" y="26"/>
                </a:cubicBezTo>
                <a:cubicBezTo>
                  <a:pt x="19" y="26"/>
                  <a:pt x="19" y="26"/>
                  <a:pt x="18" y="26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26"/>
                  <a:pt x="18" y="26"/>
                  <a:pt x="18" y="26"/>
                </a:cubicBezTo>
                <a:cubicBezTo>
                  <a:pt x="17" y="26"/>
                  <a:pt x="17" y="25"/>
                  <a:pt x="16" y="25"/>
                </a:cubicBezTo>
                <a:cubicBezTo>
                  <a:pt x="16" y="25"/>
                  <a:pt x="16" y="25"/>
                  <a:pt x="16" y="25"/>
                </a:cubicBezTo>
                <a:cubicBezTo>
                  <a:pt x="15" y="25"/>
                  <a:pt x="15" y="25"/>
                  <a:pt x="15" y="25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5"/>
                  <a:pt x="13" y="24"/>
                  <a:pt x="13" y="24"/>
                </a:cubicBezTo>
                <a:cubicBezTo>
                  <a:pt x="13" y="24"/>
                  <a:pt x="13" y="24"/>
                  <a:pt x="13" y="24"/>
                </a:cubicBezTo>
                <a:cubicBezTo>
                  <a:pt x="13" y="24"/>
                  <a:pt x="12" y="24"/>
                  <a:pt x="12" y="24"/>
                </a:cubicBezTo>
                <a:cubicBezTo>
                  <a:pt x="12" y="24"/>
                  <a:pt x="12" y="23"/>
                  <a:pt x="12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2"/>
                  <a:pt x="12" y="22"/>
                  <a:pt x="11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20"/>
                  <a:pt x="11" y="20"/>
                  <a:pt x="11" y="20"/>
                </a:cubicBezTo>
                <a:cubicBezTo>
                  <a:pt x="11" y="20"/>
                  <a:pt x="10" y="20"/>
                  <a:pt x="10" y="20"/>
                </a:cubicBezTo>
                <a:cubicBezTo>
                  <a:pt x="10" y="19"/>
                  <a:pt x="10" y="19"/>
                  <a:pt x="10" y="19"/>
                </a:cubicBezTo>
                <a:cubicBezTo>
                  <a:pt x="10" y="19"/>
                  <a:pt x="10" y="19"/>
                  <a:pt x="10" y="18"/>
                </a:cubicBezTo>
                <a:cubicBezTo>
                  <a:pt x="10" y="18"/>
                  <a:pt x="9" y="18"/>
                  <a:pt x="9" y="19"/>
                </a:cubicBezTo>
                <a:cubicBezTo>
                  <a:pt x="9" y="19"/>
                  <a:pt x="9" y="19"/>
                  <a:pt x="9" y="19"/>
                </a:cubicBezTo>
                <a:cubicBezTo>
                  <a:pt x="10" y="19"/>
                  <a:pt x="9" y="20"/>
                  <a:pt x="10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10" y="21"/>
                  <a:pt x="10" y="21"/>
                  <a:pt x="10" y="21"/>
                </a:cubicBezTo>
                <a:cubicBezTo>
                  <a:pt x="10" y="21"/>
                  <a:pt x="10" y="22"/>
                  <a:pt x="10" y="22"/>
                </a:cubicBezTo>
                <a:cubicBezTo>
                  <a:pt x="10" y="22"/>
                  <a:pt x="10" y="22"/>
                  <a:pt x="10" y="21"/>
                </a:cubicBezTo>
                <a:cubicBezTo>
                  <a:pt x="10" y="21"/>
                  <a:pt x="9" y="21"/>
                  <a:pt x="9" y="21"/>
                </a:cubicBezTo>
                <a:cubicBezTo>
                  <a:pt x="9" y="21"/>
                  <a:pt x="10" y="21"/>
                  <a:pt x="9" y="21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20"/>
                  <a:pt x="9" y="20"/>
                  <a:pt x="9" y="19"/>
                </a:cubicBezTo>
                <a:cubicBezTo>
                  <a:pt x="9" y="19"/>
                  <a:pt x="9" y="19"/>
                  <a:pt x="9" y="19"/>
                </a:cubicBezTo>
                <a:cubicBezTo>
                  <a:pt x="8" y="19"/>
                  <a:pt x="8" y="18"/>
                  <a:pt x="8" y="18"/>
                </a:cubicBezTo>
                <a:cubicBezTo>
                  <a:pt x="8" y="18"/>
                  <a:pt x="8" y="17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8" y="17"/>
                  <a:pt x="8" y="17"/>
                  <a:pt x="7" y="17"/>
                </a:cubicBezTo>
                <a:cubicBezTo>
                  <a:pt x="7" y="16"/>
                  <a:pt x="7" y="16"/>
                  <a:pt x="7" y="16"/>
                </a:cubicBezTo>
                <a:cubicBezTo>
                  <a:pt x="7" y="16"/>
                  <a:pt x="7" y="15"/>
                  <a:pt x="7" y="15"/>
                </a:cubicBezTo>
                <a:cubicBezTo>
                  <a:pt x="7" y="15"/>
                  <a:pt x="7" y="14"/>
                  <a:pt x="7" y="14"/>
                </a:cubicBezTo>
                <a:cubicBezTo>
                  <a:pt x="7" y="14"/>
                  <a:pt x="8" y="14"/>
                  <a:pt x="8" y="13"/>
                </a:cubicBezTo>
                <a:cubicBezTo>
                  <a:pt x="8" y="13"/>
                  <a:pt x="8" y="13"/>
                  <a:pt x="8" y="13"/>
                </a:cubicBezTo>
                <a:cubicBezTo>
                  <a:pt x="8" y="13"/>
                  <a:pt x="8" y="12"/>
                  <a:pt x="9" y="12"/>
                </a:cubicBezTo>
                <a:cubicBezTo>
                  <a:pt x="9" y="12"/>
                  <a:pt x="9" y="11"/>
                  <a:pt x="9" y="11"/>
                </a:cubicBezTo>
                <a:cubicBezTo>
                  <a:pt x="10" y="11"/>
                  <a:pt x="10" y="10"/>
                  <a:pt x="10" y="10"/>
                </a:cubicBezTo>
                <a:cubicBezTo>
                  <a:pt x="10" y="10"/>
                  <a:pt x="9" y="10"/>
                  <a:pt x="9" y="9"/>
                </a:cubicBezTo>
                <a:cubicBezTo>
                  <a:pt x="9" y="9"/>
                  <a:pt x="10" y="9"/>
                  <a:pt x="10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10" y="8"/>
                  <a:pt x="10" y="8"/>
                  <a:pt x="10" y="7"/>
                </a:cubicBezTo>
                <a:cubicBezTo>
                  <a:pt x="10" y="7"/>
                  <a:pt x="9" y="8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12" y="3"/>
                  <a:pt x="15" y="2"/>
                  <a:pt x="19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1"/>
                  <a:pt x="19" y="1"/>
                  <a:pt x="20" y="1"/>
                </a:cubicBezTo>
                <a:cubicBezTo>
                  <a:pt x="20" y="1"/>
                  <a:pt x="20" y="1"/>
                  <a:pt x="20" y="1"/>
                </a:cubicBezTo>
                <a:cubicBezTo>
                  <a:pt x="21" y="1"/>
                  <a:pt x="21" y="2"/>
                  <a:pt x="22" y="2"/>
                </a:cubicBezTo>
                <a:cubicBezTo>
                  <a:pt x="22" y="2"/>
                  <a:pt x="22" y="1"/>
                  <a:pt x="22" y="1"/>
                </a:cubicBezTo>
                <a:cubicBezTo>
                  <a:pt x="22" y="1"/>
                  <a:pt x="22" y="1"/>
                  <a:pt x="22" y="1"/>
                </a:cubicBezTo>
                <a:cubicBezTo>
                  <a:pt x="22" y="1"/>
                  <a:pt x="22" y="1"/>
                  <a:pt x="23" y="1"/>
                </a:cubicBezTo>
                <a:cubicBezTo>
                  <a:pt x="23" y="1"/>
                  <a:pt x="24" y="1"/>
                  <a:pt x="24" y="1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0"/>
                  <a:pt x="23" y="0"/>
                  <a:pt x="2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0" y="0"/>
                  <a:pt x="17" y="0"/>
                  <a:pt x="15" y="1"/>
                </a:cubicBezTo>
                <a:cubicBezTo>
                  <a:pt x="15" y="1"/>
                  <a:pt x="14" y="1"/>
                  <a:pt x="14" y="1"/>
                </a:cubicBezTo>
                <a:cubicBezTo>
                  <a:pt x="14" y="1"/>
                  <a:pt x="14" y="1"/>
                  <a:pt x="14" y="1"/>
                </a:cubicBezTo>
                <a:cubicBezTo>
                  <a:pt x="14" y="1"/>
                  <a:pt x="13" y="2"/>
                  <a:pt x="13" y="2"/>
                </a:cubicBezTo>
                <a:cubicBezTo>
                  <a:pt x="13" y="2"/>
                  <a:pt x="12" y="2"/>
                  <a:pt x="12" y="2"/>
                </a:cubicBezTo>
                <a:cubicBezTo>
                  <a:pt x="12" y="2"/>
                  <a:pt x="11" y="2"/>
                  <a:pt x="11" y="3"/>
                </a:cubicBezTo>
                <a:cubicBezTo>
                  <a:pt x="10" y="3"/>
                  <a:pt x="9" y="4"/>
                  <a:pt x="7" y="5"/>
                </a:cubicBezTo>
                <a:cubicBezTo>
                  <a:pt x="7" y="5"/>
                  <a:pt x="7" y="5"/>
                  <a:pt x="7" y="6"/>
                </a:cubicBezTo>
                <a:cubicBezTo>
                  <a:pt x="7" y="6"/>
                  <a:pt x="7" y="6"/>
                  <a:pt x="6" y="6"/>
                </a:cubicBezTo>
                <a:cubicBezTo>
                  <a:pt x="6" y="7"/>
                  <a:pt x="6" y="7"/>
                  <a:pt x="6" y="7"/>
                </a:cubicBezTo>
                <a:cubicBezTo>
                  <a:pt x="5" y="8"/>
                  <a:pt x="5" y="8"/>
                  <a:pt x="4" y="8"/>
                </a:cubicBezTo>
                <a:cubicBezTo>
                  <a:pt x="4" y="9"/>
                  <a:pt x="3" y="10"/>
                  <a:pt x="3" y="11"/>
                </a:cubicBezTo>
                <a:cubicBezTo>
                  <a:pt x="2" y="12"/>
                  <a:pt x="2" y="12"/>
                  <a:pt x="2" y="12"/>
                </a:cubicBezTo>
                <a:cubicBezTo>
                  <a:pt x="2" y="12"/>
                  <a:pt x="2" y="13"/>
                  <a:pt x="2" y="13"/>
                </a:cubicBezTo>
                <a:cubicBezTo>
                  <a:pt x="2" y="13"/>
                  <a:pt x="1" y="14"/>
                  <a:pt x="1" y="14"/>
                </a:cubicBezTo>
                <a:cubicBezTo>
                  <a:pt x="1" y="14"/>
                  <a:pt x="1" y="15"/>
                  <a:pt x="1" y="15"/>
                </a:cubicBezTo>
                <a:cubicBezTo>
                  <a:pt x="1" y="15"/>
                  <a:pt x="0" y="16"/>
                  <a:pt x="0" y="17"/>
                </a:cubicBezTo>
                <a:cubicBezTo>
                  <a:pt x="0" y="17"/>
                  <a:pt x="0" y="18"/>
                  <a:pt x="0" y="18"/>
                </a:cubicBezTo>
                <a:close/>
                <a:moveTo>
                  <a:pt x="24" y="18"/>
                </a:moveTo>
                <a:cubicBezTo>
                  <a:pt x="24" y="28"/>
                  <a:pt x="24" y="28"/>
                  <a:pt x="24" y="28"/>
                </a:cubicBezTo>
                <a:cubicBezTo>
                  <a:pt x="24" y="29"/>
                  <a:pt x="24" y="29"/>
                  <a:pt x="24" y="29"/>
                </a:cubicBezTo>
                <a:cubicBezTo>
                  <a:pt x="24" y="29"/>
                  <a:pt x="24" y="28"/>
                  <a:pt x="23" y="28"/>
                </a:cubicBezTo>
                <a:cubicBezTo>
                  <a:pt x="23" y="28"/>
                  <a:pt x="23" y="28"/>
                  <a:pt x="22" y="28"/>
                </a:cubicBezTo>
                <a:cubicBezTo>
                  <a:pt x="22" y="28"/>
                  <a:pt x="21" y="28"/>
                  <a:pt x="21" y="27"/>
                </a:cubicBezTo>
                <a:cubicBezTo>
                  <a:pt x="21" y="27"/>
                  <a:pt x="21" y="27"/>
                  <a:pt x="21" y="26"/>
                </a:cubicBezTo>
                <a:cubicBezTo>
                  <a:pt x="21" y="26"/>
                  <a:pt x="21" y="26"/>
                  <a:pt x="21" y="26"/>
                </a:cubicBezTo>
                <a:cubicBezTo>
                  <a:pt x="21" y="25"/>
                  <a:pt x="21" y="25"/>
                  <a:pt x="21" y="25"/>
                </a:cubicBezTo>
                <a:cubicBezTo>
                  <a:pt x="20" y="25"/>
                  <a:pt x="20" y="25"/>
                  <a:pt x="19" y="25"/>
                </a:cubicBezTo>
                <a:cubicBezTo>
                  <a:pt x="19" y="25"/>
                  <a:pt x="19" y="25"/>
                  <a:pt x="19" y="25"/>
                </a:cubicBezTo>
                <a:cubicBezTo>
                  <a:pt x="19" y="25"/>
                  <a:pt x="19" y="24"/>
                  <a:pt x="19" y="24"/>
                </a:cubicBezTo>
                <a:cubicBezTo>
                  <a:pt x="19" y="24"/>
                  <a:pt x="20" y="24"/>
                  <a:pt x="20" y="24"/>
                </a:cubicBezTo>
                <a:cubicBezTo>
                  <a:pt x="20" y="24"/>
                  <a:pt x="20" y="24"/>
                  <a:pt x="20" y="23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20" y="23"/>
                  <a:pt x="20" y="23"/>
                </a:cubicBezTo>
                <a:cubicBezTo>
                  <a:pt x="19" y="23"/>
                  <a:pt x="19" y="23"/>
                  <a:pt x="19" y="23"/>
                </a:cubicBezTo>
                <a:cubicBezTo>
                  <a:pt x="18" y="23"/>
                  <a:pt x="18" y="24"/>
                  <a:pt x="18" y="24"/>
                </a:cubicBezTo>
                <a:cubicBezTo>
                  <a:pt x="18" y="24"/>
                  <a:pt x="18" y="24"/>
                  <a:pt x="17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4"/>
                  <a:pt x="16" y="24"/>
                  <a:pt x="16" y="24"/>
                </a:cubicBezTo>
                <a:cubicBezTo>
                  <a:pt x="16" y="24"/>
                  <a:pt x="16" y="23"/>
                  <a:pt x="16" y="23"/>
                </a:cubicBezTo>
                <a:cubicBezTo>
                  <a:pt x="15" y="22"/>
                  <a:pt x="16" y="21"/>
                  <a:pt x="16" y="21"/>
                </a:cubicBezTo>
                <a:cubicBezTo>
                  <a:pt x="16" y="21"/>
                  <a:pt x="16" y="21"/>
                  <a:pt x="16" y="21"/>
                </a:cubicBezTo>
                <a:cubicBezTo>
                  <a:pt x="16" y="20"/>
                  <a:pt x="16" y="20"/>
                  <a:pt x="16" y="20"/>
                </a:cubicBezTo>
                <a:cubicBezTo>
                  <a:pt x="16" y="20"/>
                  <a:pt x="17" y="19"/>
                  <a:pt x="17" y="19"/>
                </a:cubicBezTo>
                <a:cubicBezTo>
                  <a:pt x="17" y="19"/>
                  <a:pt x="18" y="19"/>
                  <a:pt x="18" y="19"/>
                </a:cubicBezTo>
                <a:cubicBezTo>
                  <a:pt x="18" y="19"/>
                  <a:pt x="19" y="19"/>
                  <a:pt x="19" y="19"/>
                </a:cubicBezTo>
                <a:cubicBezTo>
                  <a:pt x="19" y="19"/>
                  <a:pt x="19" y="19"/>
                  <a:pt x="19" y="19"/>
                </a:cubicBezTo>
                <a:cubicBezTo>
                  <a:pt x="20" y="19"/>
                  <a:pt x="20" y="19"/>
                  <a:pt x="20" y="19"/>
                </a:cubicBezTo>
                <a:cubicBezTo>
                  <a:pt x="21" y="19"/>
                  <a:pt x="21" y="18"/>
                  <a:pt x="21" y="19"/>
                </a:cubicBezTo>
                <a:cubicBezTo>
                  <a:pt x="22" y="19"/>
                  <a:pt x="22" y="19"/>
                  <a:pt x="22" y="19"/>
                </a:cubicBezTo>
                <a:cubicBezTo>
                  <a:pt x="22" y="19"/>
                  <a:pt x="22" y="19"/>
                  <a:pt x="22" y="19"/>
                </a:cubicBezTo>
                <a:cubicBezTo>
                  <a:pt x="22" y="19"/>
                  <a:pt x="23" y="19"/>
                  <a:pt x="23" y="19"/>
                </a:cubicBezTo>
                <a:cubicBezTo>
                  <a:pt x="23" y="19"/>
                  <a:pt x="23" y="20"/>
                  <a:pt x="23" y="20"/>
                </a:cubicBezTo>
                <a:cubicBezTo>
                  <a:pt x="23" y="20"/>
                  <a:pt x="23" y="20"/>
                  <a:pt x="24" y="20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19"/>
                  <a:pt x="24" y="19"/>
                  <a:pt x="24" y="19"/>
                </a:cubicBezTo>
                <a:cubicBezTo>
                  <a:pt x="24" y="19"/>
                  <a:pt x="24" y="19"/>
                  <a:pt x="24" y="19"/>
                </a:cubicBezTo>
                <a:cubicBezTo>
                  <a:pt x="24" y="18"/>
                  <a:pt x="24" y="18"/>
                  <a:pt x="24" y="1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5" name="ísḷïḍê">
            <a:extLst>
              <a:ext uri="{FF2B5EF4-FFF2-40B4-BE49-F238E27FC236}">
                <a16:creationId xmlns:a16="http://schemas.microsoft.com/office/drawing/2014/main" id="{91271702-47B7-4D14-8D0B-8164C761CA29}"/>
              </a:ext>
            </a:extLst>
          </p:cNvPr>
          <p:cNvSpPr/>
          <p:nvPr/>
        </p:nvSpPr>
        <p:spPr bwMode="auto">
          <a:xfrm>
            <a:off x="7339082" y="3095661"/>
            <a:ext cx="133708" cy="217097"/>
          </a:xfrm>
          <a:custGeom>
            <a:avLst/>
            <a:gdLst>
              <a:gd name="T0" fmla="*/ 0 w 26"/>
              <a:gd name="T1" fmla="*/ 29 h 42"/>
              <a:gd name="T2" fmla="*/ 0 w 26"/>
              <a:gd name="T3" fmla="*/ 35 h 42"/>
              <a:gd name="T4" fmla="*/ 8 w 26"/>
              <a:gd name="T5" fmla="*/ 42 h 42"/>
              <a:gd name="T6" fmla="*/ 18 w 26"/>
              <a:gd name="T7" fmla="*/ 42 h 42"/>
              <a:gd name="T8" fmla="*/ 26 w 26"/>
              <a:gd name="T9" fmla="*/ 35 h 42"/>
              <a:gd name="T10" fmla="*/ 26 w 26"/>
              <a:gd name="T11" fmla="*/ 29 h 42"/>
              <a:gd name="T12" fmla="*/ 17 w 26"/>
              <a:gd name="T13" fmla="*/ 29 h 42"/>
              <a:gd name="T14" fmla="*/ 17 w 26"/>
              <a:gd name="T15" fmla="*/ 24 h 42"/>
              <a:gd name="T16" fmla="*/ 26 w 26"/>
              <a:gd name="T17" fmla="*/ 24 h 42"/>
              <a:gd name="T18" fmla="*/ 26 w 26"/>
              <a:gd name="T19" fmla="*/ 16 h 42"/>
              <a:gd name="T20" fmla="*/ 17 w 26"/>
              <a:gd name="T21" fmla="*/ 16 h 42"/>
              <a:gd name="T22" fmla="*/ 17 w 26"/>
              <a:gd name="T23" fmla="*/ 10 h 42"/>
              <a:gd name="T24" fmla="*/ 26 w 26"/>
              <a:gd name="T25" fmla="*/ 10 h 42"/>
              <a:gd name="T26" fmla="*/ 26 w 26"/>
              <a:gd name="T27" fmla="*/ 7 h 42"/>
              <a:gd name="T28" fmla="*/ 18 w 26"/>
              <a:gd name="T29" fmla="*/ 0 h 42"/>
              <a:gd name="T30" fmla="*/ 8 w 26"/>
              <a:gd name="T31" fmla="*/ 0 h 42"/>
              <a:gd name="T32" fmla="*/ 0 w 26"/>
              <a:gd name="T33" fmla="*/ 7 h 42"/>
              <a:gd name="T34" fmla="*/ 0 w 26"/>
              <a:gd name="T35" fmla="*/ 10 h 42"/>
              <a:gd name="T36" fmla="*/ 9 w 26"/>
              <a:gd name="T37" fmla="*/ 10 h 42"/>
              <a:gd name="T38" fmla="*/ 9 w 26"/>
              <a:gd name="T39" fmla="*/ 16 h 42"/>
              <a:gd name="T40" fmla="*/ 0 w 26"/>
              <a:gd name="T41" fmla="*/ 16 h 42"/>
              <a:gd name="T42" fmla="*/ 0 w 26"/>
              <a:gd name="T43" fmla="*/ 24 h 42"/>
              <a:gd name="T44" fmla="*/ 9 w 26"/>
              <a:gd name="T45" fmla="*/ 24 h 42"/>
              <a:gd name="T46" fmla="*/ 9 w 26"/>
              <a:gd name="T47" fmla="*/ 29 h 42"/>
              <a:gd name="T48" fmla="*/ 0 w 26"/>
              <a:gd name="T49" fmla="*/ 29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6" h="42">
                <a:moveTo>
                  <a:pt x="0" y="29"/>
                </a:moveTo>
                <a:cubicBezTo>
                  <a:pt x="0" y="35"/>
                  <a:pt x="0" y="35"/>
                  <a:pt x="0" y="35"/>
                </a:cubicBezTo>
                <a:cubicBezTo>
                  <a:pt x="0" y="39"/>
                  <a:pt x="4" y="42"/>
                  <a:pt x="8" y="42"/>
                </a:cubicBezTo>
                <a:cubicBezTo>
                  <a:pt x="18" y="42"/>
                  <a:pt x="18" y="42"/>
                  <a:pt x="18" y="42"/>
                </a:cubicBezTo>
                <a:cubicBezTo>
                  <a:pt x="22" y="42"/>
                  <a:pt x="26" y="39"/>
                  <a:pt x="26" y="35"/>
                </a:cubicBezTo>
                <a:cubicBezTo>
                  <a:pt x="26" y="29"/>
                  <a:pt x="26" y="29"/>
                  <a:pt x="26" y="29"/>
                </a:cubicBezTo>
                <a:cubicBezTo>
                  <a:pt x="17" y="29"/>
                  <a:pt x="17" y="29"/>
                  <a:pt x="17" y="29"/>
                </a:cubicBezTo>
                <a:cubicBezTo>
                  <a:pt x="17" y="24"/>
                  <a:pt x="17" y="24"/>
                  <a:pt x="17" y="24"/>
                </a:cubicBezTo>
                <a:cubicBezTo>
                  <a:pt x="26" y="24"/>
                  <a:pt x="26" y="24"/>
                  <a:pt x="26" y="24"/>
                </a:cubicBezTo>
                <a:cubicBezTo>
                  <a:pt x="26" y="16"/>
                  <a:pt x="26" y="16"/>
                  <a:pt x="26" y="16"/>
                </a:cubicBezTo>
                <a:cubicBezTo>
                  <a:pt x="17" y="16"/>
                  <a:pt x="17" y="16"/>
                  <a:pt x="17" y="16"/>
                </a:cubicBezTo>
                <a:cubicBezTo>
                  <a:pt x="17" y="10"/>
                  <a:pt x="17" y="10"/>
                  <a:pt x="17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7"/>
                  <a:pt x="26" y="7"/>
                  <a:pt x="26" y="7"/>
                </a:cubicBezTo>
                <a:cubicBezTo>
                  <a:pt x="26" y="3"/>
                  <a:pt x="22" y="0"/>
                  <a:pt x="18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3"/>
                  <a:pt x="0" y="7"/>
                </a:cubicBezTo>
                <a:cubicBezTo>
                  <a:pt x="0" y="10"/>
                  <a:pt x="0" y="10"/>
                  <a:pt x="0" y="10"/>
                </a:cubicBezTo>
                <a:cubicBezTo>
                  <a:pt x="9" y="10"/>
                  <a:pt x="9" y="10"/>
                  <a:pt x="9" y="10"/>
                </a:cubicBezTo>
                <a:cubicBezTo>
                  <a:pt x="9" y="16"/>
                  <a:pt x="9" y="16"/>
                  <a:pt x="9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24"/>
                  <a:pt x="0" y="24"/>
                  <a:pt x="0" y="24"/>
                </a:cubicBezTo>
                <a:cubicBezTo>
                  <a:pt x="9" y="24"/>
                  <a:pt x="9" y="24"/>
                  <a:pt x="9" y="24"/>
                </a:cubicBezTo>
                <a:cubicBezTo>
                  <a:pt x="9" y="29"/>
                  <a:pt x="9" y="29"/>
                  <a:pt x="9" y="29"/>
                </a:cubicBezTo>
                <a:lnTo>
                  <a:pt x="0" y="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6" name="îŝ1iḍé">
            <a:extLst>
              <a:ext uri="{FF2B5EF4-FFF2-40B4-BE49-F238E27FC236}">
                <a16:creationId xmlns:a16="http://schemas.microsoft.com/office/drawing/2014/main" id="{C17C8540-F390-48DC-B56B-7116AC709589}"/>
              </a:ext>
            </a:extLst>
          </p:cNvPr>
          <p:cNvSpPr/>
          <p:nvPr/>
        </p:nvSpPr>
        <p:spPr bwMode="auto">
          <a:xfrm>
            <a:off x="7301702" y="3292630"/>
            <a:ext cx="208471" cy="133708"/>
          </a:xfrm>
          <a:custGeom>
            <a:avLst/>
            <a:gdLst>
              <a:gd name="T0" fmla="*/ 0 w 40"/>
              <a:gd name="T1" fmla="*/ 1 h 26"/>
              <a:gd name="T2" fmla="*/ 13 w 40"/>
              <a:gd name="T3" fmla="*/ 12 h 26"/>
              <a:gd name="T4" fmla="*/ 17 w 40"/>
              <a:gd name="T5" fmla="*/ 12 h 26"/>
              <a:gd name="T6" fmla="*/ 17 w 40"/>
              <a:gd name="T7" fmla="*/ 20 h 26"/>
              <a:gd name="T8" fmla="*/ 12 w 40"/>
              <a:gd name="T9" fmla="*/ 20 h 26"/>
              <a:gd name="T10" fmla="*/ 12 w 40"/>
              <a:gd name="T11" fmla="*/ 26 h 26"/>
              <a:gd name="T12" fmla="*/ 28 w 40"/>
              <a:gd name="T13" fmla="*/ 26 h 26"/>
              <a:gd name="T14" fmla="*/ 28 w 40"/>
              <a:gd name="T15" fmla="*/ 20 h 26"/>
              <a:gd name="T16" fmla="*/ 23 w 40"/>
              <a:gd name="T17" fmla="*/ 20 h 26"/>
              <a:gd name="T18" fmla="*/ 23 w 40"/>
              <a:gd name="T19" fmla="*/ 12 h 26"/>
              <a:gd name="T20" fmla="*/ 27 w 40"/>
              <a:gd name="T21" fmla="*/ 12 h 26"/>
              <a:gd name="T22" fmla="*/ 40 w 40"/>
              <a:gd name="T23" fmla="*/ 1 h 26"/>
              <a:gd name="T24" fmla="*/ 35 w 40"/>
              <a:gd name="T25" fmla="*/ 0 h 26"/>
              <a:gd name="T26" fmla="*/ 27 w 40"/>
              <a:gd name="T27" fmla="*/ 7 h 26"/>
              <a:gd name="T28" fmla="*/ 13 w 40"/>
              <a:gd name="T29" fmla="*/ 7 h 26"/>
              <a:gd name="T30" fmla="*/ 5 w 40"/>
              <a:gd name="T31" fmla="*/ 0 h 26"/>
              <a:gd name="T32" fmla="*/ 0 w 40"/>
              <a:gd name="T33" fmla="*/ 1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0" h="26">
                <a:moveTo>
                  <a:pt x="0" y="1"/>
                </a:moveTo>
                <a:cubicBezTo>
                  <a:pt x="1" y="7"/>
                  <a:pt x="7" y="12"/>
                  <a:pt x="13" y="12"/>
                </a:cubicBezTo>
                <a:cubicBezTo>
                  <a:pt x="17" y="12"/>
                  <a:pt x="17" y="12"/>
                  <a:pt x="17" y="12"/>
                </a:cubicBezTo>
                <a:cubicBezTo>
                  <a:pt x="17" y="20"/>
                  <a:pt x="17" y="20"/>
                  <a:pt x="17" y="20"/>
                </a:cubicBezTo>
                <a:cubicBezTo>
                  <a:pt x="12" y="20"/>
                  <a:pt x="12" y="20"/>
                  <a:pt x="12" y="20"/>
                </a:cubicBezTo>
                <a:cubicBezTo>
                  <a:pt x="12" y="26"/>
                  <a:pt x="12" y="26"/>
                  <a:pt x="12" y="26"/>
                </a:cubicBezTo>
                <a:cubicBezTo>
                  <a:pt x="28" y="26"/>
                  <a:pt x="28" y="26"/>
                  <a:pt x="28" y="26"/>
                </a:cubicBezTo>
                <a:cubicBezTo>
                  <a:pt x="28" y="20"/>
                  <a:pt x="28" y="20"/>
                  <a:pt x="28" y="20"/>
                </a:cubicBezTo>
                <a:cubicBezTo>
                  <a:pt x="23" y="20"/>
                  <a:pt x="23" y="20"/>
                  <a:pt x="23" y="20"/>
                </a:cubicBezTo>
                <a:cubicBezTo>
                  <a:pt x="23" y="12"/>
                  <a:pt x="23" y="12"/>
                  <a:pt x="23" y="12"/>
                </a:cubicBezTo>
                <a:cubicBezTo>
                  <a:pt x="27" y="12"/>
                  <a:pt x="27" y="12"/>
                  <a:pt x="27" y="12"/>
                </a:cubicBezTo>
                <a:cubicBezTo>
                  <a:pt x="33" y="12"/>
                  <a:pt x="39" y="6"/>
                  <a:pt x="40" y="1"/>
                </a:cubicBezTo>
                <a:cubicBezTo>
                  <a:pt x="35" y="0"/>
                  <a:pt x="35" y="0"/>
                  <a:pt x="35" y="0"/>
                </a:cubicBezTo>
                <a:cubicBezTo>
                  <a:pt x="34" y="3"/>
                  <a:pt x="31" y="7"/>
                  <a:pt x="27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0" y="7"/>
                  <a:pt x="6" y="4"/>
                  <a:pt x="5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7" name="î$ľiḍè">
            <a:extLst>
              <a:ext uri="{FF2B5EF4-FFF2-40B4-BE49-F238E27FC236}">
                <a16:creationId xmlns:a16="http://schemas.microsoft.com/office/drawing/2014/main" id="{10363C34-B034-498E-AD87-C3A3CB04CAA2}"/>
              </a:ext>
            </a:extLst>
          </p:cNvPr>
          <p:cNvSpPr/>
          <p:nvPr/>
        </p:nvSpPr>
        <p:spPr bwMode="auto">
          <a:xfrm>
            <a:off x="7100421" y="4204150"/>
            <a:ext cx="186905" cy="294734"/>
          </a:xfrm>
          <a:custGeom>
            <a:avLst/>
            <a:gdLst>
              <a:gd name="T0" fmla="*/ 130 w 130"/>
              <a:gd name="T1" fmla="*/ 205 h 205"/>
              <a:gd name="T2" fmla="*/ 115 w 130"/>
              <a:gd name="T3" fmla="*/ 4 h 205"/>
              <a:gd name="T4" fmla="*/ 101 w 130"/>
              <a:gd name="T5" fmla="*/ 0 h 205"/>
              <a:gd name="T6" fmla="*/ 115 w 130"/>
              <a:gd name="T7" fmla="*/ 14 h 205"/>
              <a:gd name="T8" fmla="*/ 115 w 130"/>
              <a:gd name="T9" fmla="*/ 133 h 205"/>
              <a:gd name="T10" fmla="*/ 101 w 130"/>
              <a:gd name="T11" fmla="*/ 148 h 205"/>
              <a:gd name="T12" fmla="*/ 115 w 130"/>
              <a:gd name="T13" fmla="*/ 162 h 205"/>
              <a:gd name="T14" fmla="*/ 101 w 130"/>
              <a:gd name="T15" fmla="*/ 162 h 205"/>
              <a:gd name="T16" fmla="*/ 115 w 130"/>
              <a:gd name="T17" fmla="*/ 173 h 205"/>
              <a:gd name="T18" fmla="*/ 115 w 130"/>
              <a:gd name="T19" fmla="*/ 191 h 205"/>
              <a:gd name="T20" fmla="*/ 101 w 130"/>
              <a:gd name="T21" fmla="*/ 205 h 205"/>
              <a:gd name="T22" fmla="*/ 90 w 130"/>
              <a:gd name="T23" fmla="*/ 4 h 205"/>
              <a:gd name="T24" fmla="*/ 65 w 130"/>
              <a:gd name="T25" fmla="*/ 14 h 205"/>
              <a:gd name="T26" fmla="*/ 101 w 130"/>
              <a:gd name="T27" fmla="*/ 0 h 205"/>
              <a:gd name="T28" fmla="*/ 90 w 130"/>
              <a:gd name="T29" fmla="*/ 0 h 205"/>
              <a:gd name="T30" fmla="*/ 101 w 130"/>
              <a:gd name="T31" fmla="*/ 205 h 205"/>
              <a:gd name="T32" fmla="*/ 90 w 130"/>
              <a:gd name="T33" fmla="*/ 191 h 205"/>
              <a:gd name="T34" fmla="*/ 101 w 130"/>
              <a:gd name="T35" fmla="*/ 173 h 205"/>
              <a:gd name="T36" fmla="*/ 90 w 130"/>
              <a:gd name="T37" fmla="*/ 162 h 205"/>
              <a:gd name="T38" fmla="*/ 101 w 130"/>
              <a:gd name="T39" fmla="*/ 148 h 205"/>
              <a:gd name="T40" fmla="*/ 65 w 130"/>
              <a:gd name="T41" fmla="*/ 133 h 205"/>
              <a:gd name="T42" fmla="*/ 76 w 130"/>
              <a:gd name="T43" fmla="*/ 148 h 205"/>
              <a:gd name="T44" fmla="*/ 76 w 130"/>
              <a:gd name="T45" fmla="*/ 162 h 205"/>
              <a:gd name="T46" fmla="*/ 65 w 130"/>
              <a:gd name="T47" fmla="*/ 173 h 205"/>
              <a:gd name="T48" fmla="*/ 76 w 130"/>
              <a:gd name="T49" fmla="*/ 191 h 205"/>
              <a:gd name="T50" fmla="*/ 65 w 130"/>
              <a:gd name="T51" fmla="*/ 191 h 205"/>
              <a:gd name="T52" fmla="*/ 65 w 130"/>
              <a:gd name="T53" fmla="*/ 4 h 205"/>
              <a:gd name="T54" fmla="*/ 25 w 130"/>
              <a:gd name="T55" fmla="*/ 14 h 205"/>
              <a:gd name="T56" fmla="*/ 65 w 130"/>
              <a:gd name="T57" fmla="*/ 4 h 205"/>
              <a:gd name="T58" fmla="*/ 25 w 130"/>
              <a:gd name="T59" fmla="*/ 205 h 205"/>
              <a:gd name="T60" fmla="*/ 65 w 130"/>
              <a:gd name="T61" fmla="*/ 191 h 205"/>
              <a:gd name="T62" fmla="*/ 50 w 130"/>
              <a:gd name="T63" fmla="*/ 173 h 205"/>
              <a:gd name="T64" fmla="*/ 65 w 130"/>
              <a:gd name="T65" fmla="*/ 162 h 205"/>
              <a:gd name="T66" fmla="*/ 50 w 130"/>
              <a:gd name="T67" fmla="*/ 148 h 205"/>
              <a:gd name="T68" fmla="*/ 65 w 130"/>
              <a:gd name="T69" fmla="*/ 133 h 205"/>
              <a:gd name="T70" fmla="*/ 25 w 130"/>
              <a:gd name="T71" fmla="*/ 148 h 205"/>
              <a:gd name="T72" fmla="*/ 40 w 130"/>
              <a:gd name="T73" fmla="*/ 162 h 205"/>
              <a:gd name="T74" fmla="*/ 25 w 130"/>
              <a:gd name="T75" fmla="*/ 162 h 205"/>
              <a:gd name="T76" fmla="*/ 40 w 130"/>
              <a:gd name="T77" fmla="*/ 173 h 205"/>
              <a:gd name="T78" fmla="*/ 40 w 130"/>
              <a:gd name="T79" fmla="*/ 191 h 205"/>
              <a:gd name="T80" fmla="*/ 25 w 130"/>
              <a:gd name="T81" fmla="*/ 205 h 205"/>
              <a:gd name="T82" fmla="*/ 0 w 130"/>
              <a:gd name="T83" fmla="*/ 4 h 205"/>
              <a:gd name="T84" fmla="*/ 25 w 130"/>
              <a:gd name="T85" fmla="*/ 205 h 205"/>
              <a:gd name="T86" fmla="*/ 14 w 130"/>
              <a:gd name="T87" fmla="*/ 191 h 205"/>
              <a:gd name="T88" fmla="*/ 25 w 130"/>
              <a:gd name="T89" fmla="*/ 173 h 205"/>
              <a:gd name="T90" fmla="*/ 14 w 130"/>
              <a:gd name="T91" fmla="*/ 162 h 205"/>
              <a:gd name="T92" fmla="*/ 25 w 130"/>
              <a:gd name="T93" fmla="*/ 148 h 205"/>
              <a:gd name="T94" fmla="*/ 14 w 130"/>
              <a:gd name="T95" fmla="*/ 133 h 205"/>
              <a:gd name="T96" fmla="*/ 25 w 130"/>
              <a:gd name="T97" fmla="*/ 14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0" h="205">
                <a:moveTo>
                  <a:pt x="101" y="205"/>
                </a:moveTo>
                <a:lnTo>
                  <a:pt x="130" y="205"/>
                </a:lnTo>
                <a:lnTo>
                  <a:pt x="130" y="4"/>
                </a:lnTo>
                <a:lnTo>
                  <a:pt x="115" y="4"/>
                </a:lnTo>
                <a:lnTo>
                  <a:pt x="115" y="0"/>
                </a:lnTo>
                <a:lnTo>
                  <a:pt x="101" y="0"/>
                </a:lnTo>
                <a:lnTo>
                  <a:pt x="101" y="14"/>
                </a:lnTo>
                <a:lnTo>
                  <a:pt x="115" y="14"/>
                </a:lnTo>
                <a:lnTo>
                  <a:pt x="115" y="133"/>
                </a:lnTo>
                <a:lnTo>
                  <a:pt x="115" y="133"/>
                </a:lnTo>
                <a:lnTo>
                  <a:pt x="101" y="133"/>
                </a:lnTo>
                <a:lnTo>
                  <a:pt x="101" y="148"/>
                </a:lnTo>
                <a:lnTo>
                  <a:pt x="115" y="148"/>
                </a:lnTo>
                <a:lnTo>
                  <a:pt x="115" y="162"/>
                </a:lnTo>
                <a:lnTo>
                  <a:pt x="115" y="162"/>
                </a:lnTo>
                <a:lnTo>
                  <a:pt x="101" y="162"/>
                </a:lnTo>
                <a:lnTo>
                  <a:pt x="101" y="173"/>
                </a:lnTo>
                <a:lnTo>
                  <a:pt x="115" y="173"/>
                </a:lnTo>
                <a:lnTo>
                  <a:pt x="115" y="191"/>
                </a:lnTo>
                <a:lnTo>
                  <a:pt x="115" y="191"/>
                </a:lnTo>
                <a:lnTo>
                  <a:pt x="101" y="191"/>
                </a:lnTo>
                <a:lnTo>
                  <a:pt x="101" y="205"/>
                </a:lnTo>
                <a:close/>
                <a:moveTo>
                  <a:pt x="90" y="0"/>
                </a:moveTo>
                <a:lnTo>
                  <a:pt x="90" y="4"/>
                </a:lnTo>
                <a:lnTo>
                  <a:pt x="65" y="4"/>
                </a:lnTo>
                <a:lnTo>
                  <a:pt x="65" y="14"/>
                </a:lnTo>
                <a:lnTo>
                  <a:pt x="101" y="14"/>
                </a:lnTo>
                <a:lnTo>
                  <a:pt x="101" y="0"/>
                </a:lnTo>
                <a:lnTo>
                  <a:pt x="90" y="0"/>
                </a:lnTo>
                <a:lnTo>
                  <a:pt x="90" y="0"/>
                </a:lnTo>
                <a:close/>
                <a:moveTo>
                  <a:pt x="65" y="205"/>
                </a:moveTo>
                <a:lnTo>
                  <a:pt x="101" y="205"/>
                </a:lnTo>
                <a:lnTo>
                  <a:pt x="101" y="191"/>
                </a:lnTo>
                <a:lnTo>
                  <a:pt x="90" y="191"/>
                </a:lnTo>
                <a:lnTo>
                  <a:pt x="90" y="173"/>
                </a:lnTo>
                <a:lnTo>
                  <a:pt x="101" y="173"/>
                </a:lnTo>
                <a:lnTo>
                  <a:pt x="101" y="162"/>
                </a:lnTo>
                <a:lnTo>
                  <a:pt x="90" y="162"/>
                </a:lnTo>
                <a:lnTo>
                  <a:pt x="90" y="148"/>
                </a:lnTo>
                <a:lnTo>
                  <a:pt x="101" y="148"/>
                </a:lnTo>
                <a:lnTo>
                  <a:pt x="101" y="133"/>
                </a:lnTo>
                <a:lnTo>
                  <a:pt x="65" y="133"/>
                </a:lnTo>
                <a:lnTo>
                  <a:pt x="65" y="148"/>
                </a:lnTo>
                <a:lnTo>
                  <a:pt x="76" y="148"/>
                </a:lnTo>
                <a:lnTo>
                  <a:pt x="76" y="162"/>
                </a:lnTo>
                <a:lnTo>
                  <a:pt x="76" y="162"/>
                </a:lnTo>
                <a:lnTo>
                  <a:pt x="65" y="162"/>
                </a:lnTo>
                <a:lnTo>
                  <a:pt x="65" y="173"/>
                </a:lnTo>
                <a:lnTo>
                  <a:pt x="76" y="173"/>
                </a:lnTo>
                <a:lnTo>
                  <a:pt x="76" y="191"/>
                </a:lnTo>
                <a:lnTo>
                  <a:pt x="76" y="191"/>
                </a:lnTo>
                <a:lnTo>
                  <a:pt x="65" y="191"/>
                </a:lnTo>
                <a:lnTo>
                  <a:pt x="65" y="205"/>
                </a:lnTo>
                <a:close/>
                <a:moveTo>
                  <a:pt x="65" y="4"/>
                </a:moveTo>
                <a:lnTo>
                  <a:pt x="25" y="4"/>
                </a:lnTo>
                <a:lnTo>
                  <a:pt x="25" y="14"/>
                </a:lnTo>
                <a:lnTo>
                  <a:pt x="65" y="14"/>
                </a:lnTo>
                <a:lnTo>
                  <a:pt x="65" y="4"/>
                </a:lnTo>
                <a:lnTo>
                  <a:pt x="65" y="4"/>
                </a:lnTo>
                <a:close/>
                <a:moveTo>
                  <a:pt x="25" y="205"/>
                </a:moveTo>
                <a:lnTo>
                  <a:pt x="65" y="205"/>
                </a:lnTo>
                <a:lnTo>
                  <a:pt x="65" y="191"/>
                </a:lnTo>
                <a:lnTo>
                  <a:pt x="50" y="191"/>
                </a:lnTo>
                <a:lnTo>
                  <a:pt x="50" y="173"/>
                </a:lnTo>
                <a:lnTo>
                  <a:pt x="65" y="173"/>
                </a:lnTo>
                <a:lnTo>
                  <a:pt x="65" y="162"/>
                </a:lnTo>
                <a:lnTo>
                  <a:pt x="50" y="162"/>
                </a:lnTo>
                <a:lnTo>
                  <a:pt x="50" y="148"/>
                </a:lnTo>
                <a:lnTo>
                  <a:pt x="65" y="148"/>
                </a:lnTo>
                <a:lnTo>
                  <a:pt x="65" y="133"/>
                </a:lnTo>
                <a:lnTo>
                  <a:pt x="25" y="133"/>
                </a:lnTo>
                <a:lnTo>
                  <a:pt x="25" y="148"/>
                </a:lnTo>
                <a:lnTo>
                  <a:pt x="40" y="148"/>
                </a:lnTo>
                <a:lnTo>
                  <a:pt x="40" y="162"/>
                </a:lnTo>
                <a:lnTo>
                  <a:pt x="40" y="162"/>
                </a:lnTo>
                <a:lnTo>
                  <a:pt x="25" y="162"/>
                </a:lnTo>
                <a:lnTo>
                  <a:pt x="25" y="173"/>
                </a:lnTo>
                <a:lnTo>
                  <a:pt x="40" y="173"/>
                </a:lnTo>
                <a:lnTo>
                  <a:pt x="40" y="191"/>
                </a:lnTo>
                <a:lnTo>
                  <a:pt x="40" y="191"/>
                </a:lnTo>
                <a:lnTo>
                  <a:pt x="25" y="191"/>
                </a:lnTo>
                <a:lnTo>
                  <a:pt x="25" y="205"/>
                </a:lnTo>
                <a:close/>
                <a:moveTo>
                  <a:pt x="25" y="4"/>
                </a:moveTo>
                <a:lnTo>
                  <a:pt x="0" y="4"/>
                </a:lnTo>
                <a:lnTo>
                  <a:pt x="0" y="205"/>
                </a:lnTo>
                <a:lnTo>
                  <a:pt x="25" y="205"/>
                </a:lnTo>
                <a:lnTo>
                  <a:pt x="25" y="191"/>
                </a:lnTo>
                <a:lnTo>
                  <a:pt x="14" y="191"/>
                </a:lnTo>
                <a:lnTo>
                  <a:pt x="14" y="173"/>
                </a:lnTo>
                <a:lnTo>
                  <a:pt x="25" y="173"/>
                </a:lnTo>
                <a:lnTo>
                  <a:pt x="25" y="162"/>
                </a:lnTo>
                <a:lnTo>
                  <a:pt x="14" y="162"/>
                </a:lnTo>
                <a:lnTo>
                  <a:pt x="14" y="148"/>
                </a:lnTo>
                <a:lnTo>
                  <a:pt x="25" y="148"/>
                </a:lnTo>
                <a:lnTo>
                  <a:pt x="25" y="133"/>
                </a:lnTo>
                <a:lnTo>
                  <a:pt x="14" y="133"/>
                </a:lnTo>
                <a:lnTo>
                  <a:pt x="14" y="14"/>
                </a:lnTo>
                <a:lnTo>
                  <a:pt x="25" y="14"/>
                </a:lnTo>
                <a:lnTo>
                  <a:pt x="25" y="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8" name="ísļíďê">
            <a:extLst>
              <a:ext uri="{FF2B5EF4-FFF2-40B4-BE49-F238E27FC236}">
                <a16:creationId xmlns:a16="http://schemas.microsoft.com/office/drawing/2014/main" id="{E3071489-0FDE-4F93-BAD4-779725016095}"/>
              </a:ext>
            </a:extLst>
          </p:cNvPr>
          <p:cNvSpPr/>
          <p:nvPr/>
        </p:nvSpPr>
        <p:spPr bwMode="auto">
          <a:xfrm>
            <a:off x="10338180" y="2769297"/>
            <a:ext cx="171090" cy="171089"/>
          </a:xfrm>
          <a:custGeom>
            <a:avLst/>
            <a:gdLst>
              <a:gd name="T0" fmla="*/ 16 w 33"/>
              <a:gd name="T1" fmla="*/ 31 h 33"/>
              <a:gd name="T2" fmla="*/ 19 w 33"/>
              <a:gd name="T3" fmla="*/ 31 h 33"/>
              <a:gd name="T4" fmla="*/ 20 w 33"/>
              <a:gd name="T5" fmla="*/ 33 h 33"/>
              <a:gd name="T6" fmla="*/ 26 w 33"/>
              <a:gd name="T7" fmla="*/ 31 h 33"/>
              <a:gd name="T8" fmla="*/ 25 w 33"/>
              <a:gd name="T9" fmla="*/ 29 h 33"/>
              <a:gd name="T10" fmla="*/ 28 w 33"/>
              <a:gd name="T11" fmla="*/ 25 h 33"/>
              <a:gd name="T12" fmla="*/ 30 w 33"/>
              <a:gd name="T13" fmla="*/ 26 h 33"/>
              <a:gd name="T14" fmla="*/ 33 w 33"/>
              <a:gd name="T15" fmla="*/ 20 h 33"/>
              <a:gd name="T16" fmla="*/ 30 w 33"/>
              <a:gd name="T17" fmla="*/ 19 h 33"/>
              <a:gd name="T18" fmla="*/ 30 w 33"/>
              <a:gd name="T19" fmla="*/ 14 h 33"/>
              <a:gd name="T20" fmla="*/ 33 w 33"/>
              <a:gd name="T21" fmla="*/ 13 h 33"/>
              <a:gd name="T22" fmla="*/ 30 w 33"/>
              <a:gd name="T23" fmla="*/ 8 h 33"/>
              <a:gd name="T24" fmla="*/ 28 w 33"/>
              <a:gd name="T25" fmla="*/ 9 h 33"/>
              <a:gd name="T26" fmla="*/ 24 w 33"/>
              <a:gd name="T27" fmla="*/ 5 h 33"/>
              <a:gd name="T28" fmla="*/ 25 w 33"/>
              <a:gd name="T29" fmla="*/ 3 h 33"/>
              <a:gd name="T30" fmla="*/ 20 w 33"/>
              <a:gd name="T31" fmla="*/ 0 h 33"/>
              <a:gd name="T32" fmla="*/ 19 w 33"/>
              <a:gd name="T33" fmla="*/ 3 h 33"/>
              <a:gd name="T34" fmla="*/ 16 w 33"/>
              <a:gd name="T35" fmla="*/ 3 h 33"/>
              <a:gd name="T36" fmla="*/ 16 w 33"/>
              <a:gd name="T37" fmla="*/ 7 h 33"/>
              <a:gd name="T38" fmla="*/ 25 w 33"/>
              <a:gd name="T39" fmla="*/ 13 h 33"/>
              <a:gd name="T40" fmla="*/ 20 w 33"/>
              <a:gd name="T41" fmla="*/ 26 h 33"/>
              <a:gd name="T42" fmla="*/ 16 w 33"/>
              <a:gd name="T43" fmla="*/ 26 h 33"/>
              <a:gd name="T44" fmla="*/ 16 w 33"/>
              <a:gd name="T45" fmla="*/ 26 h 33"/>
              <a:gd name="T46" fmla="*/ 16 w 33"/>
              <a:gd name="T47" fmla="*/ 31 h 33"/>
              <a:gd name="T48" fmla="*/ 2 w 33"/>
              <a:gd name="T49" fmla="*/ 20 h 33"/>
              <a:gd name="T50" fmla="*/ 0 w 33"/>
              <a:gd name="T51" fmla="*/ 21 h 33"/>
              <a:gd name="T52" fmla="*/ 2 w 33"/>
              <a:gd name="T53" fmla="*/ 26 h 33"/>
              <a:gd name="T54" fmla="*/ 5 w 33"/>
              <a:gd name="T55" fmla="*/ 25 h 33"/>
              <a:gd name="T56" fmla="*/ 8 w 33"/>
              <a:gd name="T57" fmla="*/ 29 h 33"/>
              <a:gd name="T58" fmla="*/ 7 w 33"/>
              <a:gd name="T59" fmla="*/ 31 h 33"/>
              <a:gd name="T60" fmla="*/ 13 w 33"/>
              <a:gd name="T61" fmla="*/ 33 h 33"/>
              <a:gd name="T62" fmla="*/ 14 w 33"/>
              <a:gd name="T63" fmla="*/ 31 h 33"/>
              <a:gd name="T64" fmla="*/ 16 w 33"/>
              <a:gd name="T65" fmla="*/ 31 h 33"/>
              <a:gd name="T66" fmla="*/ 16 w 33"/>
              <a:gd name="T67" fmla="*/ 26 h 33"/>
              <a:gd name="T68" fmla="*/ 8 w 33"/>
              <a:gd name="T69" fmla="*/ 21 h 33"/>
              <a:gd name="T70" fmla="*/ 13 w 33"/>
              <a:gd name="T71" fmla="*/ 8 h 33"/>
              <a:gd name="T72" fmla="*/ 13 w 33"/>
              <a:gd name="T73" fmla="*/ 8 h 33"/>
              <a:gd name="T74" fmla="*/ 16 w 33"/>
              <a:gd name="T75" fmla="*/ 7 h 33"/>
              <a:gd name="T76" fmla="*/ 16 w 33"/>
              <a:gd name="T77" fmla="*/ 7 h 33"/>
              <a:gd name="T78" fmla="*/ 16 w 33"/>
              <a:gd name="T79" fmla="*/ 3 h 33"/>
              <a:gd name="T80" fmla="*/ 14 w 33"/>
              <a:gd name="T81" fmla="*/ 3 h 33"/>
              <a:gd name="T82" fmla="*/ 13 w 33"/>
              <a:gd name="T83" fmla="*/ 1 h 33"/>
              <a:gd name="T84" fmla="*/ 7 w 33"/>
              <a:gd name="T85" fmla="*/ 3 h 33"/>
              <a:gd name="T86" fmla="*/ 8 w 33"/>
              <a:gd name="T87" fmla="*/ 5 h 33"/>
              <a:gd name="T88" fmla="*/ 5 w 33"/>
              <a:gd name="T89" fmla="*/ 9 h 33"/>
              <a:gd name="T90" fmla="*/ 2 w 33"/>
              <a:gd name="T91" fmla="*/ 8 h 33"/>
              <a:gd name="T92" fmla="*/ 0 w 33"/>
              <a:gd name="T93" fmla="*/ 14 h 33"/>
              <a:gd name="T94" fmla="*/ 2 w 33"/>
              <a:gd name="T95" fmla="*/ 15 h 33"/>
              <a:gd name="T96" fmla="*/ 2 w 33"/>
              <a:gd name="T97" fmla="*/ 2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3" h="33">
                <a:moveTo>
                  <a:pt x="16" y="31"/>
                </a:moveTo>
                <a:cubicBezTo>
                  <a:pt x="17" y="31"/>
                  <a:pt x="18" y="31"/>
                  <a:pt x="19" y="31"/>
                </a:cubicBezTo>
                <a:cubicBezTo>
                  <a:pt x="20" y="33"/>
                  <a:pt x="20" y="33"/>
                  <a:pt x="20" y="33"/>
                </a:cubicBezTo>
                <a:cubicBezTo>
                  <a:pt x="26" y="31"/>
                  <a:pt x="26" y="31"/>
                  <a:pt x="26" y="31"/>
                </a:cubicBezTo>
                <a:cubicBezTo>
                  <a:pt x="25" y="29"/>
                  <a:pt x="25" y="29"/>
                  <a:pt x="25" y="29"/>
                </a:cubicBezTo>
                <a:cubicBezTo>
                  <a:pt x="26" y="28"/>
                  <a:pt x="27" y="26"/>
                  <a:pt x="28" y="25"/>
                </a:cubicBezTo>
                <a:cubicBezTo>
                  <a:pt x="30" y="26"/>
                  <a:pt x="30" y="26"/>
                  <a:pt x="30" y="26"/>
                </a:cubicBezTo>
                <a:cubicBezTo>
                  <a:pt x="33" y="20"/>
                  <a:pt x="33" y="20"/>
                  <a:pt x="33" y="20"/>
                </a:cubicBezTo>
                <a:cubicBezTo>
                  <a:pt x="30" y="19"/>
                  <a:pt x="30" y="19"/>
                  <a:pt x="30" y="19"/>
                </a:cubicBezTo>
                <a:cubicBezTo>
                  <a:pt x="31" y="18"/>
                  <a:pt x="31" y="16"/>
                  <a:pt x="30" y="14"/>
                </a:cubicBezTo>
                <a:cubicBezTo>
                  <a:pt x="33" y="13"/>
                  <a:pt x="33" y="13"/>
                  <a:pt x="33" y="13"/>
                </a:cubicBezTo>
                <a:cubicBezTo>
                  <a:pt x="30" y="8"/>
                  <a:pt x="30" y="8"/>
                  <a:pt x="30" y="8"/>
                </a:cubicBezTo>
                <a:cubicBezTo>
                  <a:pt x="28" y="9"/>
                  <a:pt x="28" y="9"/>
                  <a:pt x="28" y="9"/>
                </a:cubicBezTo>
                <a:cubicBezTo>
                  <a:pt x="27" y="7"/>
                  <a:pt x="26" y="6"/>
                  <a:pt x="24" y="5"/>
                </a:cubicBezTo>
                <a:cubicBezTo>
                  <a:pt x="25" y="3"/>
                  <a:pt x="25" y="3"/>
                  <a:pt x="25" y="3"/>
                </a:cubicBezTo>
                <a:cubicBezTo>
                  <a:pt x="20" y="0"/>
                  <a:pt x="20" y="0"/>
                  <a:pt x="20" y="0"/>
                </a:cubicBezTo>
                <a:cubicBezTo>
                  <a:pt x="19" y="3"/>
                  <a:pt x="19" y="3"/>
                  <a:pt x="19" y="3"/>
                </a:cubicBezTo>
                <a:cubicBezTo>
                  <a:pt x="18" y="3"/>
                  <a:pt x="17" y="3"/>
                  <a:pt x="16" y="3"/>
                </a:cubicBezTo>
                <a:cubicBezTo>
                  <a:pt x="16" y="7"/>
                  <a:pt x="16" y="7"/>
                  <a:pt x="16" y="7"/>
                </a:cubicBezTo>
                <a:cubicBezTo>
                  <a:pt x="20" y="7"/>
                  <a:pt x="24" y="10"/>
                  <a:pt x="25" y="13"/>
                </a:cubicBezTo>
                <a:cubicBezTo>
                  <a:pt x="27" y="18"/>
                  <a:pt x="25" y="24"/>
                  <a:pt x="20" y="26"/>
                </a:cubicBezTo>
                <a:cubicBezTo>
                  <a:pt x="19" y="26"/>
                  <a:pt x="18" y="26"/>
                  <a:pt x="16" y="26"/>
                </a:cubicBezTo>
                <a:cubicBezTo>
                  <a:pt x="16" y="26"/>
                  <a:pt x="16" y="26"/>
                  <a:pt x="16" y="26"/>
                </a:cubicBezTo>
                <a:lnTo>
                  <a:pt x="16" y="31"/>
                </a:lnTo>
                <a:close/>
                <a:moveTo>
                  <a:pt x="2" y="20"/>
                </a:moveTo>
                <a:cubicBezTo>
                  <a:pt x="0" y="21"/>
                  <a:pt x="0" y="21"/>
                  <a:pt x="0" y="21"/>
                </a:cubicBezTo>
                <a:cubicBezTo>
                  <a:pt x="2" y="26"/>
                  <a:pt x="2" y="26"/>
                  <a:pt x="2" y="26"/>
                </a:cubicBezTo>
                <a:cubicBezTo>
                  <a:pt x="5" y="25"/>
                  <a:pt x="5" y="25"/>
                  <a:pt x="5" y="25"/>
                </a:cubicBezTo>
                <a:cubicBezTo>
                  <a:pt x="6" y="27"/>
                  <a:pt x="7" y="28"/>
                  <a:pt x="8" y="29"/>
                </a:cubicBezTo>
                <a:cubicBezTo>
                  <a:pt x="7" y="31"/>
                  <a:pt x="7" y="31"/>
                  <a:pt x="7" y="31"/>
                </a:cubicBezTo>
                <a:cubicBezTo>
                  <a:pt x="13" y="33"/>
                  <a:pt x="13" y="33"/>
                  <a:pt x="13" y="33"/>
                </a:cubicBezTo>
                <a:cubicBezTo>
                  <a:pt x="14" y="31"/>
                  <a:pt x="14" y="31"/>
                  <a:pt x="14" y="31"/>
                </a:cubicBezTo>
                <a:cubicBezTo>
                  <a:pt x="15" y="31"/>
                  <a:pt x="16" y="31"/>
                  <a:pt x="16" y="31"/>
                </a:cubicBezTo>
                <a:cubicBezTo>
                  <a:pt x="16" y="26"/>
                  <a:pt x="16" y="26"/>
                  <a:pt x="16" y="26"/>
                </a:cubicBezTo>
                <a:cubicBezTo>
                  <a:pt x="13" y="26"/>
                  <a:pt x="9" y="24"/>
                  <a:pt x="8" y="21"/>
                </a:cubicBezTo>
                <a:cubicBezTo>
                  <a:pt x="5" y="16"/>
                  <a:pt x="8" y="10"/>
                  <a:pt x="13" y="8"/>
                </a:cubicBezTo>
                <a:cubicBezTo>
                  <a:pt x="13" y="8"/>
                  <a:pt x="13" y="8"/>
                  <a:pt x="13" y="8"/>
                </a:cubicBezTo>
                <a:cubicBezTo>
                  <a:pt x="14" y="8"/>
                  <a:pt x="15" y="7"/>
                  <a:pt x="16" y="7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3"/>
                  <a:pt x="16" y="3"/>
                  <a:pt x="16" y="3"/>
                </a:cubicBezTo>
                <a:cubicBezTo>
                  <a:pt x="15" y="3"/>
                  <a:pt x="15" y="3"/>
                  <a:pt x="14" y="3"/>
                </a:cubicBezTo>
                <a:cubicBezTo>
                  <a:pt x="13" y="1"/>
                  <a:pt x="13" y="1"/>
                  <a:pt x="13" y="1"/>
                </a:cubicBezTo>
                <a:cubicBezTo>
                  <a:pt x="7" y="3"/>
                  <a:pt x="7" y="3"/>
                  <a:pt x="7" y="3"/>
                </a:cubicBezTo>
                <a:cubicBezTo>
                  <a:pt x="8" y="5"/>
                  <a:pt x="8" y="5"/>
                  <a:pt x="8" y="5"/>
                </a:cubicBezTo>
                <a:cubicBezTo>
                  <a:pt x="7" y="6"/>
                  <a:pt x="6" y="7"/>
                  <a:pt x="5" y="9"/>
                </a:cubicBezTo>
                <a:cubicBezTo>
                  <a:pt x="2" y="8"/>
                  <a:pt x="2" y="8"/>
                  <a:pt x="2" y="8"/>
                </a:cubicBezTo>
                <a:cubicBezTo>
                  <a:pt x="0" y="14"/>
                  <a:pt x="0" y="14"/>
                  <a:pt x="0" y="14"/>
                </a:cubicBezTo>
                <a:cubicBezTo>
                  <a:pt x="2" y="15"/>
                  <a:pt x="2" y="15"/>
                  <a:pt x="2" y="15"/>
                </a:cubicBezTo>
                <a:cubicBezTo>
                  <a:pt x="2" y="16"/>
                  <a:pt x="2" y="18"/>
                  <a:pt x="2" y="2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9" name="iŝliďè">
            <a:extLst>
              <a:ext uri="{FF2B5EF4-FFF2-40B4-BE49-F238E27FC236}">
                <a16:creationId xmlns:a16="http://schemas.microsoft.com/office/drawing/2014/main" id="{1A307CA4-2856-4815-8EE6-458F8FB4BC84}"/>
              </a:ext>
            </a:extLst>
          </p:cNvPr>
          <p:cNvSpPr/>
          <p:nvPr/>
        </p:nvSpPr>
        <p:spPr bwMode="auto">
          <a:xfrm>
            <a:off x="8188779" y="2468812"/>
            <a:ext cx="30193" cy="35942"/>
          </a:xfrm>
          <a:custGeom>
            <a:avLst/>
            <a:gdLst>
              <a:gd name="T0" fmla="*/ 0 w 6"/>
              <a:gd name="T1" fmla="*/ 0 h 7"/>
              <a:gd name="T2" fmla="*/ 2 w 6"/>
              <a:gd name="T3" fmla="*/ 7 h 7"/>
              <a:gd name="T4" fmla="*/ 6 w 6"/>
              <a:gd name="T5" fmla="*/ 0 h 7"/>
              <a:gd name="T6" fmla="*/ 0 w 6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7">
                <a:moveTo>
                  <a:pt x="0" y="0"/>
                </a:moveTo>
                <a:cubicBezTo>
                  <a:pt x="0" y="3"/>
                  <a:pt x="1" y="5"/>
                  <a:pt x="2" y="7"/>
                </a:cubicBezTo>
                <a:cubicBezTo>
                  <a:pt x="5" y="5"/>
                  <a:pt x="6" y="3"/>
                  <a:pt x="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0" name="iṥļide">
            <a:extLst>
              <a:ext uri="{FF2B5EF4-FFF2-40B4-BE49-F238E27FC236}">
                <a16:creationId xmlns:a16="http://schemas.microsoft.com/office/drawing/2014/main" id="{A9749808-9774-4EB4-8F0E-DBA79202520B}"/>
              </a:ext>
            </a:extLst>
          </p:cNvPr>
          <p:cNvSpPr/>
          <p:nvPr/>
        </p:nvSpPr>
        <p:spPr bwMode="auto">
          <a:xfrm>
            <a:off x="8188779" y="2417054"/>
            <a:ext cx="30193" cy="40257"/>
          </a:xfrm>
          <a:custGeom>
            <a:avLst/>
            <a:gdLst>
              <a:gd name="T0" fmla="*/ 2 w 6"/>
              <a:gd name="T1" fmla="*/ 0 h 8"/>
              <a:gd name="T2" fmla="*/ 0 w 6"/>
              <a:gd name="T3" fmla="*/ 8 h 8"/>
              <a:gd name="T4" fmla="*/ 6 w 6"/>
              <a:gd name="T5" fmla="*/ 8 h 8"/>
              <a:gd name="T6" fmla="*/ 2 w 6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8">
                <a:moveTo>
                  <a:pt x="2" y="0"/>
                </a:moveTo>
                <a:cubicBezTo>
                  <a:pt x="1" y="2"/>
                  <a:pt x="0" y="5"/>
                  <a:pt x="0" y="8"/>
                </a:cubicBezTo>
                <a:cubicBezTo>
                  <a:pt x="6" y="8"/>
                  <a:pt x="6" y="8"/>
                  <a:pt x="6" y="8"/>
                </a:cubicBezTo>
                <a:cubicBezTo>
                  <a:pt x="6" y="5"/>
                  <a:pt x="5" y="2"/>
                  <a:pt x="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1" name="í$ľîḋe">
            <a:extLst>
              <a:ext uri="{FF2B5EF4-FFF2-40B4-BE49-F238E27FC236}">
                <a16:creationId xmlns:a16="http://schemas.microsoft.com/office/drawing/2014/main" id="{B7D320A7-6F12-4EA6-813C-1216B8415427}"/>
              </a:ext>
            </a:extLst>
          </p:cNvPr>
          <p:cNvSpPr/>
          <p:nvPr/>
        </p:nvSpPr>
        <p:spPr bwMode="auto">
          <a:xfrm>
            <a:off x="8162901" y="2401239"/>
            <a:ext cx="30193" cy="56072"/>
          </a:xfrm>
          <a:custGeom>
            <a:avLst/>
            <a:gdLst>
              <a:gd name="T0" fmla="*/ 0 w 6"/>
              <a:gd name="T1" fmla="*/ 0 h 11"/>
              <a:gd name="T2" fmla="*/ 0 w 6"/>
              <a:gd name="T3" fmla="*/ 11 h 11"/>
              <a:gd name="T4" fmla="*/ 3 w 6"/>
              <a:gd name="T5" fmla="*/ 11 h 11"/>
              <a:gd name="T6" fmla="*/ 6 w 6"/>
              <a:gd name="T7" fmla="*/ 2 h 11"/>
              <a:gd name="T8" fmla="*/ 0 w 6"/>
              <a:gd name="T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1">
                <a:moveTo>
                  <a:pt x="0" y="0"/>
                </a:moveTo>
                <a:cubicBezTo>
                  <a:pt x="0" y="11"/>
                  <a:pt x="0" y="11"/>
                  <a:pt x="0" y="11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7"/>
                  <a:pt x="4" y="4"/>
                  <a:pt x="6" y="2"/>
                </a:cubicBezTo>
                <a:cubicBezTo>
                  <a:pt x="4" y="1"/>
                  <a:pt x="2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2" name="îṣḻïḍe">
            <a:extLst>
              <a:ext uri="{FF2B5EF4-FFF2-40B4-BE49-F238E27FC236}">
                <a16:creationId xmlns:a16="http://schemas.microsoft.com/office/drawing/2014/main" id="{285A8F23-CBFD-4C5B-86A5-7155D450F36A}"/>
              </a:ext>
            </a:extLst>
          </p:cNvPr>
          <p:cNvSpPr/>
          <p:nvPr/>
        </p:nvSpPr>
        <p:spPr bwMode="auto">
          <a:xfrm>
            <a:off x="8125519" y="2468812"/>
            <a:ext cx="31629" cy="51759"/>
          </a:xfrm>
          <a:custGeom>
            <a:avLst/>
            <a:gdLst>
              <a:gd name="T0" fmla="*/ 6 w 6"/>
              <a:gd name="T1" fmla="*/ 10 h 10"/>
              <a:gd name="T2" fmla="*/ 6 w 6"/>
              <a:gd name="T3" fmla="*/ 0 h 10"/>
              <a:gd name="T4" fmla="*/ 3 w 6"/>
              <a:gd name="T5" fmla="*/ 0 h 10"/>
              <a:gd name="T6" fmla="*/ 0 w 6"/>
              <a:gd name="T7" fmla="*/ 8 h 10"/>
              <a:gd name="T8" fmla="*/ 6 w 6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0">
                <a:moveTo>
                  <a:pt x="6" y="10"/>
                </a:moveTo>
                <a:cubicBezTo>
                  <a:pt x="6" y="0"/>
                  <a:pt x="6" y="0"/>
                  <a:pt x="6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3"/>
                  <a:pt x="2" y="6"/>
                  <a:pt x="0" y="8"/>
                </a:cubicBezTo>
                <a:cubicBezTo>
                  <a:pt x="2" y="9"/>
                  <a:pt x="4" y="10"/>
                  <a:pt x="6" y="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3" name="ïṩļïde">
            <a:extLst>
              <a:ext uri="{FF2B5EF4-FFF2-40B4-BE49-F238E27FC236}">
                <a16:creationId xmlns:a16="http://schemas.microsoft.com/office/drawing/2014/main" id="{5CBF5150-784A-4D37-80C7-9A105DBEF121}"/>
              </a:ext>
            </a:extLst>
          </p:cNvPr>
          <p:cNvSpPr/>
          <p:nvPr/>
        </p:nvSpPr>
        <p:spPr bwMode="auto">
          <a:xfrm>
            <a:off x="8125519" y="2401239"/>
            <a:ext cx="31629" cy="56072"/>
          </a:xfrm>
          <a:custGeom>
            <a:avLst/>
            <a:gdLst>
              <a:gd name="T0" fmla="*/ 3 w 6"/>
              <a:gd name="T1" fmla="*/ 11 h 11"/>
              <a:gd name="T2" fmla="*/ 6 w 6"/>
              <a:gd name="T3" fmla="*/ 11 h 11"/>
              <a:gd name="T4" fmla="*/ 6 w 6"/>
              <a:gd name="T5" fmla="*/ 0 h 11"/>
              <a:gd name="T6" fmla="*/ 0 w 6"/>
              <a:gd name="T7" fmla="*/ 2 h 11"/>
              <a:gd name="T8" fmla="*/ 3 w 6"/>
              <a:gd name="T9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1">
                <a:moveTo>
                  <a:pt x="3" y="11"/>
                </a:moveTo>
                <a:cubicBezTo>
                  <a:pt x="6" y="11"/>
                  <a:pt x="6" y="11"/>
                  <a:pt x="6" y="11"/>
                </a:cubicBezTo>
                <a:cubicBezTo>
                  <a:pt x="6" y="0"/>
                  <a:pt x="6" y="0"/>
                  <a:pt x="6" y="0"/>
                </a:cubicBezTo>
                <a:cubicBezTo>
                  <a:pt x="4" y="0"/>
                  <a:pt x="2" y="1"/>
                  <a:pt x="0" y="2"/>
                </a:cubicBezTo>
                <a:cubicBezTo>
                  <a:pt x="2" y="4"/>
                  <a:pt x="3" y="7"/>
                  <a:pt x="3" y="1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4" name="ïšlïḑé">
            <a:extLst>
              <a:ext uri="{FF2B5EF4-FFF2-40B4-BE49-F238E27FC236}">
                <a16:creationId xmlns:a16="http://schemas.microsoft.com/office/drawing/2014/main" id="{D3041B2E-6A3E-410B-8B97-C7F47A68E977}"/>
              </a:ext>
            </a:extLst>
          </p:cNvPr>
          <p:cNvSpPr/>
          <p:nvPr/>
        </p:nvSpPr>
        <p:spPr bwMode="auto">
          <a:xfrm>
            <a:off x="8099641" y="2468812"/>
            <a:ext cx="31629" cy="35942"/>
          </a:xfrm>
          <a:custGeom>
            <a:avLst/>
            <a:gdLst>
              <a:gd name="T0" fmla="*/ 4 w 6"/>
              <a:gd name="T1" fmla="*/ 7 h 7"/>
              <a:gd name="T2" fmla="*/ 6 w 6"/>
              <a:gd name="T3" fmla="*/ 0 h 7"/>
              <a:gd name="T4" fmla="*/ 0 w 6"/>
              <a:gd name="T5" fmla="*/ 0 h 7"/>
              <a:gd name="T6" fmla="*/ 4 w 6"/>
              <a:gd name="T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7">
                <a:moveTo>
                  <a:pt x="4" y="7"/>
                </a:moveTo>
                <a:cubicBezTo>
                  <a:pt x="5" y="5"/>
                  <a:pt x="6" y="3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1" y="5"/>
                  <a:pt x="4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5" name="îṩḷïdê">
            <a:extLst>
              <a:ext uri="{FF2B5EF4-FFF2-40B4-BE49-F238E27FC236}">
                <a16:creationId xmlns:a16="http://schemas.microsoft.com/office/drawing/2014/main" id="{A06EBC69-3F7F-4644-AA44-EF1EE5EB6F68}"/>
              </a:ext>
            </a:extLst>
          </p:cNvPr>
          <p:cNvSpPr/>
          <p:nvPr/>
        </p:nvSpPr>
        <p:spPr bwMode="auto">
          <a:xfrm>
            <a:off x="8099641" y="2417054"/>
            <a:ext cx="31629" cy="40257"/>
          </a:xfrm>
          <a:custGeom>
            <a:avLst/>
            <a:gdLst>
              <a:gd name="T0" fmla="*/ 4 w 6"/>
              <a:gd name="T1" fmla="*/ 0 h 8"/>
              <a:gd name="T2" fmla="*/ 0 w 6"/>
              <a:gd name="T3" fmla="*/ 8 h 8"/>
              <a:gd name="T4" fmla="*/ 6 w 6"/>
              <a:gd name="T5" fmla="*/ 8 h 8"/>
              <a:gd name="T6" fmla="*/ 4 w 6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8">
                <a:moveTo>
                  <a:pt x="4" y="0"/>
                </a:moveTo>
                <a:cubicBezTo>
                  <a:pt x="1" y="2"/>
                  <a:pt x="0" y="5"/>
                  <a:pt x="0" y="8"/>
                </a:cubicBezTo>
                <a:cubicBezTo>
                  <a:pt x="6" y="8"/>
                  <a:pt x="6" y="8"/>
                  <a:pt x="6" y="8"/>
                </a:cubicBezTo>
                <a:cubicBezTo>
                  <a:pt x="6" y="5"/>
                  <a:pt x="5" y="2"/>
                  <a:pt x="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6" name="iṥ1iḓe">
            <a:extLst>
              <a:ext uri="{FF2B5EF4-FFF2-40B4-BE49-F238E27FC236}">
                <a16:creationId xmlns:a16="http://schemas.microsoft.com/office/drawing/2014/main" id="{B4CA95BD-D691-4ABE-A47B-4CC4A19A2ED9}"/>
              </a:ext>
            </a:extLst>
          </p:cNvPr>
          <p:cNvSpPr/>
          <p:nvPr/>
        </p:nvSpPr>
        <p:spPr bwMode="auto">
          <a:xfrm>
            <a:off x="8162901" y="2468812"/>
            <a:ext cx="30193" cy="51759"/>
          </a:xfrm>
          <a:custGeom>
            <a:avLst/>
            <a:gdLst>
              <a:gd name="T0" fmla="*/ 0 w 6"/>
              <a:gd name="T1" fmla="*/ 10 h 10"/>
              <a:gd name="T2" fmla="*/ 6 w 6"/>
              <a:gd name="T3" fmla="*/ 8 h 10"/>
              <a:gd name="T4" fmla="*/ 3 w 6"/>
              <a:gd name="T5" fmla="*/ 0 h 10"/>
              <a:gd name="T6" fmla="*/ 0 w 6"/>
              <a:gd name="T7" fmla="*/ 0 h 10"/>
              <a:gd name="T8" fmla="*/ 0 w 6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0">
                <a:moveTo>
                  <a:pt x="0" y="10"/>
                </a:moveTo>
                <a:cubicBezTo>
                  <a:pt x="2" y="10"/>
                  <a:pt x="4" y="9"/>
                  <a:pt x="6" y="8"/>
                </a:cubicBezTo>
                <a:cubicBezTo>
                  <a:pt x="4" y="6"/>
                  <a:pt x="3" y="3"/>
                  <a:pt x="3" y="0"/>
                </a:cubicBezTo>
                <a:cubicBezTo>
                  <a:pt x="0" y="0"/>
                  <a:pt x="0" y="0"/>
                  <a:pt x="0" y="0"/>
                </a:cubicBezTo>
                <a:lnTo>
                  <a:pt x="0" y="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7" name="ïšḻíḓe">
            <a:extLst>
              <a:ext uri="{FF2B5EF4-FFF2-40B4-BE49-F238E27FC236}">
                <a16:creationId xmlns:a16="http://schemas.microsoft.com/office/drawing/2014/main" id="{24370DE4-4218-4272-B31A-89A4CD89697C}"/>
              </a:ext>
            </a:extLst>
          </p:cNvPr>
          <p:cNvSpPr/>
          <p:nvPr/>
        </p:nvSpPr>
        <p:spPr bwMode="auto">
          <a:xfrm>
            <a:off x="8970903" y="2152513"/>
            <a:ext cx="135146" cy="129395"/>
          </a:xfrm>
          <a:custGeom>
            <a:avLst/>
            <a:gdLst>
              <a:gd name="T0" fmla="*/ 26 w 26"/>
              <a:gd name="T1" fmla="*/ 10 h 25"/>
              <a:gd name="T2" fmla="*/ 21 w 26"/>
              <a:gd name="T3" fmla="*/ 12 h 25"/>
              <a:gd name="T4" fmla="*/ 19 w 26"/>
              <a:gd name="T5" fmla="*/ 12 h 25"/>
              <a:gd name="T6" fmla="*/ 18 w 26"/>
              <a:gd name="T7" fmla="*/ 9 h 25"/>
              <a:gd name="T8" fmla="*/ 19 w 26"/>
              <a:gd name="T9" fmla="*/ 8 h 25"/>
              <a:gd name="T10" fmla="*/ 24 w 26"/>
              <a:gd name="T11" fmla="*/ 6 h 25"/>
              <a:gd name="T12" fmla="*/ 22 w 26"/>
              <a:gd name="T13" fmla="*/ 3 h 25"/>
              <a:gd name="T14" fmla="*/ 19 w 26"/>
              <a:gd name="T15" fmla="*/ 2 h 25"/>
              <a:gd name="T16" fmla="*/ 18 w 26"/>
              <a:gd name="T17" fmla="*/ 6 h 25"/>
              <a:gd name="T18" fmla="*/ 16 w 26"/>
              <a:gd name="T19" fmla="*/ 9 h 25"/>
              <a:gd name="T20" fmla="*/ 16 w 26"/>
              <a:gd name="T21" fmla="*/ 5 h 25"/>
              <a:gd name="T22" fmla="*/ 14 w 26"/>
              <a:gd name="T23" fmla="*/ 4 h 25"/>
              <a:gd name="T24" fmla="*/ 14 w 26"/>
              <a:gd name="T25" fmla="*/ 2 h 25"/>
              <a:gd name="T26" fmla="*/ 13 w 26"/>
              <a:gd name="T27" fmla="*/ 2 h 25"/>
              <a:gd name="T28" fmla="*/ 13 w 26"/>
              <a:gd name="T29" fmla="*/ 4 h 25"/>
              <a:gd name="T30" fmla="*/ 11 w 26"/>
              <a:gd name="T31" fmla="*/ 5 h 25"/>
              <a:gd name="T32" fmla="*/ 11 w 26"/>
              <a:gd name="T33" fmla="*/ 9 h 25"/>
              <a:gd name="T34" fmla="*/ 9 w 26"/>
              <a:gd name="T35" fmla="*/ 6 h 25"/>
              <a:gd name="T36" fmla="*/ 8 w 26"/>
              <a:gd name="T37" fmla="*/ 2 h 25"/>
              <a:gd name="T38" fmla="*/ 5 w 26"/>
              <a:gd name="T39" fmla="*/ 3 h 25"/>
              <a:gd name="T40" fmla="*/ 2 w 26"/>
              <a:gd name="T41" fmla="*/ 6 h 25"/>
              <a:gd name="T42" fmla="*/ 8 w 26"/>
              <a:gd name="T43" fmla="*/ 8 h 25"/>
              <a:gd name="T44" fmla="*/ 9 w 26"/>
              <a:gd name="T45" fmla="*/ 9 h 25"/>
              <a:gd name="T46" fmla="*/ 8 w 26"/>
              <a:gd name="T47" fmla="*/ 12 h 25"/>
              <a:gd name="T48" fmla="*/ 6 w 26"/>
              <a:gd name="T49" fmla="*/ 12 h 25"/>
              <a:gd name="T50" fmla="*/ 1 w 26"/>
              <a:gd name="T51" fmla="*/ 10 h 25"/>
              <a:gd name="T52" fmla="*/ 0 w 26"/>
              <a:gd name="T53" fmla="*/ 13 h 25"/>
              <a:gd name="T54" fmla="*/ 2 w 26"/>
              <a:gd name="T55" fmla="*/ 17 h 25"/>
              <a:gd name="T56" fmla="*/ 5 w 26"/>
              <a:gd name="T57" fmla="*/ 14 h 25"/>
              <a:gd name="T58" fmla="*/ 9 w 26"/>
              <a:gd name="T59" fmla="*/ 13 h 25"/>
              <a:gd name="T60" fmla="*/ 6 w 26"/>
              <a:gd name="T61" fmla="*/ 16 h 25"/>
              <a:gd name="T62" fmla="*/ 7 w 26"/>
              <a:gd name="T63" fmla="*/ 18 h 25"/>
              <a:gd name="T64" fmla="*/ 6 w 26"/>
              <a:gd name="T65" fmla="*/ 19 h 25"/>
              <a:gd name="T66" fmla="*/ 7 w 26"/>
              <a:gd name="T67" fmla="*/ 20 h 25"/>
              <a:gd name="T68" fmla="*/ 8 w 26"/>
              <a:gd name="T69" fmla="*/ 19 h 25"/>
              <a:gd name="T70" fmla="*/ 10 w 26"/>
              <a:gd name="T71" fmla="*/ 19 h 25"/>
              <a:gd name="T72" fmla="*/ 13 w 26"/>
              <a:gd name="T73" fmla="*/ 16 h 25"/>
              <a:gd name="T74" fmla="*/ 12 w 26"/>
              <a:gd name="T75" fmla="*/ 21 h 25"/>
              <a:gd name="T76" fmla="*/ 9 w 26"/>
              <a:gd name="T77" fmla="*/ 24 h 25"/>
              <a:gd name="T78" fmla="*/ 13 w 26"/>
              <a:gd name="T79" fmla="*/ 25 h 25"/>
              <a:gd name="T80" fmla="*/ 16 w 26"/>
              <a:gd name="T81" fmla="*/ 25 h 25"/>
              <a:gd name="T82" fmla="*/ 14 w 26"/>
              <a:gd name="T83" fmla="*/ 20 h 25"/>
              <a:gd name="T84" fmla="*/ 14 w 26"/>
              <a:gd name="T85" fmla="*/ 18 h 25"/>
              <a:gd name="T86" fmla="*/ 17 w 26"/>
              <a:gd name="T87" fmla="*/ 17 h 25"/>
              <a:gd name="T88" fmla="*/ 18 w 26"/>
              <a:gd name="T89" fmla="*/ 18 h 25"/>
              <a:gd name="T90" fmla="*/ 20 w 26"/>
              <a:gd name="T91" fmla="*/ 24 h 25"/>
              <a:gd name="T92" fmla="*/ 23 w 26"/>
              <a:gd name="T93" fmla="*/ 21 h 25"/>
              <a:gd name="T94" fmla="*/ 24 w 26"/>
              <a:gd name="T95" fmla="*/ 18 h 25"/>
              <a:gd name="T96" fmla="*/ 20 w 26"/>
              <a:gd name="T97" fmla="*/ 17 h 25"/>
              <a:gd name="T98" fmla="*/ 17 w 26"/>
              <a:gd name="T99" fmla="*/ 15 h 25"/>
              <a:gd name="T100" fmla="*/ 20 w 26"/>
              <a:gd name="T101" fmla="*/ 15 h 25"/>
              <a:gd name="T102" fmla="*/ 22 w 26"/>
              <a:gd name="T103" fmla="*/ 13 h 25"/>
              <a:gd name="T104" fmla="*/ 24 w 26"/>
              <a:gd name="T105" fmla="*/ 1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" h="25">
                <a:moveTo>
                  <a:pt x="26" y="12"/>
                </a:moveTo>
                <a:cubicBezTo>
                  <a:pt x="24" y="12"/>
                  <a:pt x="24" y="12"/>
                  <a:pt x="24" y="12"/>
                </a:cubicBezTo>
                <a:cubicBezTo>
                  <a:pt x="26" y="10"/>
                  <a:pt x="26" y="10"/>
                  <a:pt x="26" y="10"/>
                </a:cubicBezTo>
                <a:cubicBezTo>
                  <a:pt x="25" y="9"/>
                  <a:pt x="25" y="9"/>
                  <a:pt x="25" y="9"/>
                </a:cubicBezTo>
                <a:cubicBezTo>
                  <a:pt x="22" y="12"/>
                  <a:pt x="22" y="12"/>
                  <a:pt x="22" y="12"/>
                </a:cubicBezTo>
                <a:cubicBezTo>
                  <a:pt x="21" y="12"/>
                  <a:pt x="21" y="12"/>
                  <a:pt x="21" y="12"/>
                </a:cubicBezTo>
                <a:cubicBezTo>
                  <a:pt x="21" y="11"/>
                  <a:pt x="21" y="11"/>
                  <a:pt x="21" y="11"/>
                </a:cubicBezTo>
                <a:cubicBezTo>
                  <a:pt x="20" y="10"/>
                  <a:pt x="20" y="10"/>
                  <a:pt x="20" y="10"/>
                </a:cubicBezTo>
                <a:cubicBezTo>
                  <a:pt x="19" y="12"/>
                  <a:pt x="19" y="12"/>
                  <a:pt x="19" y="12"/>
                </a:cubicBezTo>
                <a:cubicBezTo>
                  <a:pt x="17" y="12"/>
                  <a:pt x="17" y="12"/>
                  <a:pt x="17" y="12"/>
                </a:cubicBezTo>
                <a:cubicBezTo>
                  <a:pt x="17" y="11"/>
                  <a:pt x="17" y="11"/>
                  <a:pt x="17" y="10"/>
                </a:cubicBezTo>
                <a:cubicBezTo>
                  <a:pt x="18" y="9"/>
                  <a:pt x="18" y="9"/>
                  <a:pt x="18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8"/>
                  <a:pt x="20" y="8"/>
                  <a:pt x="20" y="8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7"/>
                  <a:pt x="20" y="7"/>
                  <a:pt x="20" y="7"/>
                </a:cubicBezTo>
                <a:cubicBezTo>
                  <a:pt x="24" y="7"/>
                  <a:pt x="24" y="7"/>
                  <a:pt x="24" y="7"/>
                </a:cubicBezTo>
                <a:cubicBezTo>
                  <a:pt x="24" y="6"/>
                  <a:pt x="24" y="6"/>
                  <a:pt x="24" y="6"/>
                </a:cubicBezTo>
                <a:cubicBezTo>
                  <a:pt x="21" y="6"/>
                  <a:pt x="21" y="6"/>
                  <a:pt x="21" y="6"/>
                </a:cubicBezTo>
                <a:cubicBezTo>
                  <a:pt x="23" y="4"/>
                  <a:pt x="23" y="4"/>
                  <a:pt x="23" y="4"/>
                </a:cubicBezTo>
                <a:cubicBezTo>
                  <a:pt x="22" y="3"/>
                  <a:pt x="22" y="3"/>
                  <a:pt x="22" y="3"/>
                </a:cubicBezTo>
                <a:cubicBezTo>
                  <a:pt x="20" y="5"/>
                  <a:pt x="20" y="5"/>
                  <a:pt x="20" y="5"/>
                </a:cubicBezTo>
                <a:cubicBezTo>
                  <a:pt x="20" y="2"/>
                  <a:pt x="20" y="2"/>
                  <a:pt x="20" y="2"/>
                </a:cubicBezTo>
                <a:cubicBezTo>
                  <a:pt x="19" y="2"/>
                  <a:pt x="19" y="2"/>
                  <a:pt x="19" y="2"/>
                </a:cubicBezTo>
                <a:cubicBezTo>
                  <a:pt x="19" y="6"/>
                  <a:pt x="19" y="6"/>
                  <a:pt x="19" y="6"/>
                </a:cubicBezTo>
                <a:cubicBezTo>
                  <a:pt x="18" y="7"/>
                  <a:pt x="18" y="7"/>
                  <a:pt x="18" y="7"/>
                </a:cubicBezTo>
                <a:cubicBezTo>
                  <a:pt x="18" y="6"/>
                  <a:pt x="18" y="6"/>
                  <a:pt x="18" y="6"/>
                </a:cubicBezTo>
                <a:cubicBezTo>
                  <a:pt x="17" y="6"/>
                  <a:pt x="17" y="6"/>
                  <a:pt x="17" y="6"/>
                </a:cubicBezTo>
                <a:cubicBezTo>
                  <a:pt x="17" y="8"/>
                  <a:pt x="17" y="8"/>
                  <a:pt x="17" y="8"/>
                </a:cubicBezTo>
                <a:cubicBezTo>
                  <a:pt x="16" y="9"/>
                  <a:pt x="16" y="9"/>
                  <a:pt x="16" y="9"/>
                </a:cubicBezTo>
                <a:cubicBezTo>
                  <a:pt x="15" y="9"/>
                  <a:pt x="15" y="9"/>
                  <a:pt x="14" y="9"/>
                </a:cubicBezTo>
                <a:cubicBezTo>
                  <a:pt x="14" y="7"/>
                  <a:pt x="14" y="7"/>
                  <a:pt x="14" y="7"/>
                </a:cubicBezTo>
                <a:cubicBezTo>
                  <a:pt x="16" y="5"/>
                  <a:pt x="16" y="5"/>
                  <a:pt x="16" y="5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5"/>
                  <a:pt x="14" y="5"/>
                  <a:pt x="14" y="5"/>
                </a:cubicBezTo>
                <a:cubicBezTo>
                  <a:pt x="14" y="4"/>
                  <a:pt x="14" y="4"/>
                  <a:pt x="14" y="4"/>
                </a:cubicBezTo>
                <a:cubicBezTo>
                  <a:pt x="17" y="1"/>
                  <a:pt x="17" y="1"/>
                  <a:pt x="17" y="1"/>
                </a:cubicBezTo>
                <a:cubicBezTo>
                  <a:pt x="16" y="0"/>
                  <a:pt x="16" y="0"/>
                  <a:pt x="16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0"/>
                  <a:pt x="14" y="0"/>
                  <a:pt x="14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2"/>
                  <a:pt x="13" y="2"/>
                  <a:pt x="13" y="2"/>
                </a:cubicBezTo>
                <a:cubicBezTo>
                  <a:pt x="10" y="0"/>
                  <a:pt x="10" y="0"/>
                  <a:pt x="10" y="0"/>
                </a:cubicBezTo>
                <a:cubicBezTo>
                  <a:pt x="9" y="1"/>
                  <a:pt x="9" y="1"/>
                  <a:pt x="9" y="1"/>
                </a:cubicBezTo>
                <a:cubicBezTo>
                  <a:pt x="13" y="4"/>
                  <a:pt x="13" y="4"/>
                  <a:pt x="13" y="4"/>
                </a:cubicBezTo>
                <a:cubicBezTo>
                  <a:pt x="13" y="5"/>
                  <a:pt x="13" y="5"/>
                  <a:pt x="13" y="5"/>
                </a:cubicBezTo>
                <a:cubicBezTo>
                  <a:pt x="12" y="4"/>
                  <a:pt x="12" y="4"/>
                  <a:pt x="12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9"/>
                  <a:pt x="13" y="9"/>
                  <a:pt x="13" y="9"/>
                </a:cubicBezTo>
                <a:cubicBezTo>
                  <a:pt x="12" y="9"/>
                  <a:pt x="11" y="9"/>
                  <a:pt x="11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10" y="6"/>
                  <a:pt x="10" y="6"/>
                  <a:pt x="10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8" y="6"/>
                  <a:pt x="8" y="6"/>
                  <a:pt x="8" y="6"/>
                </a:cubicBezTo>
                <a:cubicBezTo>
                  <a:pt x="8" y="2"/>
                  <a:pt x="8" y="2"/>
                  <a:pt x="8" y="2"/>
                </a:cubicBezTo>
                <a:cubicBezTo>
                  <a:pt x="7" y="2"/>
                  <a:pt x="7" y="2"/>
                  <a:pt x="7" y="2"/>
                </a:cubicBezTo>
                <a:cubicBezTo>
                  <a:pt x="7" y="5"/>
                  <a:pt x="7" y="5"/>
                  <a:pt x="7" y="5"/>
                </a:cubicBezTo>
                <a:cubicBezTo>
                  <a:pt x="5" y="3"/>
                  <a:pt x="5" y="3"/>
                  <a:pt x="5" y="3"/>
                </a:cubicBezTo>
                <a:cubicBezTo>
                  <a:pt x="4" y="4"/>
                  <a:pt x="4" y="4"/>
                  <a:pt x="4" y="4"/>
                </a:cubicBezTo>
                <a:cubicBezTo>
                  <a:pt x="6" y="6"/>
                  <a:pt x="6" y="6"/>
                  <a:pt x="6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7"/>
                  <a:pt x="2" y="7"/>
                  <a:pt x="2" y="7"/>
                </a:cubicBezTo>
                <a:cubicBezTo>
                  <a:pt x="7" y="7"/>
                  <a:pt x="7" y="7"/>
                  <a:pt x="7" y="7"/>
                </a:cubicBezTo>
                <a:cubicBezTo>
                  <a:pt x="8" y="8"/>
                  <a:pt x="8" y="8"/>
                  <a:pt x="8" y="8"/>
                </a:cubicBezTo>
                <a:cubicBezTo>
                  <a:pt x="6" y="8"/>
                  <a:pt x="6" y="8"/>
                  <a:pt x="6" y="8"/>
                </a:cubicBezTo>
                <a:cubicBezTo>
                  <a:pt x="6" y="9"/>
                  <a:pt x="6" y="9"/>
                  <a:pt x="6" y="9"/>
                </a:cubicBezTo>
                <a:cubicBezTo>
                  <a:pt x="9" y="9"/>
                  <a:pt x="9" y="9"/>
                  <a:pt x="9" y="9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1"/>
                  <a:pt x="9" y="11"/>
                  <a:pt x="9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6" y="10"/>
                  <a:pt x="6" y="10"/>
                  <a:pt x="6" y="10"/>
                </a:cubicBezTo>
                <a:cubicBezTo>
                  <a:pt x="5" y="11"/>
                  <a:pt x="5" y="11"/>
                  <a:pt x="5" y="11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5" y="12"/>
                  <a:pt x="5" y="12"/>
                </a:cubicBezTo>
                <a:cubicBezTo>
                  <a:pt x="2" y="9"/>
                  <a:pt x="2" y="9"/>
                  <a:pt x="2" y="9"/>
                </a:cubicBezTo>
                <a:cubicBezTo>
                  <a:pt x="1" y="10"/>
                  <a:pt x="1" y="10"/>
                  <a:pt x="1" y="10"/>
                </a:cubicBezTo>
                <a:cubicBezTo>
                  <a:pt x="3" y="12"/>
                  <a:pt x="3" y="12"/>
                  <a:pt x="3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3"/>
                  <a:pt x="0" y="13"/>
                  <a:pt x="0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1" y="16"/>
                  <a:pt x="1" y="16"/>
                  <a:pt x="1" y="16"/>
                </a:cubicBezTo>
                <a:cubicBezTo>
                  <a:pt x="2" y="17"/>
                  <a:pt x="2" y="17"/>
                  <a:pt x="2" y="17"/>
                </a:cubicBezTo>
                <a:cubicBezTo>
                  <a:pt x="5" y="13"/>
                  <a:pt x="5" y="13"/>
                  <a:pt x="5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4"/>
                  <a:pt x="5" y="14"/>
                  <a:pt x="5" y="14"/>
                </a:cubicBezTo>
                <a:cubicBezTo>
                  <a:pt x="6" y="15"/>
                  <a:pt x="6" y="15"/>
                  <a:pt x="6" y="15"/>
                </a:cubicBezTo>
                <a:cubicBezTo>
                  <a:pt x="8" y="13"/>
                  <a:pt x="8" y="13"/>
                  <a:pt x="8" y="13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4"/>
                  <a:pt x="10" y="14"/>
                  <a:pt x="10" y="15"/>
                </a:cubicBezTo>
                <a:cubicBezTo>
                  <a:pt x="9" y="16"/>
                  <a:pt x="9" y="16"/>
                  <a:pt x="9" y="16"/>
                </a:cubicBezTo>
                <a:cubicBezTo>
                  <a:pt x="6" y="16"/>
                  <a:pt x="6" y="16"/>
                  <a:pt x="6" y="16"/>
                </a:cubicBezTo>
                <a:cubicBezTo>
                  <a:pt x="6" y="17"/>
                  <a:pt x="6" y="17"/>
                  <a:pt x="6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7" y="18"/>
                  <a:pt x="7" y="18"/>
                  <a:pt x="7" y="18"/>
                </a:cubicBezTo>
                <a:cubicBezTo>
                  <a:pt x="2" y="18"/>
                  <a:pt x="2" y="18"/>
                  <a:pt x="2" y="18"/>
                </a:cubicBezTo>
                <a:cubicBezTo>
                  <a:pt x="2" y="19"/>
                  <a:pt x="2" y="19"/>
                  <a:pt x="2" y="19"/>
                </a:cubicBezTo>
                <a:cubicBezTo>
                  <a:pt x="6" y="19"/>
                  <a:pt x="6" y="19"/>
                  <a:pt x="6" y="19"/>
                </a:cubicBezTo>
                <a:cubicBezTo>
                  <a:pt x="4" y="21"/>
                  <a:pt x="4" y="21"/>
                  <a:pt x="4" y="21"/>
                </a:cubicBezTo>
                <a:cubicBezTo>
                  <a:pt x="5" y="22"/>
                  <a:pt x="5" y="22"/>
                  <a:pt x="5" y="22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4"/>
                  <a:pt x="7" y="24"/>
                  <a:pt x="7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8" y="19"/>
                  <a:pt x="8" y="19"/>
                  <a:pt x="8" y="19"/>
                </a:cubicBezTo>
                <a:cubicBezTo>
                  <a:pt x="9" y="18"/>
                  <a:pt x="9" y="18"/>
                  <a:pt x="9" y="18"/>
                </a:cubicBezTo>
                <a:cubicBezTo>
                  <a:pt x="9" y="19"/>
                  <a:pt x="9" y="19"/>
                  <a:pt x="9" y="19"/>
                </a:cubicBezTo>
                <a:cubicBezTo>
                  <a:pt x="10" y="19"/>
                  <a:pt x="10" y="19"/>
                  <a:pt x="10" y="19"/>
                </a:cubicBezTo>
                <a:cubicBezTo>
                  <a:pt x="10" y="17"/>
                  <a:pt x="10" y="17"/>
                  <a:pt x="10" y="17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16"/>
                  <a:pt x="12" y="16"/>
                  <a:pt x="13" y="16"/>
                </a:cubicBezTo>
                <a:cubicBezTo>
                  <a:pt x="13" y="18"/>
                  <a:pt x="13" y="18"/>
                  <a:pt x="13" y="18"/>
                </a:cubicBezTo>
                <a:cubicBezTo>
                  <a:pt x="11" y="20"/>
                  <a:pt x="11" y="20"/>
                  <a:pt x="11" y="20"/>
                </a:cubicBezTo>
                <a:cubicBezTo>
                  <a:pt x="12" y="21"/>
                  <a:pt x="12" y="21"/>
                  <a:pt x="12" y="21"/>
                </a:cubicBezTo>
                <a:cubicBezTo>
                  <a:pt x="13" y="20"/>
                  <a:pt x="13" y="20"/>
                  <a:pt x="13" y="20"/>
                </a:cubicBezTo>
                <a:cubicBezTo>
                  <a:pt x="13" y="21"/>
                  <a:pt x="13" y="21"/>
                  <a:pt x="13" y="21"/>
                </a:cubicBezTo>
                <a:cubicBezTo>
                  <a:pt x="9" y="24"/>
                  <a:pt x="9" y="24"/>
                  <a:pt x="9" y="24"/>
                </a:cubicBezTo>
                <a:cubicBezTo>
                  <a:pt x="10" y="25"/>
                  <a:pt x="10" y="25"/>
                  <a:pt x="10" y="25"/>
                </a:cubicBezTo>
                <a:cubicBezTo>
                  <a:pt x="13" y="23"/>
                  <a:pt x="13" y="23"/>
                  <a:pt x="13" y="23"/>
                </a:cubicBezTo>
                <a:cubicBezTo>
                  <a:pt x="13" y="25"/>
                  <a:pt x="13" y="25"/>
                  <a:pt x="13" y="25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3"/>
                  <a:pt x="14" y="23"/>
                  <a:pt x="14" y="23"/>
                </a:cubicBezTo>
                <a:cubicBezTo>
                  <a:pt x="16" y="25"/>
                  <a:pt x="16" y="25"/>
                  <a:pt x="16" y="25"/>
                </a:cubicBezTo>
                <a:cubicBezTo>
                  <a:pt x="17" y="24"/>
                  <a:pt x="17" y="24"/>
                  <a:pt x="17" y="24"/>
                </a:cubicBezTo>
                <a:cubicBezTo>
                  <a:pt x="14" y="21"/>
                  <a:pt x="14" y="21"/>
                  <a:pt x="14" y="21"/>
                </a:cubicBezTo>
                <a:cubicBezTo>
                  <a:pt x="14" y="20"/>
                  <a:pt x="14" y="20"/>
                  <a:pt x="14" y="20"/>
                </a:cubicBezTo>
                <a:cubicBezTo>
                  <a:pt x="15" y="21"/>
                  <a:pt x="15" y="21"/>
                  <a:pt x="15" y="21"/>
                </a:cubicBezTo>
                <a:cubicBezTo>
                  <a:pt x="16" y="20"/>
                  <a:pt x="16" y="20"/>
                  <a:pt x="16" y="20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6"/>
                  <a:pt x="14" y="16"/>
                  <a:pt x="14" y="16"/>
                </a:cubicBezTo>
                <a:cubicBezTo>
                  <a:pt x="15" y="16"/>
                  <a:pt x="15" y="16"/>
                  <a:pt x="16" y="16"/>
                </a:cubicBezTo>
                <a:cubicBezTo>
                  <a:pt x="17" y="17"/>
                  <a:pt x="17" y="17"/>
                  <a:pt x="17" y="17"/>
                </a:cubicBezTo>
                <a:cubicBezTo>
                  <a:pt x="17" y="19"/>
                  <a:pt x="17" y="19"/>
                  <a:pt x="17" y="19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18"/>
                  <a:pt x="18" y="18"/>
                  <a:pt x="18" y="18"/>
                </a:cubicBezTo>
                <a:cubicBezTo>
                  <a:pt x="19" y="19"/>
                  <a:pt x="19" y="19"/>
                  <a:pt x="19" y="19"/>
                </a:cubicBezTo>
                <a:cubicBezTo>
                  <a:pt x="19" y="24"/>
                  <a:pt x="19" y="24"/>
                  <a:pt x="19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0"/>
                  <a:pt x="20" y="20"/>
                  <a:pt x="20" y="20"/>
                </a:cubicBezTo>
                <a:cubicBezTo>
                  <a:pt x="22" y="22"/>
                  <a:pt x="22" y="22"/>
                  <a:pt x="22" y="22"/>
                </a:cubicBezTo>
                <a:cubicBezTo>
                  <a:pt x="23" y="21"/>
                  <a:pt x="23" y="21"/>
                  <a:pt x="23" y="21"/>
                </a:cubicBezTo>
                <a:cubicBezTo>
                  <a:pt x="21" y="19"/>
                  <a:pt x="21" y="19"/>
                  <a:pt x="21" y="19"/>
                </a:cubicBezTo>
                <a:cubicBezTo>
                  <a:pt x="24" y="19"/>
                  <a:pt x="24" y="19"/>
                  <a:pt x="24" y="19"/>
                </a:cubicBezTo>
                <a:cubicBezTo>
                  <a:pt x="24" y="18"/>
                  <a:pt x="24" y="18"/>
                  <a:pt x="24" y="18"/>
                </a:cubicBezTo>
                <a:cubicBezTo>
                  <a:pt x="20" y="18"/>
                  <a:pt x="20" y="18"/>
                  <a:pt x="20" y="18"/>
                </a:cubicBezTo>
                <a:cubicBezTo>
                  <a:pt x="19" y="17"/>
                  <a:pt x="19" y="17"/>
                  <a:pt x="19" y="17"/>
                </a:cubicBezTo>
                <a:cubicBezTo>
                  <a:pt x="20" y="17"/>
                  <a:pt x="20" y="17"/>
                  <a:pt x="20" y="17"/>
                </a:cubicBezTo>
                <a:cubicBezTo>
                  <a:pt x="20" y="16"/>
                  <a:pt x="20" y="16"/>
                  <a:pt x="20" y="16"/>
                </a:cubicBezTo>
                <a:cubicBezTo>
                  <a:pt x="18" y="16"/>
                  <a:pt x="18" y="16"/>
                  <a:pt x="18" y="16"/>
                </a:cubicBezTo>
                <a:cubicBezTo>
                  <a:pt x="17" y="15"/>
                  <a:pt x="17" y="15"/>
                  <a:pt x="17" y="15"/>
                </a:cubicBezTo>
                <a:cubicBezTo>
                  <a:pt x="17" y="14"/>
                  <a:pt x="17" y="14"/>
                  <a:pt x="17" y="13"/>
                </a:cubicBezTo>
                <a:cubicBezTo>
                  <a:pt x="19" y="13"/>
                  <a:pt x="19" y="13"/>
                  <a:pt x="19" y="13"/>
                </a:cubicBezTo>
                <a:cubicBezTo>
                  <a:pt x="20" y="15"/>
                  <a:pt x="20" y="15"/>
                  <a:pt x="20" y="15"/>
                </a:cubicBezTo>
                <a:cubicBezTo>
                  <a:pt x="21" y="14"/>
                  <a:pt x="21" y="14"/>
                  <a:pt x="21" y="14"/>
                </a:cubicBezTo>
                <a:cubicBezTo>
                  <a:pt x="21" y="13"/>
                  <a:pt x="21" y="13"/>
                  <a:pt x="21" y="13"/>
                </a:cubicBezTo>
                <a:cubicBezTo>
                  <a:pt x="22" y="13"/>
                  <a:pt x="22" y="13"/>
                  <a:pt x="22" y="13"/>
                </a:cubicBezTo>
                <a:cubicBezTo>
                  <a:pt x="25" y="17"/>
                  <a:pt x="25" y="17"/>
                  <a:pt x="25" y="17"/>
                </a:cubicBezTo>
                <a:cubicBezTo>
                  <a:pt x="26" y="16"/>
                  <a:pt x="26" y="16"/>
                  <a:pt x="26" y="16"/>
                </a:cubicBezTo>
                <a:cubicBezTo>
                  <a:pt x="24" y="13"/>
                  <a:pt x="24" y="13"/>
                  <a:pt x="24" y="13"/>
                </a:cubicBezTo>
                <a:cubicBezTo>
                  <a:pt x="26" y="13"/>
                  <a:pt x="26" y="13"/>
                  <a:pt x="26" y="13"/>
                </a:cubicBezTo>
                <a:lnTo>
                  <a:pt x="26" y="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8" name="ïṡľiḍè">
            <a:extLst>
              <a:ext uri="{FF2B5EF4-FFF2-40B4-BE49-F238E27FC236}">
                <a16:creationId xmlns:a16="http://schemas.microsoft.com/office/drawing/2014/main" id="{BBCECA26-576D-4B69-B482-59A4190CC66C}"/>
              </a:ext>
            </a:extLst>
          </p:cNvPr>
          <p:cNvSpPr/>
          <p:nvPr/>
        </p:nvSpPr>
        <p:spPr bwMode="auto">
          <a:xfrm>
            <a:off x="7178058" y="3503976"/>
            <a:ext cx="258791" cy="192655"/>
          </a:xfrm>
          <a:custGeom>
            <a:avLst/>
            <a:gdLst>
              <a:gd name="T0" fmla="*/ 25 w 50"/>
              <a:gd name="T1" fmla="*/ 0 h 37"/>
              <a:gd name="T2" fmla="*/ 0 w 50"/>
              <a:gd name="T3" fmla="*/ 25 h 37"/>
              <a:gd name="T4" fmla="*/ 3 w 50"/>
              <a:gd name="T5" fmla="*/ 37 h 37"/>
              <a:gd name="T6" fmla="*/ 3 w 50"/>
              <a:gd name="T7" fmla="*/ 30 h 37"/>
              <a:gd name="T8" fmla="*/ 4 w 50"/>
              <a:gd name="T9" fmla="*/ 27 h 37"/>
              <a:gd name="T10" fmla="*/ 4 w 50"/>
              <a:gd name="T11" fmla="*/ 25 h 37"/>
              <a:gd name="T12" fmla="*/ 25 w 50"/>
              <a:gd name="T13" fmla="*/ 4 h 37"/>
              <a:gd name="T14" fmla="*/ 46 w 50"/>
              <a:gd name="T15" fmla="*/ 25 h 37"/>
              <a:gd name="T16" fmla="*/ 46 w 50"/>
              <a:gd name="T17" fmla="*/ 27 h 37"/>
              <a:gd name="T18" fmla="*/ 47 w 50"/>
              <a:gd name="T19" fmla="*/ 30 h 37"/>
              <a:gd name="T20" fmla="*/ 47 w 50"/>
              <a:gd name="T21" fmla="*/ 37 h 37"/>
              <a:gd name="T22" fmla="*/ 50 w 50"/>
              <a:gd name="T23" fmla="*/ 25 h 37"/>
              <a:gd name="T24" fmla="*/ 25 w 50"/>
              <a:gd name="T25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" h="37">
                <a:moveTo>
                  <a:pt x="25" y="0"/>
                </a:moveTo>
                <a:cubicBezTo>
                  <a:pt x="11" y="0"/>
                  <a:pt x="0" y="11"/>
                  <a:pt x="0" y="25"/>
                </a:cubicBezTo>
                <a:cubicBezTo>
                  <a:pt x="0" y="29"/>
                  <a:pt x="1" y="33"/>
                  <a:pt x="3" y="37"/>
                </a:cubicBezTo>
                <a:cubicBezTo>
                  <a:pt x="3" y="30"/>
                  <a:pt x="3" y="30"/>
                  <a:pt x="3" y="30"/>
                </a:cubicBezTo>
                <a:cubicBezTo>
                  <a:pt x="3" y="29"/>
                  <a:pt x="3" y="28"/>
                  <a:pt x="4" y="27"/>
                </a:cubicBezTo>
                <a:cubicBezTo>
                  <a:pt x="4" y="26"/>
                  <a:pt x="4" y="26"/>
                  <a:pt x="4" y="25"/>
                </a:cubicBezTo>
                <a:cubicBezTo>
                  <a:pt x="4" y="14"/>
                  <a:pt x="13" y="4"/>
                  <a:pt x="25" y="4"/>
                </a:cubicBezTo>
                <a:cubicBezTo>
                  <a:pt x="36" y="4"/>
                  <a:pt x="46" y="14"/>
                  <a:pt x="46" y="25"/>
                </a:cubicBezTo>
                <a:cubicBezTo>
                  <a:pt x="46" y="26"/>
                  <a:pt x="46" y="27"/>
                  <a:pt x="46" y="27"/>
                </a:cubicBezTo>
                <a:cubicBezTo>
                  <a:pt x="46" y="28"/>
                  <a:pt x="47" y="29"/>
                  <a:pt x="47" y="30"/>
                </a:cubicBezTo>
                <a:cubicBezTo>
                  <a:pt x="47" y="37"/>
                  <a:pt x="47" y="37"/>
                  <a:pt x="47" y="37"/>
                </a:cubicBezTo>
                <a:cubicBezTo>
                  <a:pt x="49" y="34"/>
                  <a:pt x="50" y="29"/>
                  <a:pt x="50" y="25"/>
                </a:cubicBezTo>
                <a:cubicBezTo>
                  <a:pt x="50" y="11"/>
                  <a:pt x="39" y="0"/>
                  <a:pt x="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9" name="îśľíḋe">
            <a:extLst>
              <a:ext uri="{FF2B5EF4-FFF2-40B4-BE49-F238E27FC236}">
                <a16:creationId xmlns:a16="http://schemas.microsoft.com/office/drawing/2014/main" id="{F8C57EBB-C1EE-484D-A331-D47E3EA5F028}"/>
              </a:ext>
            </a:extLst>
          </p:cNvPr>
          <p:cNvSpPr/>
          <p:nvPr/>
        </p:nvSpPr>
        <p:spPr bwMode="auto">
          <a:xfrm>
            <a:off x="7198186" y="3633372"/>
            <a:ext cx="57510" cy="104954"/>
          </a:xfrm>
          <a:custGeom>
            <a:avLst/>
            <a:gdLst>
              <a:gd name="T0" fmla="*/ 1 w 11"/>
              <a:gd name="T1" fmla="*/ 4 h 20"/>
              <a:gd name="T2" fmla="*/ 0 w 11"/>
              <a:gd name="T3" fmla="*/ 5 h 20"/>
              <a:gd name="T4" fmla="*/ 0 w 11"/>
              <a:gd name="T5" fmla="*/ 12 h 20"/>
              <a:gd name="T6" fmla="*/ 0 w 11"/>
              <a:gd name="T7" fmla="*/ 15 h 20"/>
              <a:gd name="T8" fmla="*/ 8 w 11"/>
              <a:gd name="T9" fmla="*/ 20 h 20"/>
              <a:gd name="T10" fmla="*/ 11 w 11"/>
              <a:gd name="T11" fmla="*/ 20 h 20"/>
              <a:gd name="T12" fmla="*/ 11 w 11"/>
              <a:gd name="T13" fmla="*/ 0 h 20"/>
              <a:gd name="T14" fmla="*/ 8 w 11"/>
              <a:gd name="T15" fmla="*/ 0 h 20"/>
              <a:gd name="T16" fmla="*/ 1 w 11"/>
              <a:gd name="T17" fmla="*/ 4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0">
                <a:moveTo>
                  <a:pt x="1" y="4"/>
                </a:moveTo>
                <a:cubicBezTo>
                  <a:pt x="0" y="5"/>
                  <a:pt x="0" y="5"/>
                  <a:pt x="0" y="5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8"/>
                  <a:pt x="4" y="20"/>
                  <a:pt x="8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1" y="2"/>
                  <a:pt x="1" y="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0" name="ïṡļïďê">
            <a:extLst>
              <a:ext uri="{FF2B5EF4-FFF2-40B4-BE49-F238E27FC236}">
                <a16:creationId xmlns:a16="http://schemas.microsoft.com/office/drawing/2014/main" id="{CBEEAB7B-A5B0-42F6-933D-3EBB32C15E7A}"/>
              </a:ext>
            </a:extLst>
          </p:cNvPr>
          <p:cNvSpPr/>
          <p:nvPr/>
        </p:nvSpPr>
        <p:spPr bwMode="auto">
          <a:xfrm>
            <a:off x="7354898" y="3633372"/>
            <a:ext cx="56071" cy="104954"/>
          </a:xfrm>
          <a:custGeom>
            <a:avLst/>
            <a:gdLst>
              <a:gd name="T0" fmla="*/ 11 w 11"/>
              <a:gd name="T1" fmla="*/ 15 h 20"/>
              <a:gd name="T2" fmla="*/ 11 w 11"/>
              <a:gd name="T3" fmla="*/ 12 h 20"/>
              <a:gd name="T4" fmla="*/ 11 w 11"/>
              <a:gd name="T5" fmla="*/ 5 h 20"/>
              <a:gd name="T6" fmla="*/ 11 w 11"/>
              <a:gd name="T7" fmla="*/ 5 h 20"/>
              <a:gd name="T8" fmla="*/ 4 w 11"/>
              <a:gd name="T9" fmla="*/ 0 h 20"/>
              <a:gd name="T10" fmla="*/ 0 w 11"/>
              <a:gd name="T11" fmla="*/ 0 h 20"/>
              <a:gd name="T12" fmla="*/ 0 w 11"/>
              <a:gd name="T13" fmla="*/ 20 h 20"/>
              <a:gd name="T14" fmla="*/ 4 w 11"/>
              <a:gd name="T15" fmla="*/ 20 h 20"/>
              <a:gd name="T16" fmla="*/ 11 w 11"/>
              <a:gd name="T17" fmla="*/ 15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0">
                <a:moveTo>
                  <a:pt x="11" y="15"/>
                </a:moveTo>
                <a:cubicBezTo>
                  <a:pt x="11" y="12"/>
                  <a:pt x="11" y="12"/>
                  <a:pt x="11" y="12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7" y="0"/>
                  <a:pt x="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0"/>
                  <a:pt x="0" y="20"/>
                  <a:pt x="0" y="20"/>
                </a:cubicBezTo>
                <a:cubicBezTo>
                  <a:pt x="4" y="20"/>
                  <a:pt x="4" y="20"/>
                  <a:pt x="4" y="20"/>
                </a:cubicBezTo>
                <a:cubicBezTo>
                  <a:pt x="8" y="20"/>
                  <a:pt x="11" y="18"/>
                  <a:pt x="11" y="1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1" name="íşļïḓê">
            <a:extLst>
              <a:ext uri="{FF2B5EF4-FFF2-40B4-BE49-F238E27FC236}">
                <a16:creationId xmlns:a16="http://schemas.microsoft.com/office/drawing/2014/main" id="{DC56F06C-4309-47B4-AAF8-93AB09C512AD}"/>
              </a:ext>
            </a:extLst>
          </p:cNvPr>
          <p:cNvSpPr/>
          <p:nvPr/>
        </p:nvSpPr>
        <p:spPr bwMode="auto">
          <a:xfrm>
            <a:off x="7996124" y="5338515"/>
            <a:ext cx="208471" cy="192655"/>
          </a:xfrm>
          <a:custGeom>
            <a:avLst/>
            <a:gdLst>
              <a:gd name="T0" fmla="*/ 32 w 40"/>
              <a:gd name="T1" fmla="*/ 16 h 37"/>
              <a:gd name="T2" fmla="*/ 31 w 40"/>
              <a:gd name="T3" fmla="*/ 13 h 37"/>
              <a:gd name="T4" fmla="*/ 25 w 40"/>
              <a:gd name="T5" fmla="*/ 14 h 37"/>
              <a:gd name="T6" fmla="*/ 25 w 40"/>
              <a:gd name="T7" fmla="*/ 9 h 37"/>
              <a:gd name="T8" fmla="*/ 21 w 40"/>
              <a:gd name="T9" fmla="*/ 11 h 37"/>
              <a:gd name="T10" fmla="*/ 19 w 40"/>
              <a:gd name="T11" fmla="*/ 5 h 37"/>
              <a:gd name="T12" fmla="*/ 16 w 40"/>
              <a:gd name="T13" fmla="*/ 6 h 37"/>
              <a:gd name="T14" fmla="*/ 17 w 40"/>
              <a:gd name="T15" fmla="*/ 12 h 37"/>
              <a:gd name="T16" fmla="*/ 13 w 40"/>
              <a:gd name="T17" fmla="*/ 6 h 37"/>
              <a:gd name="T18" fmla="*/ 12 w 40"/>
              <a:gd name="T19" fmla="*/ 0 h 37"/>
              <a:gd name="T20" fmla="*/ 7 w 40"/>
              <a:gd name="T21" fmla="*/ 2 h 37"/>
              <a:gd name="T22" fmla="*/ 3 w 40"/>
              <a:gd name="T23" fmla="*/ 7 h 37"/>
              <a:gd name="T24" fmla="*/ 11 w 40"/>
              <a:gd name="T25" fmla="*/ 10 h 37"/>
              <a:gd name="T26" fmla="*/ 14 w 40"/>
              <a:gd name="T27" fmla="*/ 12 h 37"/>
              <a:gd name="T28" fmla="*/ 12 w 40"/>
              <a:gd name="T29" fmla="*/ 16 h 37"/>
              <a:gd name="T30" fmla="*/ 9 w 40"/>
              <a:gd name="T31" fmla="*/ 16 h 37"/>
              <a:gd name="T32" fmla="*/ 1 w 40"/>
              <a:gd name="T33" fmla="*/ 12 h 37"/>
              <a:gd name="T34" fmla="*/ 0 w 40"/>
              <a:gd name="T35" fmla="*/ 18 h 37"/>
              <a:gd name="T36" fmla="*/ 2 w 40"/>
              <a:gd name="T37" fmla="*/ 23 h 37"/>
              <a:gd name="T38" fmla="*/ 7 w 40"/>
              <a:gd name="T39" fmla="*/ 19 h 37"/>
              <a:gd name="T40" fmla="*/ 14 w 40"/>
              <a:gd name="T41" fmla="*/ 18 h 37"/>
              <a:gd name="T42" fmla="*/ 9 w 40"/>
              <a:gd name="T43" fmla="*/ 22 h 37"/>
              <a:gd name="T44" fmla="*/ 10 w 40"/>
              <a:gd name="T45" fmla="*/ 25 h 37"/>
              <a:gd name="T46" fmla="*/ 8 w 40"/>
              <a:gd name="T47" fmla="*/ 27 h 37"/>
              <a:gd name="T48" fmla="*/ 10 w 40"/>
              <a:gd name="T49" fmla="*/ 29 h 37"/>
              <a:gd name="T50" fmla="*/ 12 w 40"/>
              <a:gd name="T51" fmla="*/ 27 h 37"/>
              <a:gd name="T52" fmla="*/ 15 w 40"/>
              <a:gd name="T53" fmla="*/ 28 h 37"/>
              <a:gd name="T54" fmla="*/ 19 w 40"/>
              <a:gd name="T55" fmla="*/ 23 h 37"/>
              <a:gd name="T56" fmla="*/ 18 w 40"/>
              <a:gd name="T57" fmla="*/ 30 h 37"/>
              <a:gd name="T58" fmla="*/ 14 w 40"/>
              <a:gd name="T59" fmla="*/ 35 h 37"/>
              <a:gd name="T60" fmla="*/ 19 w 40"/>
              <a:gd name="T61" fmla="*/ 37 h 37"/>
              <a:gd name="T62" fmla="*/ 25 w 40"/>
              <a:gd name="T63" fmla="*/ 36 h 37"/>
              <a:gd name="T64" fmla="*/ 21 w 40"/>
              <a:gd name="T65" fmla="*/ 28 h 37"/>
              <a:gd name="T66" fmla="*/ 21 w 40"/>
              <a:gd name="T67" fmla="*/ 25 h 37"/>
              <a:gd name="T68" fmla="*/ 25 w 40"/>
              <a:gd name="T69" fmla="*/ 24 h 37"/>
              <a:gd name="T70" fmla="*/ 27 w 40"/>
              <a:gd name="T71" fmla="*/ 26 h 37"/>
              <a:gd name="T72" fmla="*/ 31 w 40"/>
              <a:gd name="T73" fmla="*/ 34 h 37"/>
              <a:gd name="T74" fmla="*/ 35 w 40"/>
              <a:gd name="T75" fmla="*/ 30 h 37"/>
              <a:gd name="T76" fmla="*/ 37 w 40"/>
              <a:gd name="T77" fmla="*/ 25 h 37"/>
              <a:gd name="T78" fmla="*/ 31 w 40"/>
              <a:gd name="T79" fmla="*/ 24 h 37"/>
              <a:gd name="T80" fmla="*/ 25 w 40"/>
              <a:gd name="T81" fmla="*/ 21 h 37"/>
              <a:gd name="T82" fmla="*/ 31 w 40"/>
              <a:gd name="T83" fmla="*/ 21 h 37"/>
              <a:gd name="T84" fmla="*/ 33 w 40"/>
              <a:gd name="T85" fmla="*/ 18 h 37"/>
              <a:gd name="T86" fmla="*/ 36 w 40"/>
              <a:gd name="T87" fmla="*/ 18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0" h="37">
                <a:moveTo>
                  <a:pt x="34" y="15"/>
                </a:moveTo>
                <a:cubicBezTo>
                  <a:pt x="33" y="16"/>
                  <a:pt x="33" y="16"/>
                  <a:pt x="33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3" y="15"/>
                  <a:pt x="33" y="15"/>
                  <a:pt x="33" y="15"/>
                </a:cubicBezTo>
                <a:cubicBezTo>
                  <a:pt x="32" y="14"/>
                  <a:pt x="32" y="14"/>
                  <a:pt x="32" y="14"/>
                </a:cubicBezTo>
                <a:cubicBezTo>
                  <a:pt x="32" y="14"/>
                  <a:pt x="31" y="13"/>
                  <a:pt x="31" y="13"/>
                </a:cubicBezTo>
                <a:cubicBezTo>
                  <a:pt x="28" y="16"/>
                  <a:pt x="28" y="16"/>
                  <a:pt x="28" y="16"/>
                </a:cubicBezTo>
                <a:cubicBezTo>
                  <a:pt x="26" y="16"/>
                  <a:pt x="26" y="16"/>
                  <a:pt x="26" y="16"/>
                </a:cubicBezTo>
                <a:cubicBezTo>
                  <a:pt x="26" y="15"/>
                  <a:pt x="26" y="14"/>
                  <a:pt x="25" y="14"/>
                </a:cubicBezTo>
                <a:cubicBezTo>
                  <a:pt x="27" y="12"/>
                  <a:pt x="27" y="12"/>
                  <a:pt x="27" y="12"/>
                </a:cubicBezTo>
                <a:cubicBezTo>
                  <a:pt x="29" y="12"/>
                  <a:pt x="29" y="12"/>
                  <a:pt x="29" y="12"/>
                </a:cubicBezTo>
                <a:cubicBezTo>
                  <a:pt x="28" y="11"/>
                  <a:pt x="27" y="10"/>
                  <a:pt x="25" y="9"/>
                </a:cubicBezTo>
                <a:cubicBezTo>
                  <a:pt x="25" y="10"/>
                  <a:pt x="25" y="10"/>
                  <a:pt x="25" y="10"/>
                </a:cubicBezTo>
                <a:cubicBezTo>
                  <a:pt x="24" y="12"/>
                  <a:pt x="24" y="12"/>
                  <a:pt x="24" y="12"/>
                </a:cubicBezTo>
                <a:cubicBezTo>
                  <a:pt x="23" y="11"/>
                  <a:pt x="22" y="11"/>
                  <a:pt x="21" y="11"/>
                </a:cubicBezTo>
                <a:cubicBezTo>
                  <a:pt x="21" y="9"/>
                  <a:pt x="21" y="9"/>
                  <a:pt x="21" y="9"/>
                </a:cubicBezTo>
                <a:cubicBezTo>
                  <a:pt x="22" y="8"/>
                  <a:pt x="22" y="8"/>
                  <a:pt x="22" y="8"/>
                </a:cubicBezTo>
                <a:cubicBezTo>
                  <a:pt x="21" y="7"/>
                  <a:pt x="20" y="6"/>
                  <a:pt x="19" y="5"/>
                </a:cubicBezTo>
                <a:cubicBezTo>
                  <a:pt x="19" y="6"/>
                  <a:pt x="19" y="6"/>
                  <a:pt x="19" y="6"/>
                </a:cubicBezTo>
                <a:cubicBezTo>
                  <a:pt x="18" y="4"/>
                  <a:pt x="18" y="4"/>
                  <a:pt x="18" y="4"/>
                </a:cubicBezTo>
                <a:cubicBezTo>
                  <a:pt x="16" y="6"/>
                  <a:pt x="16" y="6"/>
                  <a:pt x="16" y="6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11"/>
                  <a:pt x="19" y="11"/>
                  <a:pt x="19" y="11"/>
                </a:cubicBezTo>
                <a:cubicBezTo>
                  <a:pt x="18" y="11"/>
                  <a:pt x="17" y="11"/>
                  <a:pt x="17" y="12"/>
                </a:cubicBezTo>
                <a:cubicBezTo>
                  <a:pt x="15" y="10"/>
                  <a:pt x="15" y="10"/>
                  <a:pt x="15" y="10"/>
                </a:cubicBezTo>
                <a:cubicBezTo>
                  <a:pt x="15" y="6"/>
                  <a:pt x="15" y="6"/>
                  <a:pt x="1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8"/>
                  <a:pt x="13" y="8"/>
                  <a:pt x="13" y="8"/>
                </a:cubicBezTo>
                <a:cubicBezTo>
                  <a:pt x="12" y="7"/>
                  <a:pt x="12" y="7"/>
                  <a:pt x="12" y="7"/>
                </a:cubicBezTo>
                <a:cubicBezTo>
                  <a:pt x="12" y="0"/>
                  <a:pt x="12" y="0"/>
                  <a:pt x="1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5"/>
                  <a:pt x="10" y="5"/>
                  <a:pt x="10" y="5"/>
                </a:cubicBezTo>
                <a:cubicBezTo>
                  <a:pt x="7" y="2"/>
                  <a:pt x="7" y="2"/>
                  <a:pt x="7" y="2"/>
                </a:cubicBezTo>
                <a:cubicBezTo>
                  <a:pt x="5" y="4"/>
                  <a:pt x="5" y="4"/>
                  <a:pt x="5" y="4"/>
                </a:cubicBezTo>
                <a:cubicBezTo>
                  <a:pt x="8" y="7"/>
                  <a:pt x="8" y="7"/>
                  <a:pt x="8" y="7"/>
                </a:cubicBezTo>
                <a:cubicBezTo>
                  <a:pt x="3" y="7"/>
                  <a:pt x="3" y="7"/>
                  <a:pt x="3" y="7"/>
                </a:cubicBezTo>
                <a:cubicBezTo>
                  <a:pt x="3" y="9"/>
                  <a:pt x="3" y="9"/>
                  <a:pt x="3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11" y="10"/>
                  <a:pt x="11" y="10"/>
                  <a:pt x="11" y="10"/>
                </a:cubicBezTo>
                <a:cubicBezTo>
                  <a:pt x="9" y="10"/>
                  <a:pt x="9" y="10"/>
                  <a:pt x="9" y="10"/>
                </a:cubicBezTo>
                <a:cubicBezTo>
                  <a:pt x="9" y="12"/>
                  <a:pt x="9" y="12"/>
                  <a:pt x="9" y="12"/>
                </a:cubicBezTo>
                <a:cubicBezTo>
                  <a:pt x="14" y="12"/>
                  <a:pt x="14" y="12"/>
                  <a:pt x="14" y="12"/>
                </a:cubicBezTo>
                <a:cubicBezTo>
                  <a:pt x="15" y="14"/>
                  <a:pt x="15" y="14"/>
                  <a:pt x="15" y="14"/>
                </a:cubicBezTo>
                <a:cubicBezTo>
                  <a:pt x="15" y="14"/>
                  <a:pt x="14" y="15"/>
                  <a:pt x="14" y="16"/>
                </a:cubicBezTo>
                <a:cubicBezTo>
                  <a:pt x="12" y="16"/>
                  <a:pt x="12" y="16"/>
                  <a:pt x="12" y="16"/>
                </a:cubicBezTo>
                <a:cubicBezTo>
                  <a:pt x="9" y="13"/>
                  <a:pt x="9" y="13"/>
                  <a:pt x="9" y="13"/>
                </a:cubicBezTo>
                <a:cubicBezTo>
                  <a:pt x="7" y="15"/>
                  <a:pt x="7" y="15"/>
                  <a:pt x="7" y="15"/>
                </a:cubicBezTo>
                <a:cubicBezTo>
                  <a:pt x="9" y="16"/>
                  <a:pt x="9" y="16"/>
                  <a:pt x="9" y="16"/>
                </a:cubicBezTo>
                <a:cubicBezTo>
                  <a:pt x="7" y="16"/>
                  <a:pt x="7" y="16"/>
                  <a:pt x="7" y="16"/>
                </a:cubicBezTo>
                <a:cubicBezTo>
                  <a:pt x="2" y="11"/>
                  <a:pt x="2" y="11"/>
                  <a:pt x="2" y="11"/>
                </a:cubicBezTo>
                <a:cubicBezTo>
                  <a:pt x="1" y="12"/>
                  <a:pt x="1" y="12"/>
                  <a:pt x="1" y="12"/>
                </a:cubicBezTo>
                <a:cubicBezTo>
                  <a:pt x="4" y="16"/>
                  <a:pt x="4" y="16"/>
                  <a:pt x="4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8"/>
                  <a:pt x="0" y="18"/>
                  <a:pt x="0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1" y="22"/>
                  <a:pt x="1" y="22"/>
                  <a:pt x="1" y="22"/>
                </a:cubicBezTo>
                <a:cubicBezTo>
                  <a:pt x="2" y="23"/>
                  <a:pt x="2" y="23"/>
                  <a:pt x="2" y="23"/>
                </a:cubicBezTo>
                <a:cubicBezTo>
                  <a:pt x="7" y="18"/>
                  <a:pt x="7" y="18"/>
                  <a:pt x="7" y="18"/>
                </a:cubicBezTo>
                <a:cubicBezTo>
                  <a:pt x="9" y="18"/>
                  <a:pt x="9" y="18"/>
                  <a:pt x="9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9" y="21"/>
                  <a:pt x="9" y="21"/>
                  <a:pt x="9" y="21"/>
                </a:cubicBezTo>
                <a:cubicBezTo>
                  <a:pt x="12" y="18"/>
                  <a:pt x="12" y="18"/>
                  <a:pt x="12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9"/>
                  <a:pt x="15" y="20"/>
                  <a:pt x="15" y="21"/>
                </a:cubicBezTo>
                <a:cubicBezTo>
                  <a:pt x="14" y="22"/>
                  <a:pt x="14" y="22"/>
                  <a:pt x="14" y="22"/>
                </a:cubicBezTo>
                <a:cubicBezTo>
                  <a:pt x="9" y="22"/>
                  <a:pt x="9" y="22"/>
                  <a:pt x="9" y="22"/>
                </a:cubicBezTo>
                <a:cubicBezTo>
                  <a:pt x="9" y="24"/>
                  <a:pt x="9" y="24"/>
                  <a:pt x="9" y="24"/>
                </a:cubicBezTo>
                <a:cubicBezTo>
                  <a:pt x="11" y="24"/>
                  <a:pt x="11" y="24"/>
                  <a:pt x="11" y="24"/>
                </a:cubicBezTo>
                <a:cubicBezTo>
                  <a:pt x="10" y="25"/>
                  <a:pt x="10" y="25"/>
                  <a:pt x="10" y="25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27"/>
                  <a:pt x="3" y="27"/>
                  <a:pt x="3" y="27"/>
                </a:cubicBezTo>
                <a:cubicBezTo>
                  <a:pt x="8" y="27"/>
                  <a:pt x="8" y="27"/>
                  <a:pt x="8" y="27"/>
                </a:cubicBezTo>
                <a:cubicBezTo>
                  <a:pt x="5" y="30"/>
                  <a:pt x="5" y="30"/>
                  <a:pt x="5" y="30"/>
                </a:cubicBezTo>
                <a:cubicBezTo>
                  <a:pt x="7" y="32"/>
                  <a:pt x="7" y="32"/>
                  <a:pt x="7" y="32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34"/>
                  <a:pt x="10" y="34"/>
                  <a:pt x="10" y="34"/>
                </a:cubicBezTo>
                <a:cubicBezTo>
                  <a:pt x="12" y="34"/>
                  <a:pt x="12" y="34"/>
                  <a:pt x="12" y="34"/>
                </a:cubicBezTo>
                <a:cubicBezTo>
                  <a:pt x="12" y="27"/>
                  <a:pt x="12" y="27"/>
                  <a:pt x="12" y="27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28"/>
                  <a:pt x="13" y="28"/>
                  <a:pt x="13" y="28"/>
                </a:cubicBezTo>
                <a:cubicBezTo>
                  <a:pt x="15" y="28"/>
                  <a:pt x="15" y="28"/>
                  <a:pt x="15" y="28"/>
                </a:cubicBezTo>
                <a:cubicBezTo>
                  <a:pt x="15" y="24"/>
                  <a:pt x="15" y="24"/>
                  <a:pt x="15" y="24"/>
                </a:cubicBezTo>
                <a:cubicBezTo>
                  <a:pt x="17" y="22"/>
                  <a:pt x="17" y="22"/>
                  <a:pt x="17" y="22"/>
                </a:cubicBezTo>
                <a:cubicBezTo>
                  <a:pt x="17" y="23"/>
                  <a:pt x="18" y="23"/>
                  <a:pt x="19" y="23"/>
                </a:cubicBezTo>
                <a:cubicBezTo>
                  <a:pt x="19" y="25"/>
                  <a:pt x="19" y="25"/>
                  <a:pt x="19" y="25"/>
                </a:cubicBezTo>
                <a:cubicBezTo>
                  <a:pt x="16" y="28"/>
                  <a:pt x="16" y="28"/>
                  <a:pt x="16" y="28"/>
                </a:cubicBezTo>
                <a:cubicBezTo>
                  <a:pt x="18" y="30"/>
                  <a:pt x="18" y="30"/>
                  <a:pt x="18" y="30"/>
                </a:cubicBezTo>
                <a:cubicBezTo>
                  <a:pt x="19" y="28"/>
                  <a:pt x="19" y="28"/>
                  <a:pt x="19" y="28"/>
                </a:cubicBezTo>
                <a:cubicBezTo>
                  <a:pt x="19" y="30"/>
                  <a:pt x="19" y="30"/>
                  <a:pt x="19" y="30"/>
                </a:cubicBezTo>
                <a:cubicBezTo>
                  <a:pt x="14" y="35"/>
                  <a:pt x="14" y="35"/>
                  <a:pt x="14" y="35"/>
                </a:cubicBezTo>
                <a:cubicBezTo>
                  <a:pt x="16" y="36"/>
                  <a:pt x="16" y="36"/>
                  <a:pt x="16" y="36"/>
                </a:cubicBezTo>
                <a:cubicBezTo>
                  <a:pt x="19" y="33"/>
                  <a:pt x="19" y="33"/>
                  <a:pt x="19" y="33"/>
                </a:cubicBezTo>
                <a:cubicBezTo>
                  <a:pt x="19" y="37"/>
                  <a:pt x="19" y="37"/>
                  <a:pt x="19" y="37"/>
                </a:cubicBezTo>
                <a:cubicBezTo>
                  <a:pt x="21" y="37"/>
                  <a:pt x="21" y="37"/>
                  <a:pt x="21" y="37"/>
                </a:cubicBezTo>
                <a:cubicBezTo>
                  <a:pt x="21" y="33"/>
                  <a:pt x="21" y="33"/>
                  <a:pt x="21" y="33"/>
                </a:cubicBezTo>
                <a:cubicBezTo>
                  <a:pt x="25" y="36"/>
                  <a:pt x="25" y="36"/>
                  <a:pt x="25" y="36"/>
                </a:cubicBezTo>
                <a:cubicBezTo>
                  <a:pt x="26" y="35"/>
                  <a:pt x="26" y="35"/>
                  <a:pt x="26" y="35"/>
                </a:cubicBezTo>
                <a:cubicBezTo>
                  <a:pt x="21" y="30"/>
                  <a:pt x="21" y="30"/>
                  <a:pt x="21" y="30"/>
                </a:cubicBezTo>
                <a:cubicBezTo>
                  <a:pt x="21" y="28"/>
                  <a:pt x="21" y="28"/>
                  <a:pt x="21" y="28"/>
                </a:cubicBezTo>
                <a:cubicBezTo>
                  <a:pt x="23" y="30"/>
                  <a:pt x="23" y="30"/>
                  <a:pt x="23" y="30"/>
                </a:cubicBezTo>
                <a:cubicBezTo>
                  <a:pt x="24" y="28"/>
                  <a:pt x="24" y="28"/>
                  <a:pt x="24" y="28"/>
                </a:cubicBezTo>
                <a:cubicBezTo>
                  <a:pt x="21" y="25"/>
                  <a:pt x="21" y="25"/>
                  <a:pt x="21" y="25"/>
                </a:cubicBezTo>
                <a:cubicBezTo>
                  <a:pt x="21" y="23"/>
                  <a:pt x="21" y="23"/>
                  <a:pt x="21" y="23"/>
                </a:cubicBezTo>
                <a:cubicBezTo>
                  <a:pt x="22" y="23"/>
                  <a:pt x="23" y="23"/>
                  <a:pt x="24" y="22"/>
                </a:cubicBezTo>
                <a:cubicBezTo>
                  <a:pt x="25" y="24"/>
                  <a:pt x="25" y="24"/>
                  <a:pt x="25" y="24"/>
                </a:cubicBezTo>
                <a:cubicBezTo>
                  <a:pt x="25" y="28"/>
                  <a:pt x="25" y="28"/>
                  <a:pt x="25" y="28"/>
                </a:cubicBezTo>
                <a:cubicBezTo>
                  <a:pt x="27" y="28"/>
                  <a:pt x="27" y="28"/>
                  <a:pt x="27" y="28"/>
                </a:cubicBezTo>
                <a:cubicBezTo>
                  <a:pt x="27" y="26"/>
                  <a:pt x="27" y="26"/>
                  <a:pt x="27" y="26"/>
                </a:cubicBezTo>
                <a:cubicBezTo>
                  <a:pt x="28" y="27"/>
                  <a:pt x="28" y="27"/>
                  <a:pt x="28" y="27"/>
                </a:cubicBezTo>
                <a:cubicBezTo>
                  <a:pt x="28" y="34"/>
                  <a:pt x="28" y="34"/>
                  <a:pt x="28" y="34"/>
                </a:cubicBezTo>
                <a:cubicBezTo>
                  <a:pt x="31" y="34"/>
                  <a:pt x="31" y="34"/>
                  <a:pt x="31" y="34"/>
                </a:cubicBezTo>
                <a:cubicBezTo>
                  <a:pt x="31" y="29"/>
                  <a:pt x="31" y="29"/>
                  <a:pt x="31" y="29"/>
                </a:cubicBezTo>
                <a:cubicBezTo>
                  <a:pt x="34" y="32"/>
                  <a:pt x="34" y="32"/>
                  <a:pt x="34" y="32"/>
                </a:cubicBezTo>
                <a:cubicBezTo>
                  <a:pt x="35" y="30"/>
                  <a:pt x="35" y="30"/>
                  <a:pt x="35" y="30"/>
                </a:cubicBezTo>
                <a:cubicBezTo>
                  <a:pt x="32" y="27"/>
                  <a:pt x="32" y="27"/>
                  <a:pt x="32" y="27"/>
                </a:cubicBezTo>
                <a:cubicBezTo>
                  <a:pt x="37" y="27"/>
                  <a:pt x="37" y="27"/>
                  <a:pt x="37" y="27"/>
                </a:cubicBezTo>
                <a:cubicBezTo>
                  <a:pt x="37" y="25"/>
                  <a:pt x="37" y="25"/>
                  <a:pt x="37" y="25"/>
                </a:cubicBezTo>
                <a:cubicBezTo>
                  <a:pt x="30" y="25"/>
                  <a:pt x="30" y="25"/>
                  <a:pt x="30" y="25"/>
                </a:cubicBezTo>
                <a:cubicBezTo>
                  <a:pt x="29" y="24"/>
                  <a:pt x="29" y="24"/>
                  <a:pt x="29" y="24"/>
                </a:cubicBezTo>
                <a:cubicBezTo>
                  <a:pt x="31" y="24"/>
                  <a:pt x="31" y="24"/>
                  <a:pt x="31" y="24"/>
                </a:cubicBezTo>
                <a:cubicBezTo>
                  <a:pt x="31" y="22"/>
                  <a:pt x="31" y="22"/>
                  <a:pt x="31" y="22"/>
                </a:cubicBezTo>
                <a:cubicBezTo>
                  <a:pt x="27" y="22"/>
                  <a:pt x="27" y="22"/>
                  <a:pt x="27" y="22"/>
                </a:cubicBezTo>
                <a:cubicBezTo>
                  <a:pt x="25" y="21"/>
                  <a:pt x="25" y="21"/>
                  <a:pt x="25" y="21"/>
                </a:cubicBezTo>
                <a:cubicBezTo>
                  <a:pt x="26" y="20"/>
                  <a:pt x="26" y="19"/>
                  <a:pt x="26" y="18"/>
                </a:cubicBezTo>
                <a:cubicBezTo>
                  <a:pt x="28" y="18"/>
                  <a:pt x="28" y="18"/>
                  <a:pt x="28" y="18"/>
                </a:cubicBezTo>
                <a:cubicBezTo>
                  <a:pt x="31" y="21"/>
                  <a:pt x="31" y="21"/>
                  <a:pt x="31" y="21"/>
                </a:cubicBezTo>
                <a:cubicBezTo>
                  <a:pt x="33" y="19"/>
                  <a:pt x="33" y="19"/>
                  <a:pt x="33" y="19"/>
                </a:cubicBezTo>
                <a:cubicBezTo>
                  <a:pt x="32" y="18"/>
                  <a:pt x="32" y="18"/>
                  <a:pt x="32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8" y="23"/>
                  <a:pt x="38" y="23"/>
                  <a:pt x="38" y="23"/>
                </a:cubicBezTo>
                <a:cubicBezTo>
                  <a:pt x="40" y="22"/>
                  <a:pt x="40" y="22"/>
                  <a:pt x="40" y="22"/>
                </a:cubicBezTo>
                <a:cubicBezTo>
                  <a:pt x="36" y="18"/>
                  <a:pt x="36" y="18"/>
                  <a:pt x="36" y="18"/>
                </a:cubicBezTo>
                <a:cubicBezTo>
                  <a:pt x="39" y="18"/>
                  <a:pt x="39" y="18"/>
                  <a:pt x="39" y="18"/>
                </a:cubicBezTo>
                <a:cubicBezTo>
                  <a:pt x="37" y="17"/>
                  <a:pt x="36" y="16"/>
                  <a:pt x="34" y="1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2" name="iṥḷíde">
            <a:extLst>
              <a:ext uri="{FF2B5EF4-FFF2-40B4-BE49-F238E27FC236}">
                <a16:creationId xmlns:a16="http://schemas.microsoft.com/office/drawing/2014/main" id="{846569D0-ADF7-4C1F-B63D-291E156FE649}"/>
              </a:ext>
            </a:extLst>
          </p:cNvPr>
          <p:cNvSpPr/>
          <p:nvPr/>
        </p:nvSpPr>
        <p:spPr bwMode="auto">
          <a:xfrm>
            <a:off x="7546116" y="2743418"/>
            <a:ext cx="135146" cy="133708"/>
          </a:xfrm>
          <a:custGeom>
            <a:avLst/>
            <a:gdLst>
              <a:gd name="T0" fmla="*/ 25 w 26"/>
              <a:gd name="T1" fmla="*/ 10 h 26"/>
              <a:gd name="T2" fmla="*/ 20 w 26"/>
              <a:gd name="T3" fmla="*/ 12 h 26"/>
              <a:gd name="T4" fmla="*/ 18 w 26"/>
              <a:gd name="T5" fmla="*/ 12 h 26"/>
              <a:gd name="T6" fmla="*/ 17 w 26"/>
              <a:gd name="T7" fmla="*/ 10 h 26"/>
              <a:gd name="T8" fmla="*/ 18 w 26"/>
              <a:gd name="T9" fmla="*/ 8 h 26"/>
              <a:gd name="T10" fmla="*/ 24 w 26"/>
              <a:gd name="T11" fmla="*/ 6 h 26"/>
              <a:gd name="T12" fmla="*/ 21 w 26"/>
              <a:gd name="T13" fmla="*/ 3 h 26"/>
              <a:gd name="T14" fmla="*/ 18 w 26"/>
              <a:gd name="T15" fmla="*/ 2 h 26"/>
              <a:gd name="T16" fmla="*/ 17 w 26"/>
              <a:gd name="T17" fmla="*/ 6 h 26"/>
              <a:gd name="T18" fmla="*/ 15 w 26"/>
              <a:gd name="T19" fmla="*/ 10 h 26"/>
              <a:gd name="T20" fmla="*/ 15 w 26"/>
              <a:gd name="T21" fmla="*/ 6 h 26"/>
              <a:gd name="T22" fmla="*/ 13 w 26"/>
              <a:gd name="T23" fmla="*/ 5 h 26"/>
              <a:gd name="T24" fmla="*/ 13 w 26"/>
              <a:gd name="T25" fmla="*/ 3 h 26"/>
              <a:gd name="T26" fmla="*/ 12 w 26"/>
              <a:gd name="T27" fmla="*/ 3 h 26"/>
              <a:gd name="T28" fmla="*/ 12 w 26"/>
              <a:gd name="T29" fmla="*/ 5 h 26"/>
              <a:gd name="T30" fmla="*/ 10 w 26"/>
              <a:gd name="T31" fmla="*/ 6 h 26"/>
              <a:gd name="T32" fmla="*/ 10 w 26"/>
              <a:gd name="T33" fmla="*/ 10 h 26"/>
              <a:gd name="T34" fmla="*/ 8 w 26"/>
              <a:gd name="T35" fmla="*/ 6 h 26"/>
              <a:gd name="T36" fmla="*/ 7 w 26"/>
              <a:gd name="T37" fmla="*/ 2 h 26"/>
              <a:gd name="T38" fmla="*/ 4 w 26"/>
              <a:gd name="T39" fmla="*/ 3 h 26"/>
              <a:gd name="T40" fmla="*/ 2 w 26"/>
              <a:gd name="T41" fmla="*/ 6 h 26"/>
              <a:gd name="T42" fmla="*/ 7 w 26"/>
              <a:gd name="T43" fmla="*/ 8 h 26"/>
              <a:gd name="T44" fmla="*/ 8 w 26"/>
              <a:gd name="T45" fmla="*/ 10 h 26"/>
              <a:gd name="T46" fmla="*/ 7 w 26"/>
              <a:gd name="T47" fmla="*/ 12 h 26"/>
              <a:gd name="T48" fmla="*/ 5 w 26"/>
              <a:gd name="T49" fmla="*/ 12 h 26"/>
              <a:gd name="T50" fmla="*/ 0 w 26"/>
              <a:gd name="T51" fmla="*/ 10 h 26"/>
              <a:gd name="T52" fmla="*/ 0 w 26"/>
              <a:gd name="T53" fmla="*/ 14 h 26"/>
              <a:gd name="T54" fmla="*/ 1 w 26"/>
              <a:gd name="T55" fmla="*/ 17 h 26"/>
              <a:gd name="T56" fmla="*/ 4 w 26"/>
              <a:gd name="T57" fmla="*/ 15 h 26"/>
              <a:gd name="T58" fmla="*/ 9 w 26"/>
              <a:gd name="T59" fmla="*/ 14 h 26"/>
              <a:gd name="T60" fmla="*/ 6 w 26"/>
              <a:gd name="T61" fmla="*/ 16 h 26"/>
              <a:gd name="T62" fmla="*/ 6 w 26"/>
              <a:gd name="T63" fmla="*/ 18 h 26"/>
              <a:gd name="T64" fmla="*/ 5 w 26"/>
              <a:gd name="T65" fmla="*/ 20 h 26"/>
              <a:gd name="T66" fmla="*/ 6 w 26"/>
              <a:gd name="T67" fmla="*/ 21 h 26"/>
              <a:gd name="T68" fmla="*/ 7 w 26"/>
              <a:gd name="T69" fmla="*/ 19 h 26"/>
              <a:gd name="T70" fmla="*/ 9 w 26"/>
              <a:gd name="T71" fmla="*/ 20 h 26"/>
              <a:gd name="T72" fmla="*/ 12 w 26"/>
              <a:gd name="T73" fmla="*/ 17 h 26"/>
              <a:gd name="T74" fmla="*/ 11 w 26"/>
              <a:gd name="T75" fmla="*/ 21 h 26"/>
              <a:gd name="T76" fmla="*/ 9 w 26"/>
              <a:gd name="T77" fmla="*/ 25 h 26"/>
              <a:gd name="T78" fmla="*/ 12 w 26"/>
              <a:gd name="T79" fmla="*/ 26 h 26"/>
              <a:gd name="T80" fmla="*/ 16 w 26"/>
              <a:gd name="T81" fmla="*/ 26 h 26"/>
              <a:gd name="T82" fmla="*/ 13 w 26"/>
              <a:gd name="T83" fmla="*/ 20 h 26"/>
              <a:gd name="T84" fmla="*/ 13 w 26"/>
              <a:gd name="T85" fmla="*/ 18 h 26"/>
              <a:gd name="T86" fmla="*/ 16 w 26"/>
              <a:gd name="T87" fmla="*/ 17 h 26"/>
              <a:gd name="T88" fmla="*/ 17 w 26"/>
              <a:gd name="T89" fmla="*/ 19 h 26"/>
              <a:gd name="T90" fmla="*/ 19 w 26"/>
              <a:gd name="T91" fmla="*/ 24 h 26"/>
              <a:gd name="T92" fmla="*/ 22 w 26"/>
              <a:gd name="T93" fmla="*/ 22 h 26"/>
              <a:gd name="T94" fmla="*/ 24 w 26"/>
              <a:gd name="T95" fmla="*/ 18 h 26"/>
              <a:gd name="T96" fmla="*/ 19 w 26"/>
              <a:gd name="T97" fmla="*/ 18 h 26"/>
              <a:gd name="T98" fmla="*/ 16 w 26"/>
              <a:gd name="T99" fmla="*/ 15 h 26"/>
              <a:gd name="T100" fmla="*/ 20 w 26"/>
              <a:gd name="T101" fmla="*/ 16 h 26"/>
              <a:gd name="T102" fmla="*/ 21 w 26"/>
              <a:gd name="T103" fmla="*/ 14 h 26"/>
              <a:gd name="T104" fmla="*/ 23 w 26"/>
              <a:gd name="T105" fmla="*/ 14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" h="26">
                <a:moveTo>
                  <a:pt x="26" y="12"/>
                </a:moveTo>
                <a:cubicBezTo>
                  <a:pt x="23" y="12"/>
                  <a:pt x="23" y="12"/>
                  <a:pt x="23" y="12"/>
                </a:cubicBezTo>
                <a:cubicBezTo>
                  <a:pt x="25" y="10"/>
                  <a:pt x="25" y="10"/>
                  <a:pt x="25" y="10"/>
                </a:cubicBezTo>
                <a:cubicBezTo>
                  <a:pt x="24" y="9"/>
                  <a:pt x="24" y="9"/>
                  <a:pt x="24" y="9"/>
                </a:cubicBezTo>
                <a:cubicBezTo>
                  <a:pt x="21" y="12"/>
                  <a:pt x="21" y="12"/>
                  <a:pt x="21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1" y="12"/>
                  <a:pt x="21" y="12"/>
                  <a:pt x="21" y="12"/>
                </a:cubicBezTo>
                <a:cubicBezTo>
                  <a:pt x="20" y="11"/>
                  <a:pt x="20" y="11"/>
                  <a:pt x="20" y="11"/>
                </a:cubicBezTo>
                <a:cubicBezTo>
                  <a:pt x="18" y="12"/>
                  <a:pt x="18" y="12"/>
                  <a:pt x="18" y="12"/>
                </a:cubicBezTo>
                <a:cubicBezTo>
                  <a:pt x="17" y="12"/>
                  <a:pt x="17" y="12"/>
                  <a:pt x="17" y="12"/>
                </a:cubicBezTo>
                <a:cubicBezTo>
                  <a:pt x="16" y="12"/>
                  <a:pt x="16" y="11"/>
                  <a:pt x="16" y="11"/>
                </a:cubicBezTo>
                <a:cubicBezTo>
                  <a:pt x="17" y="10"/>
                  <a:pt x="17" y="10"/>
                  <a:pt x="17" y="10"/>
                </a:cubicBezTo>
                <a:cubicBezTo>
                  <a:pt x="19" y="10"/>
                  <a:pt x="19" y="10"/>
                  <a:pt x="19" y="10"/>
                </a:cubicBezTo>
                <a:cubicBezTo>
                  <a:pt x="19" y="8"/>
                  <a:pt x="19" y="8"/>
                  <a:pt x="19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9" y="8"/>
                  <a:pt x="19" y="8"/>
                  <a:pt x="19" y="8"/>
                </a:cubicBezTo>
                <a:cubicBezTo>
                  <a:pt x="24" y="8"/>
                  <a:pt x="24" y="8"/>
                  <a:pt x="24" y="8"/>
                </a:cubicBezTo>
                <a:cubicBezTo>
                  <a:pt x="24" y="6"/>
                  <a:pt x="24" y="6"/>
                  <a:pt x="24" y="6"/>
                </a:cubicBezTo>
                <a:cubicBezTo>
                  <a:pt x="20" y="6"/>
                  <a:pt x="20" y="6"/>
                  <a:pt x="20" y="6"/>
                </a:cubicBezTo>
                <a:cubicBezTo>
                  <a:pt x="22" y="4"/>
                  <a:pt x="22" y="4"/>
                  <a:pt x="22" y="4"/>
                </a:cubicBezTo>
                <a:cubicBezTo>
                  <a:pt x="21" y="3"/>
                  <a:pt x="21" y="3"/>
                  <a:pt x="21" y="3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2"/>
                  <a:pt x="19" y="2"/>
                  <a:pt x="19" y="2"/>
                </a:cubicBezTo>
                <a:cubicBezTo>
                  <a:pt x="18" y="2"/>
                  <a:pt x="18" y="2"/>
                  <a:pt x="18" y="2"/>
                </a:cubicBezTo>
                <a:cubicBezTo>
                  <a:pt x="18" y="7"/>
                  <a:pt x="18" y="7"/>
                  <a:pt x="18" y="7"/>
                </a:cubicBezTo>
                <a:cubicBezTo>
                  <a:pt x="17" y="7"/>
                  <a:pt x="17" y="7"/>
                  <a:pt x="17" y="7"/>
                </a:cubicBezTo>
                <a:cubicBezTo>
                  <a:pt x="17" y="6"/>
                  <a:pt x="17" y="6"/>
                  <a:pt x="17" y="6"/>
                </a:cubicBezTo>
                <a:cubicBezTo>
                  <a:pt x="16" y="6"/>
                  <a:pt x="16" y="6"/>
                  <a:pt x="16" y="6"/>
                </a:cubicBezTo>
                <a:cubicBezTo>
                  <a:pt x="16" y="9"/>
                  <a:pt x="16" y="9"/>
                  <a:pt x="16" y="9"/>
                </a:cubicBezTo>
                <a:cubicBezTo>
                  <a:pt x="15" y="10"/>
                  <a:pt x="15" y="10"/>
                  <a:pt x="15" y="10"/>
                </a:cubicBezTo>
                <a:cubicBezTo>
                  <a:pt x="14" y="10"/>
                  <a:pt x="14" y="9"/>
                  <a:pt x="13" y="9"/>
                </a:cubicBezTo>
                <a:cubicBezTo>
                  <a:pt x="13" y="8"/>
                  <a:pt x="13" y="8"/>
                  <a:pt x="13" y="8"/>
                </a:cubicBezTo>
                <a:cubicBezTo>
                  <a:pt x="15" y="6"/>
                  <a:pt x="15" y="6"/>
                  <a:pt x="15" y="6"/>
                </a:cubicBezTo>
                <a:cubicBezTo>
                  <a:pt x="14" y="5"/>
                  <a:pt x="14" y="5"/>
                  <a:pt x="14" y="5"/>
                </a:cubicBezTo>
                <a:cubicBezTo>
                  <a:pt x="13" y="6"/>
                  <a:pt x="13" y="6"/>
                  <a:pt x="13" y="6"/>
                </a:cubicBezTo>
                <a:cubicBezTo>
                  <a:pt x="13" y="5"/>
                  <a:pt x="13" y="5"/>
                  <a:pt x="13" y="5"/>
                </a:cubicBezTo>
                <a:cubicBezTo>
                  <a:pt x="17" y="2"/>
                  <a:pt x="17" y="2"/>
                  <a:pt x="17" y="2"/>
                </a:cubicBezTo>
                <a:cubicBezTo>
                  <a:pt x="16" y="1"/>
                  <a:pt x="16" y="1"/>
                  <a:pt x="16" y="1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0"/>
                  <a:pt x="13" y="0"/>
                  <a:pt x="13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2" y="3"/>
                  <a:pt x="12" y="3"/>
                  <a:pt x="12" y="3"/>
                </a:cubicBezTo>
                <a:cubicBezTo>
                  <a:pt x="10" y="1"/>
                  <a:pt x="10" y="1"/>
                  <a:pt x="10" y="1"/>
                </a:cubicBezTo>
                <a:cubicBezTo>
                  <a:pt x="9" y="2"/>
                  <a:pt x="9" y="2"/>
                  <a:pt x="9" y="2"/>
                </a:cubicBezTo>
                <a:cubicBezTo>
                  <a:pt x="12" y="5"/>
                  <a:pt x="12" y="5"/>
                  <a:pt x="12" y="5"/>
                </a:cubicBezTo>
                <a:cubicBezTo>
                  <a:pt x="12" y="6"/>
                  <a:pt x="12" y="6"/>
                  <a:pt x="12" y="6"/>
                </a:cubicBezTo>
                <a:cubicBezTo>
                  <a:pt x="11" y="5"/>
                  <a:pt x="11" y="5"/>
                  <a:pt x="11" y="5"/>
                </a:cubicBezTo>
                <a:cubicBezTo>
                  <a:pt x="10" y="6"/>
                  <a:pt x="10" y="6"/>
                  <a:pt x="10" y="6"/>
                </a:cubicBezTo>
                <a:cubicBezTo>
                  <a:pt x="12" y="8"/>
                  <a:pt x="12" y="8"/>
                  <a:pt x="12" y="8"/>
                </a:cubicBezTo>
                <a:cubicBezTo>
                  <a:pt x="12" y="9"/>
                  <a:pt x="12" y="9"/>
                  <a:pt x="12" y="9"/>
                </a:cubicBezTo>
                <a:cubicBezTo>
                  <a:pt x="11" y="9"/>
                  <a:pt x="11" y="10"/>
                  <a:pt x="10" y="10"/>
                </a:cubicBezTo>
                <a:cubicBezTo>
                  <a:pt x="9" y="9"/>
                  <a:pt x="9" y="9"/>
                  <a:pt x="9" y="9"/>
                </a:cubicBezTo>
                <a:cubicBezTo>
                  <a:pt x="9" y="6"/>
                  <a:pt x="9" y="6"/>
                  <a:pt x="9" y="6"/>
                </a:cubicBezTo>
                <a:cubicBezTo>
                  <a:pt x="8" y="6"/>
                  <a:pt x="8" y="6"/>
                  <a:pt x="8" y="6"/>
                </a:cubicBezTo>
                <a:cubicBezTo>
                  <a:pt x="8" y="7"/>
                  <a:pt x="8" y="7"/>
                  <a:pt x="8" y="7"/>
                </a:cubicBezTo>
                <a:cubicBezTo>
                  <a:pt x="7" y="7"/>
                  <a:pt x="7" y="7"/>
                  <a:pt x="7" y="7"/>
                </a:cubicBezTo>
                <a:cubicBezTo>
                  <a:pt x="7" y="2"/>
                  <a:pt x="7" y="2"/>
                  <a:pt x="7" y="2"/>
                </a:cubicBezTo>
                <a:cubicBezTo>
                  <a:pt x="6" y="2"/>
                  <a:pt x="6" y="2"/>
                  <a:pt x="6" y="2"/>
                </a:cubicBezTo>
                <a:cubicBezTo>
                  <a:pt x="6" y="5"/>
                  <a:pt x="6" y="5"/>
                  <a:pt x="6" y="5"/>
                </a:cubicBezTo>
                <a:cubicBezTo>
                  <a:pt x="4" y="3"/>
                  <a:pt x="4" y="3"/>
                  <a:pt x="4" y="3"/>
                </a:cubicBezTo>
                <a:cubicBezTo>
                  <a:pt x="3" y="4"/>
                  <a:pt x="3" y="4"/>
                  <a:pt x="3" y="4"/>
                </a:cubicBezTo>
                <a:cubicBezTo>
                  <a:pt x="5" y="6"/>
                  <a:pt x="5" y="6"/>
                  <a:pt x="5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8"/>
                  <a:pt x="2" y="8"/>
                  <a:pt x="2" y="8"/>
                </a:cubicBezTo>
                <a:cubicBezTo>
                  <a:pt x="6" y="8"/>
                  <a:pt x="6" y="8"/>
                  <a:pt x="6" y="8"/>
                </a:cubicBezTo>
                <a:cubicBezTo>
                  <a:pt x="7" y="8"/>
                  <a:pt x="7" y="8"/>
                  <a:pt x="7" y="8"/>
                </a:cubicBezTo>
                <a:cubicBezTo>
                  <a:pt x="6" y="8"/>
                  <a:pt x="6" y="8"/>
                  <a:pt x="6" y="8"/>
                </a:cubicBezTo>
                <a:cubicBezTo>
                  <a:pt x="6" y="10"/>
                  <a:pt x="6" y="10"/>
                  <a:pt x="6" y="10"/>
                </a:cubicBezTo>
                <a:cubicBezTo>
                  <a:pt x="8" y="10"/>
                  <a:pt x="8" y="10"/>
                  <a:pt x="8" y="10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11"/>
                  <a:pt x="9" y="12"/>
                  <a:pt x="9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5" y="11"/>
                  <a:pt x="5" y="11"/>
                  <a:pt x="5" y="11"/>
                </a:cubicBezTo>
                <a:cubicBezTo>
                  <a:pt x="4" y="12"/>
                  <a:pt x="4" y="12"/>
                  <a:pt x="4" y="12"/>
                </a:cubicBezTo>
                <a:cubicBezTo>
                  <a:pt x="5" y="12"/>
                  <a:pt x="5" y="12"/>
                  <a:pt x="5" y="12"/>
                </a:cubicBezTo>
                <a:cubicBezTo>
                  <a:pt x="4" y="12"/>
                  <a:pt x="4" y="12"/>
                  <a:pt x="4" y="12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2" y="12"/>
                  <a:pt x="2" y="12"/>
                  <a:pt x="2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4"/>
                  <a:pt x="0" y="14"/>
                  <a:pt x="0" y="14"/>
                </a:cubicBezTo>
                <a:cubicBezTo>
                  <a:pt x="2" y="14"/>
                  <a:pt x="2" y="14"/>
                  <a:pt x="2" y="14"/>
                </a:cubicBezTo>
                <a:cubicBezTo>
                  <a:pt x="0" y="16"/>
                  <a:pt x="0" y="16"/>
                  <a:pt x="0" y="16"/>
                </a:cubicBezTo>
                <a:cubicBezTo>
                  <a:pt x="1" y="17"/>
                  <a:pt x="1" y="17"/>
                  <a:pt x="1" y="17"/>
                </a:cubicBezTo>
                <a:cubicBezTo>
                  <a:pt x="4" y="14"/>
                  <a:pt x="4" y="14"/>
                  <a:pt x="4" y="14"/>
                </a:cubicBezTo>
                <a:cubicBezTo>
                  <a:pt x="5" y="14"/>
                  <a:pt x="5" y="14"/>
                  <a:pt x="5" y="14"/>
                </a:cubicBezTo>
                <a:cubicBezTo>
                  <a:pt x="4" y="15"/>
                  <a:pt x="4" y="15"/>
                  <a:pt x="4" y="15"/>
                </a:cubicBezTo>
                <a:cubicBezTo>
                  <a:pt x="5" y="16"/>
                  <a:pt x="5" y="16"/>
                  <a:pt x="5" y="16"/>
                </a:cubicBezTo>
                <a:cubicBezTo>
                  <a:pt x="7" y="14"/>
                  <a:pt x="7" y="14"/>
                  <a:pt x="7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9" y="14"/>
                  <a:pt x="9" y="15"/>
                  <a:pt x="9" y="15"/>
                </a:cubicBezTo>
                <a:cubicBezTo>
                  <a:pt x="8" y="16"/>
                  <a:pt x="8" y="16"/>
                  <a:pt x="8" y="16"/>
                </a:cubicBezTo>
                <a:cubicBezTo>
                  <a:pt x="6" y="16"/>
                  <a:pt x="6" y="16"/>
                  <a:pt x="6" y="16"/>
                </a:cubicBezTo>
                <a:cubicBezTo>
                  <a:pt x="6" y="18"/>
                  <a:pt x="6" y="18"/>
                  <a:pt x="6" y="18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2" y="18"/>
                  <a:pt x="2" y="18"/>
                  <a:pt x="2" y="18"/>
                </a:cubicBezTo>
                <a:cubicBezTo>
                  <a:pt x="2" y="20"/>
                  <a:pt x="2" y="20"/>
                  <a:pt x="2" y="20"/>
                </a:cubicBezTo>
                <a:cubicBezTo>
                  <a:pt x="5" y="20"/>
                  <a:pt x="5" y="20"/>
                  <a:pt x="5" y="20"/>
                </a:cubicBezTo>
                <a:cubicBezTo>
                  <a:pt x="3" y="22"/>
                  <a:pt x="3" y="22"/>
                  <a:pt x="3" y="22"/>
                </a:cubicBezTo>
                <a:cubicBezTo>
                  <a:pt x="4" y="23"/>
                  <a:pt x="4" y="23"/>
                  <a:pt x="4" y="23"/>
                </a:cubicBezTo>
                <a:cubicBezTo>
                  <a:pt x="6" y="21"/>
                  <a:pt x="6" y="21"/>
                  <a:pt x="6" y="21"/>
                </a:cubicBezTo>
                <a:cubicBezTo>
                  <a:pt x="6" y="24"/>
                  <a:pt x="6" y="24"/>
                  <a:pt x="6" y="24"/>
                </a:cubicBezTo>
                <a:cubicBezTo>
                  <a:pt x="7" y="24"/>
                  <a:pt x="7" y="24"/>
                  <a:pt x="7" y="24"/>
                </a:cubicBezTo>
                <a:cubicBezTo>
                  <a:pt x="7" y="19"/>
                  <a:pt x="7" y="19"/>
                  <a:pt x="7" y="19"/>
                </a:cubicBezTo>
                <a:cubicBezTo>
                  <a:pt x="8" y="19"/>
                  <a:pt x="8" y="19"/>
                  <a:pt x="8" y="19"/>
                </a:cubicBezTo>
                <a:cubicBezTo>
                  <a:pt x="8" y="20"/>
                  <a:pt x="8" y="20"/>
                  <a:pt x="8" y="20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17"/>
                  <a:pt x="9" y="17"/>
                  <a:pt x="9" y="17"/>
                </a:cubicBezTo>
                <a:cubicBezTo>
                  <a:pt x="10" y="16"/>
                  <a:pt x="10" y="16"/>
                  <a:pt x="10" y="16"/>
                </a:cubicBezTo>
                <a:cubicBezTo>
                  <a:pt x="11" y="17"/>
                  <a:pt x="11" y="17"/>
                  <a:pt x="12" y="17"/>
                </a:cubicBezTo>
                <a:cubicBezTo>
                  <a:pt x="12" y="18"/>
                  <a:pt x="12" y="18"/>
                  <a:pt x="12" y="18"/>
                </a:cubicBezTo>
                <a:cubicBezTo>
                  <a:pt x="10" y="20"/>
                  <a:pt x="10" y="20"/>
                  <a:pt x="10" y="20"/>
                </a:cubicBezTo>
                <a:cubicBezTo>
                  <a:pt x="11" y="21"/>
                  <a:pt x="11" y="21"/>
                  <a:pt x="11" y="21"/>
                </a:cubicBezTo>
                <a:cubicBezTo>
                  <a:pt x="12" y="20"/>
                  <a:pt x="12" y="20"/>
                  <a:pt x="12" y="20"/>
                </a:cubicBezTo>
                <a:cubicBezTo>
                  <a:pt x="12" y="21"/>
                  <a:pt x="12" y="21"/>
                  <a:pt x="12" y="21"/>
                </a:cubicBezTo>
                <a:cubicBezTo>
                  <a:pt x="9" y="25"/>
                  <a:pt x="9" y="25"/>
                  <a:pt x="9" y="25"/>
                </a:cubicBezTo>
                <a:cubicBezTo>
                  <a:pt x="10" y="26"/>
                  <a:pt x="10" y="26"/>
                  <a:pt x="10" y="26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6"/>
                  <a:pt x="12" y="26"/>
                  <a:pt x="12" y="26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23"/>
                  <a:pt x="13" y="23"/>
                  <a:pt x="13" y="23"/>
                </a:cubicBezTo>
                <a:cubicBezTo>
                  <a:pt x="16" y="26"/>
                  <a:pt x="16" y="26"/>
                  <a:pt x="16" y="26"/>
                </a:cubicBezTo>
                <a:cubicBezTo>
                  <a:pt x="17" y="25"/>
                  <a:pt x="17" y="25"/>
                  <a:pt x="17" y="25"/>
                </a:cubicBezTo>
                <a:cubicBezTo>
                  <a:pt x="13" y="21"/>
                  <a:pt x="13" y="21"/>
                  <a:pt x="13" y="21"/>
                </a:cubicBezTo>
                <a:cubicBezTo>
                  <a:pt x="13" y="20"/>
                  <a:pt x="13" y="20"/>
                  <a:pt x="13" y="20"/>
                </a:cubicBezTo>
                <a:cubicBezTo>
                  <a:pt x="14" y="21"/>
                  <a:pt x="14" y="21"/>
                  <a:pt x="14" y="21"/>
                </a:cubicBezTo>
                <a:cubicBezTo>
                  <a:pt x="15" y="20"/>
                  <a:pt x="15" y="20"/>
                  <a:pt x="15" y="20"/>
                </a:cubicBezTo>
                <a:cubicBezTo>
                  <a:pt x="13" y="18"/>
                  <a:pt x="13" y="18"/>
                  <a:pt x="13" y="18"/>
                </a:cubicBezTo>
                <a:cubicBezTo>
                  <a:pt x="13" y="17"/>
                  <a:pt x="13" y="17"/>
                  <a:pt x="13" y="17"/>
                </a:cubicBezTo>
                <a:cubicBezTo>
                  <a:pt x="14" y="17"/>
                  <a:pt x="14" y="17"/>
                  <a:pt x="15" y="16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20"/>
                  <a:pt x="16" y="20"/>
                  <a:pt x="16" y="20"/>
                </a:cubicBezTo>
                <a:cubicBezTo>
                  <a:pt x="17" y="20"/>
                  <a:pt x="17" y="20"/>
                  <a:pt x="17" y="20"/>
                </a:cubicBezTo>
                <a:cubicBezTo>
                  <a:pt x="17" y="19"/>
                  <a:pt x="17" y="19"/>
                  <a:pt x="17" y="19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24"/>
                  <a:pt x="18" y="24"/>
                  <a:pt x="18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9" y="21"/>
                  <a:pt x="19" y="21"/>
                  <a:pt x="19" y="21"/>
                </a:cubicBezTo>
                <a:cubicBezTo>
                  <a:pt x="21" y="23"/>
                  <a:pt x="21" y="23"/>
                  <a:pt x="21" y="23"/>
                </a:cubicBezTo>
                <a:cubicBezTo>
                  <a:pt x="22" y="22"/>
                  <a:pt x="22" y="22"/>
                  <a:pt x="22" y="22"/>
                </a:cubicBezTo>
                <a:cubicBezTo>
                  <a:pt x="20" y="20"/>
                  <a:pt x="20" y="20"/>
                  <a:pt x="20" y="20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18"/>
                  <a:pt x="24" y="18"/>
                  <a:pt x="24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19" y="16"/>
                  <a:pt x="19" y="16"/>
                  <a:pt x="19" y="16"/>
                </a:cubicBezTo>
                <a:cubicBezTo>
                  <a:pt x="17" y="16"/>
                  <a:pt x="17" y="16"/>
                  <a:pt x="17" y="16"/>
                </a:cubicBezTo>
                <a:cubicBezTo>
                  <a:pt x="16" y="15"/>
                  <a:pt x="16" y="15"/>
                  <a:pt x="16" y="15"/>
                </a:cubicBezTo>
                <a:cubicBezTo>
                  <a:pt x="16" y="15"/>
                  <a:pt x="16" y="14"/>
                  <a:pt x="17" y="14"/>
                </a:cubicBezTo>
                <a:cubicBezTo>
                  <a:pt x="18" y="14"/>
                  <a:pt x="18" y="14"/>
                  <a:pt x="18" y="14"/>
                </a:cubicBezTo>
                <a:cubicBezTo>
                  <a:pt x="20" y="16"/>
                  <a:pt x="20" y="16"/>
                  <a:pt x="20" y="16"/>
                </a:cubicBezTo>
                <a:cubicBezTo>
                  <a:pt x="21" y="15"/>
                  <a:pt x="21" y="15"/>
                  <a:pt x="21" y="15"/>
                </a:cubicBezTo>
                <a:cubicBezTo>
                  <a:pt x="20" y="14"/>
                  <a:pt x="20" y="14"/>
                  <a:pt x="20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24" y="17"/>
                  <a:pt x="24" y="17"/>
                  <a:pt x="24" y="17"/>
                </a:cubicBezTo>
                <a:cubicBezTo>
                  <a:pt x="25" y="16"/>
                  <a:pt x="25" y="16"/>
                  <a:pt x="25" y="16"/>
                </a:cubicBezTo>
                <a:cubicBezTo>
                  <a:pt x="23" y="14"/>
                  <a:pt x="23" y="14"/>
                  <a:pt x="23" y="14"/>
                </a:cubicBezTo>
                <a:cubicBezTo>
                  <a:pt x="26" y="14"/>
                  <a:pt x="26" y="14"/>
                  <a:pt x="26" y="14"/>
                </a:cubicBezTo>
                <a:lnTo>
                  <a:pt x="26" y="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3" name="íṩliďè">
            <a:extLst>
              <a:ext uri="{FF2B5EF4-FFF2-40B4-BE49-F238E27FC236}">
                <a16:creationId xmlns:a16="http://schemas.microsoft.com/office/drawing/2014/main" id="{BD592DEC-75EC-4FBC-B95B-960FFC19B188}"/>
              </a:ext>
            </a:extLst>
          </p:cNvPr>
          <p:cNvSpPr/>
          <p:nvPr/>
        </p:nvSpPr>
        <p:spPr bwMode="auto">
          <a:xfrm>
            <a:off x="9229693" y="5686445"/>
            <a:ext cx="326364" cy="159588"/>
          </a:xfrm>
          <a:custGeom>
            <a:avLst/>
            <a:gdLst>
              <a:gd name="T0" fmla="*/ 54 w 63"/>
              <a:gd name="T1" fmla="*/ 22 h 31"/>
              <a:gd name="T2" fmla="*/ 63 w 63"/>
              <a:gd name="T3" fmla="*/ 11 h 31"/>
              <a:gd name="T4" fmla="*/ 54 w 63"/>
              <a:gd name="T5" fmla="*/ 0 h 31"/>
              <a:gd name="T6" fmla="*/ 54 w 63"/>
              <a:gd name="T7" fmla="*/ 5 h 31"/>
              <a:gd name="T8" fmla="*/ 58 w 63"/>
              <a:gd name="T9" fmla="*/ 11 h 31"/>
              <a:gd name="T10" fmla="*/ 54 w 63"/>
              <a:gd name="T11" fmla="*/ 17 h 31"/>
              <a:gd name="T12" fmla="*/ 54 w 63"/>
              <a:gd name="T13" fmla="*/ 22 h 31"/>
              <a:gd name="T14" fmla="*/ 26 w 63"/>
              <a:gd name="T15" fmla="*/ 31 h 31"/>
              <a:gd name="T16" fmla="*/ 47 w 63"/>
              <a:gd name="T17" fmla="*/ 21 h 31"/>
              <a:gd name="T18" fmla="*/ 52 w 63"/>
              <a:gd name="T19" fmla="*/ 22 h 31"/>
              <a:gd name="T20" fmla="*/ 54 w 63"/>
              <a:gd name="T21" fmla="*/ 22 h 31"/>
              <a:gd name="T22" fmla="*/ 54 w 63"/>
              <a:gd name="T23" fmla="*/ 17 h 31"/>
              <a:gd name="T24" fmla="*/ 52 w 63"/>
              <a:gd name="T25" fmla="*/ 17 h 31"/>
              <a:gd name="T26" fmla="*/ 50 w 63"/>
              <a:gd name="T27" fmla="*/ 17 h 31"/>
              <a:gd name="T28" fmla="*/ 53 w 63"/>
              <a:gd name="T29" fmla="*/ 5 h 31"/>
              <a:gd name="T30" fmla="*/ 53 w 63"/>
              <a:gd name="T31" fmla="*/ 5 h 31"/>
              <a:gd name="T32" fmla="*/ 53 w 63"/>
              <a:gd name="T33" fmla="*/ 5 h 31"/>
              <a:gd name="T34" fmla="*/ 54 w 63"/>
              <a:gd name="T35" fmla="*/ 5 h 31"/>
              <a:gd name="T36" fmla="*/ 54 w 63"/>
              <a:gd name="T37" fmla="*/ 0 h 31"/>
              <a:gd name="T38" fmla="*/ 52 w 63"/>
              <a:gd name="T39" fmla="*/ 0 h 31"/>
              <a:gd name="T40" fmla="*/ 52 w 63"/>
              <a:gd name="T41" fmla="*/ 0 h 31"/>
              <a:gd name="T42" fmla="*/ 0 w 63"/>
              <a:gd name="T43" fmla="*/ 0 h 31"/>
              <a:gd name="T44" fmla="*/ 0 w 63"/>
              <a:gd name="T45" fmla="*/ 5 h 31"/>
              <a:gd name="T46" fmla="*/ 26 w 63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3" h="31">
                <a:moveTo>
                  <a:pt x="54" y="22"/>
                </a:moveTo>
                <a:cubicBezTo>
                  <a:pt x="59" y="21"/>
                  <a:pt x="63" y="16"/>
                  <a:pt x="63" y="11"/>
                </a:cubicBezTo>
                <a:cubicBezTo>
                  <a:pt x="63" y="5"/>
                  <a:pt x="59" y="1"/>
                  <a:pt x="54" y="0"/>
                </a:cubicBezTo>
                <a:cubicBezTo>
                  <a:pt x="54" y="5"/>
                  <a:pt x="54" y="5"/>
                  <a:pt x="54" y="5"/>
                </a:cubicBezTo>
                <a:cubicBezTo>
                  <a:pt x="56" y="6"/>
                  <a:pt x="58" y="8"/>
                  <a:pt x="58" y="11"/>
                </a:cubicBezTo>
                <a:cubicBezTo>
                  <a:pt x="58" y="14"/>
                  <a:pt x="56" y="16"/>
                  <a:pt x="54" y="17"/>
                </a:cubicBezTo>
                <a:lnTo>
                  <a:pt x="54" y="22"/>
                </a:lnTo>
                <a:close/>
                <a:moveTo>
                  <a:pt x="26" y="31"/>
                </a:moveTo>
                <a:cubicBezTo>
                  <a:pt x="35" y="31"/>
                  <a:pt x="42" y="27"/>
                  <a:pt x="47" y="21"/>
                </a:cubicBezTo>
                <a:cubicBezTo>
                  <a:pt x="49" y="22"/>
                  <a:pt x="50" y="22"/>
                  <a:pt x="52" y="22"/>
                </a:cubicBezTo>
                <a:cubicBezTo>
                  <a:pt x="53" y="22"/>
                  <a:pt x="53" y="22"/>
                  <a:pt x="54" y="22"/>
                </a:cubicBezTo>
                <a:cubicBezTo>
                  <a:pt x="54" y="17"/>
                  <a:pt x="54" y="17"/>
                  <a:pt x="54" y="17"/>
                </a:cubicBezTo>
                <a:cubicBezTo>
                  <a:pt x="53" y="17"/>
                  <a:pt x="53" y="17"/>
                  <a:pt x="52" y="17"/>
                </a:cubicBezTo>
                <a:cubicBezTo>
                  <a:pt x="51" y="17"/>
                  <a:pt x="50" y="17"/>
                  <a:pt x="50" y="17"/>
                </a:cubicBezTo>
                <a:cubicBezTo>
                  <a:pt x="52" y="13"/>
                  <a:pt x="53" y="9"/>
                  <a:pt x="53" y="5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5"/>
                  <a:pt x="54" y="5"/>
                  <a:pt x="54" y="5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3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3"/>
                  <a:pt x="0" y="5"/>
                </a:cubicBezTo>
                <a:cubicBezTo>
                  <a:pt x="0" y="19"/>
                  <a:pt x="12" y="31"/>
                  <a:pt x="26" y="3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4" name="íṡḻídê">
            <a:extLst>
              <a:ext uri="{FF2B5EF4-FFF2-40B4-BE49-F238E27FC236}">
                <a16:creationId xmlns:a16="http://schemas.microsoft.com/office/drawing/2014/main" id="{3BDCF97D-513B-4DD3-87A2-B8BB68DC7670}"/>
              </a:ext>
            </a:extLst>
          </p:cNvPr>
          <p:cNvSpPr/>
          <p:nvPr/>
        </p:nvSpPr>
        <p:spPr bwMode="auto">
          <a:xfrm>
            <a:off x="9229693" y="5861848"/>
            <a:ext cx="294734" cy="258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5" name="íṣľïḋè">
            <a:extLst>
              <a:ext uri="{FF2B5EF4-FFF2-40B4-BE49-F238E27FC236}">
                <a16:creationId xmlns:a16="http://schemas.microsoft.com/office/drawing/2014/main" id="{E677D83F-26CC-457A-A10C-A2748E00EAA8}"/>
              </a:ext>
            </a:extLst>
          </p:cNvPr>
          <p:cNvSpPr/>
          <p:nvPr/>
        </p:nvSpPr>
        <p:spPr bwMode="auto">
          <a:xfrm>
            <a:off x="9297266" y="5613121"/>
            <a:ext cx="51759" cy="61822"/>
          </a:xfrm>
          <a:custGeom>
            <a:avLst/>
            <a:gdLst>
              <a:gd name="T0" fmla="*/ 3 w 10"/>
              <a:gd name="T1" fmla="*/ 6 h 12"/>
              <a:gd name="T2" fmla="*/ 5 w 10"/>
              <a:gd name="T3" fmla="*/ 11 h 12"/>
              <a:gd name="T4" fmla="*/ 9 w 10"/>
              <a:gd name="T5" fmla="*/ 2 h 12"/>
              <a:gd name="T6" fmla="*/ 9 w 10"/>
              <a:gd name="T7" fmla="*/ 0 h 12"/>
              <a:gd name="T8" fmla="*/ 3 w 10"/>
              <a:gd name="T9" fmla="*/ 1 h 12"/>
              <a:gd name="T10" fmla="*/ 3 w 10"/>
              <a:gd name="T1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2">
                <a:moveTo>
                  <a:pt x="3" y="6"/>
                </a:moveTo>
                <a:cubicBezTo>
                  <a:pt x="0" y="7"/>
                  <a:pt x="2" y="12"/>
                  <a:pt x="5" y="11"/>
                </a:cubicBezTo>
                <a:cubicBezTo>
                  <a:pt x="9" y="9"/>
                  <a:pt x="10" y="5"/>
                  <a:pt x="9" y="2"/>
                </a:cubicBezTo>
                <a:cubicBezTo>
                  <a:pt x="9" y="1"/>
                  <a:pt x="9" y="1"/>
                  <a:pt x="9" y="0"/>
                </a:cubicBezTo>
                <a:cubicBezTo>
                  <a:pt x="7" y="1"/>
                  <a:pt x="5" y="1"/>
                  <a:pt x="3" y="1"/>
                </a:cubicBezTo>
                <a:cubicBezTo>
                  <a:pt x="4" y="3"/>
                  <a:pt x="5" y="5"/>
                  <a:pt x="3" y="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6" name="îSḻiďê">
            <a:extLst>
              <a:ext uri="{FF2B5EF4-FFF2-40B4-BE49-F238E27FC236}">
                <a16:creationId xmlns:a16="http://schemas.microsoft.com/office/drawing/2014/main" id="{C69E991A-F520-4D6C-9C02-644C9F9FC0A4}"/>
              </a:ext>
            </a:extLst>
          </p:cNvPr>
          <p:cNvSpPr/>
          <p:nvPr/>
        </p:nvSpPr>
        <p:spPr bwMode="auto">
          <a:xfrm>
            <a:off x="9374904" y="5597307"/>
            <a:ext cx="51759" cy="77637"/>
          </a:xfrm>
          <a:custGeom>
            <a:avLst/>
            <a:gdLst>
              <a:gd name="T0" fmla="*/ 3 w 10"/>
              <a:gd name="T1" fmla="*/ 9 h 15"/>
              <a:gd name="T2" fmla="*/ 5 w 10"/>
              <a:gd name="T3" fmla="*/ 14 h 15"/>
              <a:gd name="T4" fmla="*/ 9 w 10"/>
              <a:gd name="T5" fmla="*/ 5 h 15"/>
              <a:gd name="T6" fmla="*/ 7 w 10"/>
              <a:gd name="T7" fmla="*/ 0 h 15"/>
              <a:gd name="T8" fmla="*/ 2 w 10"/>
              <a:gd name="T9" fmla="*/ 1 h 15"/>
              <a:gd name="T10" fmla="*/ 3 w 10"/>
              <a:gd name="T11" fmla="*/ 9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5">
                <a:moveTo>
                  <a:pt x="3" y="9"/>
                </a:moveTo>
                <a:cubicBezTo>
                  <a:pt x="0" y="10"/>
                  <a:pt x="2" y="15"/>
                  <a:pt x="5" y="14"/>
                </a:cubicBezTo>
                <a:cubicBezTo>
                  <a:pt x="9" y="12"/>
                  <a:pt x="10" y="8"/>
                  <a:pt x="9" y="5"/>
                </a:cubicBezTo>
                <a:cubicBezTo>
                  <a:pt x="9" y="3"/>
                  <a:pt x="8" y="2"/>
                  <a:pt x="7" y="0"/>
                </a:cubicBezTo>
                <a:cubicBezTo>
                  <a:pt x="5" y="1"/>
                  <a:pt x="3" y="1"/>
                  <a:pt x="2" y="1"/>
                </a:cubicBezTo>
                <a:cubicBezTo>
                  <a:pt x="3" y="4"/>
                  <a:pt x="5" y="8"/>
                  <a:pt x="3" y="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7" name="îşḷîdê">
            <a:extLst>
              <a:ext uri="{FF2B5EF4-FFF2-40B4-BE49-F238E27FC236}">
                <a16:creationId xmlns:a16="http://schemas.microsoft.com/office/drawing/2014/main" id="{096D2050-55C1-4D22-96B2-F9510FDF1031}"/>
              </a:ext>
            </a:extLst>
          </p:cNvPr>
          <p:cNvSpPr/>
          <p:nvPr/>
        </p:nvSpPr>
        <p:spPr bwMode="auto">
          <a:xfrm>
            <a:off x="10415817" y="5079724"/>
            <a:ext cx="89139" cy="41694"/>
          </a:xfrm>
          <a:custGeom>
            <a:avLst/>
            <a:gdLst>
              <a:gd name="T0" fmla="*/ 0 w 62"/>
              <a:gd name="T1" fmla="*/ 18 h 29"/>
              <a:gd name="T2" fmla="*/ 22 w 62"/>
              <a:gd name="T3" fmla="*/ 29 h 29"/>
              <a:gd name="T4" fmla="*/ 62 w 62"/>
              <a:gd name="T5" fmla="*/ 29 h 29"/>
              <a:gd name="T6" fmla="*/ 7 w 62"/>
              <a:gd name="T7" fmla="*/ 0 h 29"/>
              <a:gd name="T8" fmla="*/ 0 w 62"/>
              <a:gd name="T9" fmla="*/ 18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" h="29">
                <a:moveTo>
                  <a:pt x="0" y="18"/>
                </a:moveTo>
                <a:lnTo>
                  <a:pt x="22" y="29"/>
                </a:lnTo>
                <a:lnTo>
                  <a:pt x="62" y="29"/>
                </a:lnTo>
                <a:lnTo>
                  <a:pt x="7" y="0"/>
                </a:lnTo>
                <a:lnTo>
                  <a:pt x="0" y="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8" name="îślidé">
            <a:extLst>
              <a:ext uri="{FF2B5EF4-FFF2-40B4-BE49-F238E27FC236}">
                <a16:creationId xmlns:a16="http://schemas.microsoft.com/office/drawing/2014/main" id="{82B041FF-6DD8-41D7-B220-3DA8841CA930}"/>
              </a:ext>
            </a:extLst>
          </p:cNvPr>
          <p:cNvSpPr/>
          <p:nvPr/>
        </p:nvSpPr>
        <p:spPr bwMode="auto">
          <a:xfrm>
            <a:off x="10415817" y="5125731"/>
            <a:ext cx="218534" cy="109267"/>
          </a:xfrm>
          <a:custGeom>
            <a:avLst/>
            <a:gdLst>
              <a:gd name="T0" fmla="*/ 62 w 152"/>
              <a:gd name="T1" fmla="*/ 76 h 76"/>
              <a:gd name="T2" fmla="*/ 123 w 152"/>
              <a:gd name="T3" fmla="*/ 76 h 76"/>
              <a:gd name="T4" fmla="*/ 123 w 152"/>
              <a:gd name="T5" fmla="*/ 62 h 76"/>
              <a:gd name="T6" fmla="*/ 152 w 152"/>
              <a:gd name="T7" fmla="*/ 62 h 76"/>
              <a:gd name="T8" fmla="*/ 152 w 152"/>
              <a:gd name="T9" fmla="*/ 15 h 76"/>
              <a:gd name="T10" fmla="*/ 123 w 152"/>
              <a:gd name="T11" fmla="*/ 15 h 76"/>
              <a:gd name="T12" fmla="*/ 123 w 152"/>
              <a:gd name="T13" fmla="*/ 0 h 76"/>
              <a:gd name="T14" fmla="*/ 69 w 152"/>
              <a:gd name="T15" fmla="*/ 0 h 76"/>
              <a:gd name="T16" fmla="*/ 62 w 152"/>
              <a:gd name="T17" fmla="*/ 0 h 76"/>
              <a:gd name="T18" fmla="*/ 62 w 152"/>
              <a:gd name="T19" fmla="*/ 29 h 76"/>
              <a:gd name="T20" fmla="*/ 90 w 152"/>
              <a:gd name="T21" fmla="*/ 29 h 76"/>
              <a:gd name="T22" fmla="*/ 90 w 152"/>
              <a:gd name="T23" fmla="*/ 47 h 76"/>
              <a:gd name="T24" fmla="*/ 62 w 152"/>
              <a:gd name="T25" fmla="*/ 47 h 76"/>
              <a:gd name="T26" fmla="*/ 62 w 152"/>
              <a:gd name="T27" fmla="*/ 76 h 76"/>
              <a:gd name="T28" fmla="*/ 0 w 152"/>
              <a:gd name="T29" fmla="*/ 76 h 76"/>
              <a:gd name="T30" fmla="*/ 62 w 152"/>
              <a:gd name="T31" fmla="*/ 76 h 76"/>
              <a:gd name="T32" fmla="*/ 62 w 152"/>
              <a:gd name="T33" fmla="*/ 47 h 76"/>
              <a:gd name="T34" fmla="*/ 29 w 152"/>
              <a:gd name="T35" fmla="*/ 47 h 76"/>
              <a:gd name="T36" fmla="*/ 29 w 152"/>
              <a:gd name="T37" fmla="*/ 29 h 76"/>
              <a:gd name="T38" fmla="*/ 29 w 152"/>
              <a:gd name="T39" fmla="*/ 29 h 76"/>
              <a:gd name="T40" fmla="*/ 62 w 152"/>
              <a:gd name="T41" fmla="*/ 29 h 76"/>
              <a:gd name="T42" fmla="*/ 62 w 152"/>
              <a:gd name="T43" fmla="*/ 0 h 76"/>
              <a:gd name="T44" fmla="*/ 33 w 152"/>
              <a:gd name="T45" fmla="*/ 0 h 76"/>
              <a:gd name="T46" fmla="*/ 0 w 152"/>
              <a:gd name="T47" fmla="*/ 0 h 76"/>
              <a:gd name="T48" fmla="*/ 0 w 152"/>
              <a:gd name="T49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2" h="76">
                <a:moveTo>
                  <a:pt x="62" y="76"/>
                </a:moveTo>
                <a:lnTo>
                  <a:pt x="123" y="76"/>
                </a:lnTo>
                <a:lnTo>
                  <a:pt x="123" y="62"/>
                </a:lnTo>
                <a:lnTo>
                  <a:pt x="152" y="62"/>
                </a:lnTo>
                <a:lnTo>
                  <a:pt x="152" y="15"/>
                </a:lnTo>
                <a:lnTo>
                  <a:pt x="123" y="15"/>
                </a:lnTo>
                <a:lnTo>
                  <a:pt x="123" y="0"/>
                </a:lnTo>
                <a:lnTo>
                  <a:pt x="69" y="0"/>
                </a:lnTo>
                <a:lnTo>
                  <a:pt x="62" y="0"/>
                </a:lnTo>
                <a:lnTo>
                  <a:pt x="62" y="29"/>
                </a:lnTo>
                <a:lnTo>
                  <a:pt x="90" y="29"/>
                </a:lnTo>
                <a:lnTo>
                  <a:pt x="90" y="47"/>
                </a:lnTo>
                <a:lnTo>
                  <a:pt x="62" y="47"/>
                </a:lnTo>
                <a:lnTo>
                  <a:pt x="62" y="76"/>
                </a:lnTo>
                <a:close/>
                <a:moveTo>
                  <a:pt x="0" y="76"/>
                </a:moveTo>
                <a:lnTo>
                  <a:pt x="62" y="76"/>
                </a:lnTo>
                <a:lnTo>
                  <a:pt x="62" y="47"/>
                </a:lnTo>
                <a:lnTo>
                  <a:pt x="29" y="47"/>
                </a:lnTo>
                <a:lnTo>
                  <a:pt x="29" y="29"/>
                </a:lnTo>
                <a:lnTo>
                  <a:pt x="29" y="29"/>
                </a:lnTo>
                <a:lnTo>
                  <a:pt x="62" y="29"/>
                </a:lnTo>
                <a:lnTo>
                  <a:pt x="62" y="0"/>
                </a:lnTo>
                <a:lnTo>
                  <a:pt x="33" y="0"/>
                </a:lnTo>
                <a:lnTo>
                  <a:pt x="0" y="0"/>
                </a:lnTo>
                <a:lnTo>
                  <a:pt x="0" y="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59" name="išľíḍé">
            <a:extLst>
              <a:ext uri="{FF2B5EF4-FFF2-40B4-BE49-F238E27FC236}">
                <a16:creationId xmlns:a16="http://schemas.microsoft.com/office/drawing/2014/main" id="{8EDAAD6B-032C-44CA-AB53-AFC75EC2C17D}"/>
              </a:ext>
            </a:extLst>
          </p:cNvPr>
          <p:cNvSpPr/>
          <p:nvPr/>
        </p:nvSpPr>
        <p:spPr bwMode="auto">
          <a:xfrm>
            <a:off x="9581936" y="2230150"/>
            <a:ext cx="135146" cy="139459"/>
          </a:xfrm>
          <a:custGeom>
            <a:avLst/>
            <a:gdLst>
              <a:gd name="T0" fmla="*/ 23 w 26"/>
              <a:gd name="T1" fmla="*/ 19 h 27"/>
              <a:gd name="T2" fmla="*/ 25 w 26"/>
              <a:gd name="T3" fmla="*/ 20 h 27"/>
              <a:gd name="T4" fmla="*/ 22 w 26"/>
              <a:gd name="T5" fmla="*/ 24 h 27"/>
              <a:gd name="T6" fmla="*/ 20 w 26"/>
              <a:gd name="T7" fmla="*/ 22 h 27"/>
              <a:gd name="T8" fmla="*/ 17 w 26"/>
              <a:gd name="T9" fmla="*/ 24 h 27"/>
              <a:gd name="T10" fmla="*/ 17 w 26"/>
              <a:gd name="T11" fmla="*/ 26 h 27"/>
              <a:gd name="T12" fmla="*/ 13 w 26"/>
              <a:gd name="T13" fmla="*/ 27 h 27"/>
              <a:gd name="T14" fmla="*/ 13 w 26"/>
              <a:gd name="T15" fmla="*/ 21 h 27"/>
              <a:gd name="T16" fmla="*/ 19 w 26"/>
              <a:gd name="T17" fmla="*/ 18 h 27"/>
              <a:gd name="T18" fmla="*/ 18 w 26"/>
              <a:gd name="T19" fmla="*/ 8 h 27"/>
              <a:gd name="T20" fmla="*/ 18 w 26"/>
              <a:gd name="T21" fmla="*/ 8 h 27"/>
              <a:gd name="T22" fmla="*/ 15 w 26"/>
              <a:gd name="T23" fmla="*/ 6 h 27"/>
              <a:gd name="T24" fmla="*/ 13 w 26"/>
              <a:gd name="T25" fmla="*/ 6 h 27"/>
              <a:gd name="T26" fmla="*/ 13 w 26"/>
              <a:gd name="T27" fmla="*/ 0 h 27"/>
              <a:gd name="T28" fmla="*/ 14 w 26"/>
              <a:gd name="T29" fmla="*/ 0 h 27"/>
              <a:gd name="T30" fmla="*/ 15 w 26"/>
              <a:gd name="T31" fmla="*/ 2 h 27"/>
              <a:gd name="T32" fmla="*/ 18 w 26"/>
              <a:gd name="T33" fmla="*/ 3 h 27"/>
              <a:gd name="T34" fmla="*/ 20 w 26"/>
              <a:gd name="T35" fmla="*/ 2 h 27"/>
              <a:gd name="T36" fmla="*/ 23 w 26"/>
              <a:gd name="T37" fmla="*/ 5 h 27"/>
              <a:gd name="T38" fmla="*/ 22 w 26"/>
              <a:gd name="T39" fmla="*/ 7 h 27"/>
              <a:gd name="T40" fmla="*/ 24 w 26"/>
              <a:gd name="T41" fmla="*/ 10 h 27"/>
              <a:gd name="T42" fmla="*/ 26 w 26"/>
              <a:gd name="T43" fmla="*/ 10 h 27"/>
              <a:gd name="T44" fmla="*/ 26 w 26"/>
              <a:gd name="T45" fmla="*/ 15 h 27"/>
              <a:gd name="T46" fmla="*/ 24 w 26"/>
              <a:gd name="T47" fmla="*/ 15 h 27"/>
              <a:gd name="T48" fmla="*/ 23 w 26"/>
              <a:gd name="T49" fmla="*/ 19 h 27"/>
              <a:gd name="T50" fmla="*/ 13 w 26"/>
              <a:gd name="T51" fmla="*/ 27 h 27"/>
              <a:gd name="T52" fmla="*/ 12 w 26"/>
              <a:gd name="T53" fmla="*/ 27 h 27"/>
              <a:gd name="T54" fmla="*/ 12 w 26"/>
              <a:gd name="T55" fmla="*/ 25 h 27"/>
              <a:gd name="T56" fmla="*/ 8 w 26"/>
              <a:gd name="T57" fmla="*/ 24 h 27"/>
              <a:gd name="T58" fmla="*/ 7 w 26"/>
              <a:gd name="T59" fmla="*/ 25 h 27"/>
              <a:gd name="T60" fmla="*/ 3 w 26"/>
              <a:gd name="T61" fmla="*/ 22 h 27"/>
              <a:gd name="T62" fmla="*/ 4 w 26"/>
              <a:gd name="T63" fmla="*/ 20 h 27"/>
              <a:gd name="T64" fmla="*/ 2 w 26"/>
              <a:gd name="T65" fmla="*/ 17 h 27"/>
              <a:gd name="T66" fmla="*/ 0 w 26"/>
              <a:gd name="T67" fmla="*/ 17 h 27"/>
              <a:gd name="T68" fmla="*/ 0 w 26"/>
              <a:gd name="T69" fmla="*/ 12 h 27"/>
              <a:gd name="T70" fmla="*/ 2 w 26"/>
              <a:gd name="T71" fmla="*/ 12 h 27"/>
              <a:gd name="T72" fmla="*/ 3 w 26"/>
              <a:gd name="T73" fmla="*/ 8 h 27"/>
              <a:gd name="T74" fmla="*/ 2 w 26"/>
              <a:gd name="T75" fmla="*/ 7 h 27"/>
              <a:gd name="T76" fmla="*/ 5 w 26"/>
              <a:gd name="T77" fmla="*/ 3 h 27"/>
              <a:gd name="T78" fmla="*/ 6 w 26"/>
              <a:gd name="T79" fmla="*/ 4 h 27"/>
              <a:gd name="T80" fmla="*/ 10 w 26"/>
              <a:gd name="T81" fmla="*/ 3 h 27"/>
              <a:gd name="T82" fmla="*/ 10 w 26"/>
              <a:gd name="T83" fmla="*/ 1 h 27"/>
              <a:gd name="T84" fmla="*/ 13 w 26"/>
              <a:gd name="T85" fmla="*/ 0 h 27"/>
              <a:gd name="T86" fmla="*/ 13 w 26"/>
              <a:gd name="T87" fmla="*/ 6 h 27"/>
              <a:gd name="T88" fmla="*/ 7 w 26"/>
              <a:gd name="T89" fmla="*/ 9 h 27"/>
              <a:gd name="T90" fmla="*/ 8 w 26"/>
              <a:gd name="T91" fmla="*/ 19 h 27"/>
              <a:gd name="T92" fmla="*/ 11 w 26"/>
              <a:gd name="T93" fmla="*/ 21 h 27"/>
              <a:gd name="T94" fmla="*/ 13 w 26"/>
              <a:gd name="T95" fmla="*/ 21 h 27"/>
              <a:gd name="T96" fmla="*/ 13 w 26"/>
              <a:gd name="T97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" h="27">
                <a:moveTo>
                  <a:pt x="23" y="19"/>
                </a:moveTo>
                <a:cubicBezTo>
                  <a:pt x="25" y="20"/>
                  <a:pt x="25" y="20"/>
                  <a:pt x="25" y="20"/>
                </a:cubicBezTo>
                <a:cubicBezTo>
                  <a:pt x="22" y="24"/>
                  <a:pt x="22" y="24"/>
                  <a:pt x="22" y="24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3"/>
                  <a:pt x="18" y="24"/>
                  <a:pt x="17" y="24"/>
                </a:cubicBezTo>
                <a:cubicBezTo>
                  <a:pt x="17" y="26"/>
                  <a:pt x="17" y="26"/>
                  <a:pt x="17" y="26"/>
                </a:cubicBezTo>
                <a:cubicBezTo>
                  <a:pt x="13" y="27"/>
                  <a:pt x="13" y="27"/>
                  <a:pt x="13" y="27"/>
                </a:cubicBezTo>
                <a:cubicBezTo>
                  <a:pt x="13" y="21"/>
                  <a:pt x="13" y="21"/>
                  <a:pt x="13" y="21"/>
                </a:cubicBezTo>
                <a:cubicBezTo>
                  <a:pt x="15" y="21"/>
                  <a:pt x="17" y="20"/>
                  <a:pt x="19" y="18"/>
                </a:cubicBezTo>
                <a:cubicBezTo>
                  <a:pt x="22" y="15"/>
                  <a:pt x="21" y="10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7" y="7"/>
                  <a:pt x="16" y="7"/>
                  <a:pt x="15" y="6"/>
                </a:cubicBezTo>
                <a:cubicBezTo>
                  <a:pt x="15" y="6"/>
                  <a:pt x="14" y="6"/>
                  <a:pt x="13" y="6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2"/>
                  <a:pt x="15" y="2"/>
                  <a:pt x="15" y="2"/>
                </a:cubicBezTo>
                <a:cubicBezTo>
                  <a:pt x="16" y="2"/>
                  <a:pt x="17" y="3"/>
                  <a:pt x="18" y="3"/>
                </a:cubicBezTo>
                <a:cubicBezTo>
                  <a:pt x="20" y="2"/>
                  <a:pt x="20" y="2"/>
                  <a:pt x="20" y="2"/>
                </a:cubicBezTo>
                <a:cubicBezTo>
                  <a:pt x="23" y="5"/>
                  <a:pt x="23" y="5"/>
                  <a:pt x="23" y="5"/>
                </a:cubicBezTo>
                <a:cubicBezTo>
                  <a:pt x="22" y="7"/>
                  <a:pt x="22" y="7"/>
                  <a:pt x="22" y="7"/>
                </a:cubicBezTo>
                <a:cubicBezTo>
                  <a:pt x="23" y="8"/>
                  <a:pt x="24" y="9"/>
                  <a:pt x="24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5"/>
                  <a:pt x="26" y="15"/>
                  <a:pt x="26" y="15"/>
                </a:cubicBezTo>
                <a:cubicBezTo>
                  <a:pt x="24" y="15"/>
                  <a:pt x="24" y="15"/>
                  <a:pt x="24" y="15"/>
                </a:cubicBezTo>
                <a:cubicBezTo>
                  <a:pt x="24" y="16"/>
                  <a:pt x="24" y="18"/>
                  <a:pt x="23" y="19"/>
                </a:cubicBezTo>
                <a:close/>
                <a:moveTo>
                  <a:pt x="13" y="27"/>
                </a:moveTo>
                <a:cubicBezTo>
                  <a:pt x="12" y="27"/>
                  <a:pt x="12" y="27"/>
                  <a:pt x="12" y="27"/>
                </a:cubicBezTo>
                <a:cubicBezTo>
                  <a:pt x="12" y="25"/>
                  <a:pt x="12" y="25"/>
                  <a:pt x="12" y="25"/>
                </a:cubicBezTo>
                <a:cubicBezTo>
                  <a:pt x="10" y="25"/>
                  <a:pt x="9" y="24"/>
                  <a:pt x="8" y="24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2"/>
                  <a:pt x="3" y="22"/>
                  <a:pt x="3" y="22"/>
                </a:cubicBezTo>
                <a:cubicBezTo>
                  <a:pt x="4" y="20"/>
                  <a:pt x="4" y="20"/>
                  <a:pt x="4" y="20"/>
                </a:cubicBezTo>
                <a:cubicBezTo>
                  <a:pt x="3" y="19"/>
                  <a:pt x="3" y="18"/>
                  <a:pt x="2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2"/>
                  <a:pt x="0" y="12"/>
                  <a:pt x="0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2" y="11"/>
                  <a:pt x="2" y="9"/>
                  <a:pt x="3" y="8"/>
                </a:cubicBezTo>
                <a:cubicBezTo>
                  <a:pt x="2" y="7"/>
                  <a:pt x="2" y="7"/>
                  <a:pt x="2" y="7"/>
                </a:cubicBezTo>
                <a:cubicBezTo>
                  <a:pt x="5" y="3"/>
                  <a:pt x="5" y="3"/>
                  <a:pt x="5" y="3"/>
                </a:cubicBezTo>
                <a:cubicBezTo>
                  <a:pt x="6" y="4"/>
                  <a:pt x="6" y="4"/>
                  <a:pt x="6" y="4"/>
                </a:cubicBezTo>
                <a:cubicBezTo>
                  <a:pt x="7" y="4"/>
                  <a:pt x="8" y="3"/>
                  <a:pt x="10" y="3"/>
                </a:cubicBezTo>
                <a:cubicBezTo>
                  <a:pt x="10" y="1"/>
                  <a:pt x="10" y="1"/>
                  <a:pt x="10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6"/>
                  <a:pt x="13" y="6"/>
                  <a:pt x="13" y="6"/>
                </a:cubicBezTo>
                <a:cubicBezTo>
                  <a:pt x="11" y="6"/>
                  <a:pt x="9" y="7"/>
                  <a:pt x="7" y="9"/>
                </a:cubicBezTo>
                <a:cubicBezTo>
                  <a:pt x="5" y="12"/>
                  <a:pt x="5" y="17"/>
                  <a:pt x="8" y="19"/>
                </a:cubicBezTo>
                <a:cubicBezTo>
                  <a:pt x="9" y="20"/>
                  <a:pt x="10" y="20"/>
                  <a:pt x="11" y="21"/>
                </a:cubicBezTo>
                <a:cubicBezTo>
                  <a:pt x="12" y="21"/>
                  <a:pt x="12" y="21"/>
                  <a:pt x="13" y="21"/>
                </a:cubicBezTo>
                <a:lnTo>
                  <a:pt x="13" y="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0" name="ïsḻïḑe">
            <a:extLst>
              <a:ext uri="{FF2B5EF4-FFF2-40B4-BE49-F238E27FC236}">
                <a16:creationId xmlns:a16="http://schemas.microsoft.com/office/drawing/2014/main" id="{FF94D1AD-0702-4F0F-920D-1676C3790AA4}"/>
              </a:ext>
            </a:extLst>
          </p:cNvPr>
          <p:cNvSpPr/>
          <p:nvPr/>
        </p:nvSpPr>
        <p:spPr bwMode="auto">
          <a:xfrm>
            <a:off x="10011816" y="2463061"/>
            <a:ext cx="161025" cy="119331"/>
          </a:xfrm>
          <a:custGeom>
            <a:avLst/>
            <a:gdLst>
              <a:gd name="T0" fmla="*/ 16 w 31"/>
              <a:gd name="T1" fmla="*/ 0 h 23"/>
              <a:gd name="T2" fmla="*/ 0 w 31"/>
              <a:gd name="T3" fmla="*/ 15 h 23"/>
              <a:gd name="T4" fmla="*/ 2 w 31"/>
              <a:gd name="T5" fmla="*/ 23 h 23"/>
              <a:gd name="T6" fmla="*/ 2 w 31"/>
              <a:gd name="T7" fmla="*/ 19 h 23"/>
              <a:gd name="T8" fmla="*/ 3 w 31"/>
              <a:gd name="T9" fmla="*/ 17 h 23"/>
              <a:gd name="T10" fmla="*/ 3 w 31"/>
              <a:gd name="T11" fmla="*/ 15 h 23"/>
              <a:gd name="T12" fmla="*/ 16 w 31"/>
              <a:gd name="T13" fmla="*/ 3 h 23"/>
              <a:gd name="T14" fmla="*/ 28 w 31"/>
              <a:gd name="T15" fmla="*/ 15 h 23"/>
              <a:gd name="T16" fmla="*/ 28 w 31"/>
              <a:gd name="T17" fmla="*/ 17 h 23"/>
              <a:gd name="T18" fmla="*/ 29 w 31"/>
              <a:gd name="T19" fmla="*/ 19 h 23"/>
              <a:gd name="T20" fmla="*/ 29 w 31"/>
              <a:gd name="T21" fmla="*/ 23 h 23"/>
              <a:gd name="T22" fmla="*/ 31 w 31"/>
              <a:gd name="T23" fmla="*/ 15 h 23"/>
              <a:gd name="T24" fmla="*/ 16 w 31"/>
              <a:gd name="T2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" h="23">
                <a:moveTo>
                  <a:pt x="16" y="0"/>
                </a:moveTo>
                <a:cubicBezTo>
                  <a:pt x="7" y="0"/>
                  <a:pt x="0" y="7"/>
                  <a:pt x="0" y="15"/>
                </a:cubicBezTo>
                <a:cubicBezTo>
                  <a:pt x="0" y="18"/>
                  <a:pt x="1" y="21"/>
                  <a:pt x="2" y="23"/>
                </a:cubicBezTo>
                <a:cubicBezTo>
                  <a:pt x="2" y="19"/>
                  <a:pt x="2" y="19"/>
                  <a:pt x="2" y="19"/>
                </a:cubicBezTo>
                <a:cubicBezTo>
                  <a:pt x="2" y="18"/>
                  <a:pt x="3" y="17"/>
                  <a:pt x="3" y="17"/>
                </a:cubicBezTo>
                <a:cubicBezTo>
                  <a:pt x="3" y="16"/>
                  <a:pt x="3" y="16"/>
                  <a:pt x="3" y="15"/>
                </a:cubicBezTo>
                <a:cubicBezTo>
                  <a:pt x="3" y="8"/>
                  <a:pt x="9" y="3"/>
                  <a:pt x="16" y="3"/>
                </a:cubicBezTo>
                <a:cubicBezTo>
                  <a:pt x="23" y="3"/>
                  <a:pt x="28" y="8"/>
                  <a:pt x="28" y="15"/>
                </a:cubicBezTo>
                <a:cubicBezTo>
                  <a:pt x="28" y="16"/>
                  <a:pt x="28" y="16"/>
                  <a:pt x="28" y="17"/>
                </a:cubicBezTo>
                <a:cubicBezTo>
                  <a:pt x="29" y="17"/>
                  <a:pt x="29" y="18"/>
                  <a:pt x="29" y="19"/>
                </a:cubicBezTo>
                <a:cubicBezTo>
                  <a:pt x="29" y="23"/>
                  <a:pt x="29" y="23"/>
                  <a:pt x="29" y="23"/>
                </a:cubicBezTo>
                <a:cubicBezTo>
                  <a:pt x="30" y="21"/>
                  <a:pt x="31" y="18"/>
                  <a:pt x="31" y="15"/>
                </a:cubicBezTo>
                <a:cubicBezTo>
                  <a:pt x="31" y="7"/>
                  <a:pt x="24" y="0"/>
                  <a:pt x="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1" name="íslíḓê">
            <a:extLst>
              <a:ext uri="{FF2B5EF4-FFF2-40B4-BE49-F238E27FC236}">
                <a16:creationId xmlns:a16="http://schemas.microsoft.com/office/drawing/2014/main" id="{E7B58F30-1FA1-4F90-B599-34EFF818C23D}"/>
              </a:ext>
            </a:extLst>
          </p:cNvPr>
          <p:cNvSpPr/>
          <p:nvPr/>
        </p:nvSpPr>
        <p:spPr bwMode="auto">
          <a:xfrm>
            <a:off x="10027632" y="2546450"/>
            <a:ext cx="35942" cy="61822"/>
          </a:xfrm>
          <a:custGeom>
            <a:avLst/>
            <a:gdLst>
              <a:gd name="T0" fmla="*/ 0 w 7"/>
              <a:gd name="T1" fmla="*/ 2 h 12"/>
              <a:gd name="T2" fmla="*/ 0 w 7"/>
              <a:gd name="T3" fmla="*/ 3 h 12"/>
              <a:gd name="T4" fmla="*/ 0 w 7"/>
              <a:gd name="T5" fmla="*/ 7 h 12"/>
              <a:gd name="T6" fmla="*/ 0 w 7"/>
              <a:gd name="T7" fmla="*/ 8 h 12"/>
              <a:gd name="T8" fmla="*/ 5 w 7"/>
              <a:gd name="T9" fmla="*/ 12 h 12"/>
              <a:gd name="T10" fmla="*/ 7 w 7"/>
              <a:gd name="T11" fmla="*/ 12 h 12"/>
              <a:gd name="T12" fmla="*/ 7 w 7"/>
              <a:gd name="T13" fmla="*/ 0 h 12"/>
              <a:gd name="T14" fmla="*/ 5 w 7"/>
              <a:gd name="T15" fmla="*/ 0 h 12"/>
              <a:gd name="T16" fmla="*/ 0 w 7"/>
              <a:gd name="T17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12">
                <a:moveTo>
                  <a:pt x="0" y="2"/>
                </a:moveTo>
                <a:cubicBezTo>
                  <a:pt x="0" y="2"/>
                  <a:pt x="0" y="2"/>
                  <a:pt x="0" y="3"/>
                </a:cubicBezTo>
                <a:cubicBezTo>
                  <a:pt x="0" y="7"/>
                  <a:pt x="0" y="7"/>
                  <a:pt x="0" y="7"/>
                </a:cubicBezTo>
                <a:cubicBezTo>
                  <a:pt x="0" y="8"/>
                  <a:pt x="0" y="8"/>
                  <a:pt x="0" y="8"/>
                </a:cubicBezTo>
                <a:cubicBezTo>
                  <a:pt x="0" y="10"/>
                  <a:pt x="2" y="12"/>
                  <a:pt x="5" y="12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0"/>
                  <a:pt x="7" y="0"/>
                  <a:pt x="7" y="0"/>
                </a:cubicBezTo>
                <a:cubicBezTo>
                  <a:pt x="5" y="0"/>
                  <a:pt x="5" y="0"/>
                  <a:pt x="5" y="0"/>
                </a:cubicBezTo>
                <a:cubicBezTo>
                  <a:pt x="3" y="0"/>
                  <a:pt x="1" y="1"/>
                  <a:pt x="0" y="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2" name="íśľíḍe">
            <a:extLst>
              <a:ext uri="{FF2B5EF4-FFF2-40B4-BE49-F238E27FC236}">
                <a16:creationId xmlns:a16="http://schemas.microsoft.com/office/drawing/2014/main" id="{EC6083FA-05C3-42B0-88F1-13BDEE21244A}"/>
              </a:ext>
            </a:extLst>
          </p:cNvPr>
          <p:cNvSpPr/>
          <p:nvPr/>
        </p:nvSpPr>
        <p:spPr bwMode="auto">
          <a:xfrm>
            <a:off x="10121084" y="2546450"/>
            <a:ext cx="35942" cy="61822"/>
          </a:xfrm>
          <a:custGeom>
            <a:avLst/>
            <a:gdLst>
              <a:gd name="T0" fmla="*/ 7 w 7"/>
              <a:gd name="T1" fmla="*/ 8 h 12"/>
              <a:gd name="T2" fmla="*/ 7 w 7"/>
              <a:gd name="T3" fmla="*/ 7 h 12"/>
              <a:gd name="T4" fmla="*/ 7 w 7"/>
              <a:gd name="T5" fmla="*/ 3 h 12"/>
              <a:gd name="T6" fmla="*/ 7 w 7"/>
              <a:gd name="T7" fmla="*/ 2 h 12"/>
              <a:gd name="T8" fmla="*/ 2 w 7"/>
              <a:gd name="T9" fmla="*/ 0 h 12"/>
              <a:gd name="T10" fmla="*/ 0 w 7"/>
              <a:gd name="T11" fmla="*/ 0 h 12"/>
              <a:gd name="T12" fmla="*/ 0 w 7"/>
              <a:gd name="T13" fmla="*/ 12 h 12"/>
              <a:gd name="T14" fmla="*/ 2 w 7"/>
              <a:gd name="T15" fmla="*/ 12 h 12"/>
              <a:gd name="T16" fmla="*/ 7 w 7"/>
              <a:gd name="T17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12">
                <a:moveTo>
                  <a:pt x="7" y="8"/>
                </a:moveTo>
                <a:cubicBezTo>
                  <a:pt x="7" y="7"/>
                  <a:pt x="7" y="7"/>
                  <a:pt x="7" y="7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7" y="2"/>
                  <a:pt x="7" y="2"/>
                </a:cubicBezTo>
                <a:cubicBezTo>
                  <a:pt x="7" y="1"/>
                  <a:pt x="5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5" y="12"/>
                  <a:pt x="7" y="10"/>
                  <a:pt x="7" y="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3" name="îŝliḑé">
            <a:extLst>
              <a:ext uri="{FF2B5EF4-FFF2-40B4-BE49-F238E27FC236}">
                <a16:creationId xmlns:a16="http://schemas.microsoft.com/office/drawing/2014/main" id="{91D11620-411C-439A-99E6-528E5C08AC2B}"/>
              </a:ext>
            </a:extLst>
          </p:cNvPr>
          <p:cNvSpPr/>
          <p:nvPr/>
        </p:nvSpPr>
        <p:spPr bwMode="auto">
          <a:xfrm>
            <a:off x="10664544" y="4395366"/>
            <a:ext cx="218534" cy="161025"/>
          </a:xfrm>
          <a:custGeom>
            <a:avLst/>
            <a:gdLst>
              <a:gd name="T0" fmla="*/ 28 w 42"/>
              <a:gd name="T1" fmla="*/ 31 h 31"/>
              <a:gd name="T2" fmla="*/ 42 w 42"/>
              <a:gd name="T3" fmla="*/ 31 h 31"/>
              <a:gd name="T4" fmla="*/ 42 w 42"/>
              <a:gd name="T5" fmla="*/ 0 h 31"/>
              <a:gd name="T6" fmla="*/ 28 w 42"/>
              <a:gd name="T7" fmla="*/ 0 h 31"/>
              <a:gd name="T8" fmla="*/ 28 w 42"/>
              <a:gd name="T9" fmla="*/ 13 h 31"/>
              <a:gd name="T10" fmla="*/ 38 w 42"/>
              <a:gd name="T11" fmla="*/ 27 h 31"/>
              <a:gd name="T12" fmla="*/ 28 w 42"/>
              <a:gd name="T13" fmla="*/ 27 h 31"/>
              <a:gd name="T14" fmla="*/ 28 w 42"/>
              <a:gd name="T15" fmla="*/ 31 h 31"/>
              <a:gd name="T16" fmla="*/ 19 w 42"/>
              <a:gd name="T17" fmla="*/ 31 h 31"/>
              <a:gd name="T18" fmla="*/ 28 w 42"/>
              <a:gd name="T19" fmla="*/ 31 h 31"/>
              <a:gd name="T20" fmla="*/ 28 w 42"/>
              <a:gd name="T21" fmla="*/ 27 h 31"/>
              <a:gd name="T22" fmla="*/ 22 w 42"/>
              <a:gd name="T23" fmla="*/ 27 h 31"/>
              <a:gd name="T24" fmla="*/ 21 w 42"/>
              <a:gd name="T25" fmla="*/ 26 h 31"/>
              <a:gd name="T26" fmla="*/ 19 w 42"/>
              <a:gd name="T27" fmla="*/ 23 h 31"/>
              <a:gd name="T28" fmla="*/ 19 w 42"/>
              <a:gd name="T29" fmla="*/ 25 h 31"/>
              <a:gd name="T30" fmla="*/ 20 w 42"/>
              <a:gd name="T31" fmla="*/ 27 h 31"/>
              <a:gd name="T32" fmla="*/ 19 w 42"/>
              <a:gd name="T33" fmla="*/ 27 h 31"/>
              <a:gd name="T34" fmla="*/ 19 w 42"/>
              <a:gd name="T35" fmla="*/ 31 h 31"/>
              <a:gd name="T36" fmla="*/ 28 w 42"/>
              <a:gd name="T37" fmla="*/ 0 h 31"/>
              <a:gd name="T38" fmla="*/ 19 w 42"/>
              <a:gd name="T39" fmla="*/ 0 h 31"/>
              <a:gd name="T40" fmla="*/ 19 w 42"/>
              <a:gd name="T41" fmla="*/ 20 h 31"/>
              <a:gd name="T42" fmla="*/ 26 w 42"/>
              <a:gd name="T43" fmla="*/ 10 h 31"/>
              <a:gd name="T44" fmla="*/ 26 w 42"/>
              <a:gd name="T45" fmla="*/ 10 h 31"/>
              <a:gd name="T46" fmla="*/ 28 w 42"/>
              <a:gd name="T47" fmla="*/ 13 h 31"/>
              <a:gd name="T48" fmla="*/ 28 w 42"/>
              <a:gd name="T49" fmla="*/ 0 h 31"/>
              <a:gd name="T50" fmla="*/ 12 w 42"/>
              <a:gd name="T51" fmla="*/ 31 h 31"/>
              <a:gd name="T52" fmla="*/ 19 w 42"/>
              <a:gd name="T53" fmla="*/ 31 h 31"/>
              <a:gd name="T54" fmla="*/ 19 w 42"/>
              <a:gd name="T55" fmla="*/ 27 h 31"/>
              <a:gd name="T56" fmla="*/ 14 w 42"/>
              <a:gd name="T57" fmla="*/ 27 h 31"/>
              <a:gd name="T58" fmla="*/ 12 w 42"/>
              <a:gd name="T59" fmla="*/ 27 h 31"/>
              <a:gd name="T60" fmla="*/ 12 w 42"/>
              <a:gd name="T61" fmla="*/ 31 h 31"/>
              <a:gd name="T62" fmla="*/ 19 w 42"/>
              <a:gd name="T63" fmla="*/ 0 h 31"/>
              <a:gd name="T64" fmla="*/ 12 w 42"/>
              <a:gd name="T65" fmla="*/ 0 h 31"/>
              <a:gd name="T66" fmla="*/ 12 w 42"/>
              <a:gd name="T67" fmla="*/ 6 h 31"/>
              <a:gd name="T68" fmla="*/ 13 w 42"/>
              <a:gd name="T69" fmla="*/ 8 h 31"/>
              <a:gd name="T70" fmla="*/ 12 w 42"/>
              <a:gd name="T71" fmla="*/ 10 h 31"/>
              <a:gd name="T72" fmla="*/ 12 w 42"/>
              <a:gd name="T73" fmla="*/ 16 h 31"/>
              <a:gd name="T74" fmla="*/ 12 w 42"/>
              <a:gd name="T75" fmla="*/ 16 h 31"/>
              <a:gd name="T76" fmla="*/ 17 w 42"/>
              <a:gd name="T77" fmla="*/ 23 h 31"/>
              <a:gd name="T78" fmla="*/ 19 w 42"/>
              <a:gd name="T79" fmla="*/ 25 h 31"/>
              <a:gd name="T80" fmla="*/ 19 w 42"/>
              <a:gd name="T81" fmla="*/ 23 h 31"/>
              <a:gd name="T82" fmla="*/ 18 w 42"/>
              <a:gd name="T83" fmla="*/ 22 h 31"/>
              <a:gd name="T84" fmla="*/ 19 w 42"/>
              <a:gd name="T85" fmla="*/ 20 h 31"/>
              <a:gd name="T86" fmla="*/ 19 w 42"/>
              <a:gd name="T87" fmla="*/ 0 h 31"/>
              <a:gd name="T88" fmla="*/ 0 w 42"/>
              <a:gd name="T89" fmla="*/ 31 h 31"/>
              <a:gd name="T90" fmla="*/ 12 w 42"/>
              <a:gd name="T91" fmla="*/ 31 h 31"/>
              <a:gd name="T92" fmla="*/ 12 w 42"/>
              <a:gd name="T93" fmla="*/ 27 h 31"/>
              <a:gd name="T94" fmla="*/ 4 w 42"/>
              <a:gd name="T95" fmla="*/ 27 h 31"/>
              <a:gd name="T96" fmla="*/ 4 w 42"/>
              <a:gd name="T97" fmla="*/ 27 h 31"/>
              <a:gd name="T98" fmla="*/ 12 w 42"/>
              <a:gd name="T99" fmla="*/ 16 h 31"/>
              <a:gd name="T100" fmla="*/ 12 w 42"/>
              <a:gd name="T101" fmla="*/ 10 h 31"/>
              <a:gd name="T102" fmla="*/ 10 w 42"/>
              <a:gd name="T103" fmla="*/ 11 h 31"/>
              <a:gd name="T104" fmla="*/ 6 w 42"/>
              <a:gd name="T105" fmla="*/ 8 h 31"/>
              <a:gd name="T106" fmla="*/ 10 w 42"/>
              <a:gd name="T107" fmla="*/ 4 h 31"/>
              <a:gd name="T108" fmla="*/ 10 w 42"/>
              <a:gd name="T109" fmla="*/ 4 h 31"/>
              <a:gd name="T110" fmla="*/ 12 w 42"/>
              <a:gd name="T111" fmla="*/ 6 h 31"/>
              <a:gd name="T112" fmla="*/ 12 w 42"/>
              <a:gd name="T113" fmla="*/ 0 h 31"/>
              <a:gd name="T114" fmla="*/ 0 w 42"/>
              <a:gd name="T115" fmla="*/ 0 h 31"/>
              <a:gd name="T116" fmla="*/ 0 w 42"/>
              <a:gd name="T1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2" h="31">
                <a:moveTo>
                  <a:pt x="28" y="31"/>
                </a:moveTo>
                <a:cubicBezTo>
                  <a:pt x="42" y="31"/>
                  <a:pt x="42" y="31"/>
                  <a:pt x="42" y="31"/>
                </a:cubicBezTo>
                <a:cubicBezTo>
                  <a:pt x="42" y="0"/>
                  <a:pt x="42" y="0"/>
                  <a:pt x="4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13"/>
                  <a:pt x="28" y="13"/>
                  <a:pt x="28" y="13"/>
                </a:cubicBezTo>
                <a:cubicBezTo>
                  <a:pt x="38" y="27"/>
                  <a:pt x="38" y="27"/>
                  <a:pt x="38" y="27"/>
                </a:cubicBezTo>
                <a:cubicBezTo>
                  <a:pt x="28" y="27"/>
                  <a:pt x="28" y="27"/>
                  <a:pt x="28" y="27"/>
                </a:cubicBezTo>
                <a:lnTo>
                  <a:pt x="28" y="31"/>
                </a:lnTo>
                <a:close/>
                <a:moveTo>
                  <a:pt x="19" y="31"/>
                </a:moveTo>
                <a:cubicBezTo>
                  <a:pt x="28" y="31"/>
                  <a:pt x="28" y="31"/>
                  <a:pt x="28" y="31"/>
                </a:cubicBezTo>
                <a:cubicBezTo>
                  <a:pt x="28" y="27"/>
                  <a:pt x="28" y="27"/>
                  <a:pt x="28" y="27"/>
                </a:cubicBezTo>
                <a:cubicBezTo>
                  <a:pt x="22" y="27"/>
                  <a:pt x="22" y="27"/>
                  <a:pt x="22" y="27"/>
                </a:cubicBezTo>
                <a:cubicBezTo>
                  <a:pt x="21" y="26"/>
                  <a:pt x="21" y="26"/>
                  <a:pt x="21" y="26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25"/>
                  <a:pt x="19" y="25"/>
                  <a:pt x="19" y="25"/>
                </a:cubicBezTo>
                <a:cubicBezTo>
                  <a:pt x="20" y="27"/>
                  <a:pt x="20" y="27"/>
                  <a:pt x="20" y="27"/>
                </a:cubicBezTo>
                <a:cubicBezTo>
                  <a:pt x="19" y="27"/>
                  <a:pt x="19" y="27"/>
                  <a:pt x="19" y="27"/>
                </a:cubicBezTo>
                <a:cubicBezTo>
                  <a:pt x="19" y="31"/>
                  <a:pt x="19" y="31"/>
                  <a:pt x="19" y="31"/>
                </a:cubicBezTo>
                <a:close/>
                <a:moveTo>
                  <a:pt x="28" y="0"/>
                </a:moveTo>
                <a:cubicBezTo>
                  <a:pt x="19" y="0"/>
                  <a:pt x="19" y="0"/>
                  <a:pt x="19" y="0"/>
                </a:cubicBezTo>
                <a:cubicBezTo>
                  <a:pt x="19" y="20"/>
                  <a:pt x="19" y="20"/>
                  <a:pt x="19" y="2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8" y="13"/>
                  <a:pt x="28" y="13"/>
                  <a:pt x="28" y="13"/>
                </a:cubicBezTo>
                <a:lnTo>
                  <a:pt x="28" y="0"/>
                </a:lnTo>
                <a:close/>
                <a:moveTo>
                  <a:pt x="12" y="31"/>
                </a:moveTo>
                <a:cubicBezTo>
                  <a:pt x="19" y="31"/>
                  <a:pt x="19" y="31"/>
                  <a:pt x="19" y="31"/>
                </a:cubicBezTo>
                <a:cubicBezTo>
                  <a:pt x="19" y="27"/>
                  <a:pt x="19" y="27"/>
                  <a:pt x="19" y="27"/>
                </a:cubicBezTo>
                <a:cubicBezTo>
                  <a:pt x="14" y="27"/>
                  <a:pt x="14" y="27"/>
                  <a:pt x="14" y="27"/>
                </a:cubicBezTo>
                <a:cubicBezTo>
                  <a:pt x="12" y="27"/>
                  <a:pt x="12" y="27"/>
                  <a:pt x="12" y="27"/>
                </a:cubicBezTo>
                <a:cubicBezTo>
                  <a:pt x="12" y="31"/>
                  <a:pt x="12" y="31"/>
                  <a:pt x="12" y="31"/>
                </a:cubicBezTo>
                <a:close/>
                <a:moveTo>
                  <a:pt x="19" y="0"/>
                </a:moveTo>
                <a:cubicBezTo>
                  <a:pt x="12" y="0"/>
                  <a:pt x="12" y="0"/>
                  <a:pt x="12" y="0"/>
                </a:cubicBezTo>
                <a:cubicBezTo>
                  <a:pt x="12" y="6"/>
                  <a:pt x="12" y="6"/>
                  <a:pt x="12" y="6"/>
                </a:cubicBezTo>
                <a:cubicBezTo>
                  <a:pt x="13" y="6"/>
                  <a:pt x="13" y="7"/>
                  <a:pt x="13" y="8"/>
                </a:cubicBezTo>
                <a:cubicBezTo>
                  <a:pt x="13" y="8"/>
                  <a:pt x="13" y="9"/>
                  <a:pt x="12" y="10"/>
                </a:cubicBezTo>
                <a:cubicBezTo>
                  <a:pt x="12" y="16"/>
                  <a:pt x="12" y="16"/>
                  <a:pt x="12" y="16"/>
                </a:cubicBezTo>
                <a:cubicBezTo>
                  <a:pt x="12" y="16"/>
                  <a:pt x="12" y="16"/>
                  <a:pt x="12" y="16"/>
                </a:cubicBezTo>
                <a:cubicBezTo>
                  <a:pt x="17" y="23"/>
                  <a:pt x="17" y="23"/>
                  <a:pt x="17" y="23"/>
                </a:cubicBezTo>
                <a:cubicBezTo>
                  <a:pt x="19" y="25"/>
                  <a:pt x="19" y="25"/>
                  <a:pt x="19" y="25"/>
                </a:cubicBezTo>
                <a:cubicBezTo>
                  <a:pt x="19" y="23"/>
                  <a:pt x="19" y="23"/>
                  <a:pt x="19" y="23"/>
                </a:cubicBezTo>
                <a:cubicBezTo>
                  <a:pt x="18" y="22"/>
                  <a:pt x="18" y="22"/>
                  <a:pt x="18" y="22"/>
                </a:cubicBezTo>
                <a:cubicBezTo>
                  <a:pt x="19" y="20"/>
                  <a:pt x="19" y="20"/>
                  <a:pt x="19" y="20"/>
                </a:cubicBezTo>
                <a:lnTo>
                  <a:pt x="19" y="0"/>
                </a:lnTo>
                <a:close/>
                <a:moveTo>
                  <a:pt x="0" y="31"/>
                </a:moveTo>
                <a:cubicBezTo>
                  <a:pt x="12" y="31"/>
                  <a:pt x="12" y="31"/>
                  <a:pt x="12" y="31"/>
                </a:cubicBezTo>
                <a:cubicBezTo>
                  <a:pt x="12" y="27"/>
                  <a:pt x="12" y="27"/>
                  <a:pt x="12" y="27"/>
                </a:cubicBezTo>
                <a:cubicBezTo>
                  <a:pt x="4" y="27"/>
                  <a:pt x="4" y="27"/>
                  <a:pt x="4" y="27"/>
                </a:cubicBezTo>
                <a:cubicBezTo>
                  <a:pt x="4" y="27"/>
                  <a:pt x="4" y="27"/>
                  <a:pt x="4" y="27"/>
                </a:cubicBezTo>
                <a:cubicBezTo>
                  <a:pt x="12" y="16"/>
                  <a:pt x="12" y="16"/>
                  <a:pt x="12" y="16"/>
                </a:cubicBezTo>
                <a:cubicBezTo>
                  <a:pt x="12" y="10"/>
                  <a:pt x="12" y="10"/>
                  <a:pt x="12" y="10"/>
                </a:cubicBezTo>
                <a:cubicBezTo>
                  <a:pt x="12" y="10"/>
                  <a:pt x="11" y="11"/>
                  <a:pt x="10" y="11"/>
                </a:cubicBezTo>
                <a:cubicBezTo>
                  <a:pt x="8" y="11"/>
                  <a:pt x="6" y="9"/>
                  <a:pt x="6" y="8"/>
                </a:cubicBezTo>
                <a:cubicBezTo>
                  <a:pt x="6" y="6"/>
                  <a:pt x="8" y="4"/>
                  <a:pt x="10" y="4"/>
                </a:cubicBezTo>
                <a:cubicBezTo>
                  <a:pt x="10" y="4"/>
                  <a:pt x="10" y="4"/>
                  <a:pt x="10" y="4"/>
                </a:cubicBezTo>
                <a:cubicBezTo>
                  <a:pt x="11" y="4"/>
                  <a:pt x="12" y="5"/>
                  <a:pt x="12" y="6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0"/>
                  <a:pt x="0" y="0"/>
                  <a:pt x="0" y="0"/>
                </a:cubicBezTo>
                <a:lnTo>
                  <a:pt x="0" y="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4" name="îśļîďè">
            <a:extLst>
              <a:ext uri="{FF2B5EF4-FFF2-40B4-BE49-F238E27FC236}">
                <a16:creationId xmlns:a16="http://schemas.microsoft.com/office/drawing/2014/main" id="{B437EF54-AF80-456C-AF1A-66DEC5A39331}"/>
              </a:ext>
            </a:extLst>
          </p:cNvPr>
          <p:cNvSpPr/>
          <p:nvPr/>
        </p:nvSpPr>
        <p:spPr bwMode="auto">
          <a:xfrm>
            <a:off x="10405753" y="3235121"/>
            <a:ext cx="109267" cy="135147"/>
          </a:xfrm>
          <a:custGeom>
            <a:avLst/>
            <a:gdLst>
              <a:gd name="T0" fmla="*/ 3 w 21"/>
              <a:gd name="T1" fmla="*/ 23 h 26"/>
              <a:gd name="T2" fmla="*/ 3 w 21"/>
              <a:gd name="T3" fmla="*/ 22 h 26"/>
              <a:gd name="T4" fmla="*/ 3 w 21"/>
              <a:gd name="T5" fmla="*/ 22 h 26"/>
              <a:gd name="T6" fmla="*/ 3 w 21"/>
              <a:gd name="T7" fmla="*/ 6 h 26"/>
              <a:gd name="T8" fmla="*/ 18 w 21"/>
              <a:gd name="T9" fmla="*/ 6 h 26"/>
              <a:gd name="T10" fmla="*/ 18 w 21"/>
              <a:gd name="T11" fmla="*/ 17 h 26"/>
              <a:gd name="T12" fmla="*/ 17 w 21"/>
              <a:gd name="T13" fmla="*/ 17 h 26"/>
              <a:gd name="T14" fmla="*/ 12 w 21"/>
              <a:gd name="T15" fmla="*/ 22 h 26"/>
              <a:gd name="T16" fmla="*/ 17 w 21"/>
              <a:gd name="T17" fmla="*/ 26 h 26"/>
              <a:gd name="T18" fmla="*/ 21 w 21"/>
              <a:gd name="T19" fmla="*/ 22 h 26"/>
              <a:gd name="T20" fmla="*/ 21 w 21"/>
              <a:gd name="T21" fmla="*/ 22 h 26"/>
              <a:gd name="T22" fmla="*/ 21 w 21"/>
              <a:gd name="T23" fmla="*/ 22 h 26"/>
              <a:gd name="T24" fmla="*/ 21 w 21"/>
              <a:gd name="T25" fmla="*/ 6 h 26"/>
              <a:gd name="T26" fmla="*/ 21 w 21"/>
              <a:gd name="T27" fmla="*/ 0 h 26"/>
              <a:gd name="T28" fmla="*/ 18 w 21"/>
              <a:gd name="T29" fmla="*/ 0 h 26"/>
              <a:gd name="T30" fmla="*/ 3 w 21"/>
              <a:gd name="T31" fmla="*/ 0 h 26"/>
              <a:gd name="T32" fmla="*/ 0 w 21"/>
              <a:gd name="T33" fmla="*/ 0 h 26"/>
              <a:gd name="T34" fmla="*/ 0 w 21"/>
              <a:gd name="T35" fmla="*/ 6 h 26"/>
              <a:gd name="T36" fmla="*/ 0 w 21"/>
              <a:gd name="T37" fmla="*/ 17 h 26"/>
              <a:gd name="T38" fmla="*/ 0 w 21"/>
              <a:gd name="T39" fmla="*/ 17 h 26"/>
              <a:gd name="T40" fmla="*/ 3 w 21"/>
              <a:gd name="T41" fmla="*/ 2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1" h="26">
                <a:moveTo>
                  <a:pt x="3" y="23"/>
                </a:moveTo>
                <a:cubicBezTo>
                  <a:pt x="3" y="22"/>
                  <a:pt x="3" y="22"/>
                  <a:pt x="3" y="22"/>
                </a:cubicBezTo>
                <a:cubicBezTo>
                  <a:pt x="3" y="22"/>
                  <a:pt x="3" y="22"/>
                  <a:pt x="3" y="22"/>
                </a:cubicBezTo>
                <a:cubicBezTo>
                  <a:pt x="3" y="6"/>
                  <a:pt x="3" y="6"/>
                  <a:pt x="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8" y="17"/>
                  <a:pt x="18" y="17"/>
                  <a:pt x="18" y="17"/>
                </a:cubicBezTo>
                <a:cubicBezTo>
                  <a:pt x="18" y="17"/>
                  <a:pt x="17" y="17"/>
                  <a:pt x="17" y="17"/>
                </a:cubicBezTo>
                <a:cubicBezTo>
                  <a:pt x="14" y="17"/>
                  <a:pt x="12" y="19"/>
                  <a:pt x="12" y="22"/>
                </a:cubicBezTo>
                <a:cubicBezTo>
                  <a:pt x="12" y="24"/>
                  <a:pt x="14" y="26"/>
                  <a:pt x="17" y="26"/>
                </a:cubicBezTo>
                <a:cubicBezTo>
                  <a:pt x="19" y="26"/>
                  <a:pt x="21" y="24"/>
                  <a:pt x="21" y="22"/>
                </a:cubicBezTo>
                <a:cubicBezTo>
                  <a:pt x="21" y="22"/>
                  <a:pt x="21" y="22"/>
                  <a:pt x="21" y="22"/>
                </a:cubicBezTo>
                <a:cubicBezTo>
                  <a:pt x="21" y="22"/>
                  <a:pt x="21" y="22"/>
                  <a:pt x="21" y="22"/>
                </a:cubicBezTo>
                <a:cubicBezTo>
                  <a:pt x="21" y="6"/>
                  <a:pt x="21" y="6"/>
                  <a:pt x="21" y="6"/>
                </a:cubicBezTo>
                <a:cubicBezTo>
                  <a:pt x="21" y="0"/>
                  <a:pt x="21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"/>
                  <a:pt x="0" y="6"/>
                  <a:pt x="0" y="6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1" y="19"/>
                  <a:pt x="2" y="21"/>
                  <a:pt x="3" y="2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5" name="ïśļídê">
            <a:extLst>
              <a:ext uri="{FF2B5EF4-FFF2-40B4-BE49-F238E27FC236}">
                <a16:creationId xmlns:a16="http://schemas.microsoft.com/office/drawing/2014/main" id="{5A0F47C2-F196-4CB8-8625-1140BC3196C2}"/>
              </a:ext>
            </a:extLst>
          </p:cNvPr>
          <p:cNvSpPr/>
          <p:nvPr/>
        </p:nvSpPr>
        <p:spPr bwMode="auto">
          <a:xfrm>
            <a:off x="7386810" y="2449905"/>
            <a:ext cx="3319225" cy="3319226"/>
          </a:xfrm>
          <a:custGeom>
            <a:avLst/>
            <a:gdLst>
              <a:gd name="T0" fmla="*/ 315 w 630"/>
              <a:gd name="T1" fmla="*/ 19 h 630"/>
              <a:gd name="T2" fmla="*/ 611 w 630"/>
              <a:gd name="T3" fmla="*/ 315 h 630"/>
              <a:gd name="T4" fmla="*/ 315 w 630"/>
              <a:gd name="T5" fmla="*/ 611 h 630"/>
              <a:gd name="T6" fmla="*/ 315 w 630"/>
              <a:gd name="T7" fmla="*/ 630 h 630"/>
              <a:gd name="T8" fmla="*/ 630 w 630"/>
              <a:gd name="T9" fmla="*/ 315 h 630"/>
              <a:gd name="T10" fmla="*/ 315 w 630"/>
              <a:gd name="T11" fmla="*/ 0 h 630"/>
              <a:gd name="T12" fmla="*/ 315 w 630"/>
              <a:gd name="T13" fmla="*/ 19 h 630"/>
              <a:gd name="T14" fmla="*/ 315 w 630"/>
              <a:gd name="T15" fmla="*/ 611 h 630"/>
              <a:gd name="T16" fmla="*/ 19 w 630"/>
              <a:gd name="T17" fmla="*/ 315 h 630"/>
              <a:gd name="T18" fmla="*/ 315 w 630"/>
              <a:gd name="T19" fmla="*/ 19 h 630"/>
              <a:gd name="T20" fmla="*/ 315 w 630"/>
              <a:gd name="T21" fmla="*/ 0 h 630"/>
              <a:gd name="T22" fmla="*/ 0 w 630"/>
              <a:gd name="T23" fmla="*/ 315 h 630"/>
              <a:gd name="T24" fmla="*/ 315 w 630"/>
              <a:gd name="T25" fmla="*/ 630 h 630"/>
              <a:gd name="T26" fmla="*/ 315 w 630"/>
              <a:gd name="T27" fmla="*/ 611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30" h="630">
                <a:moveTo>
                  <a:pt x="315" y="19"/>
                </a:moveTo>
                <a:cubicBezTo>
                  <a:pt x="479" y="19"/>
                  <a:pt x="611" y="152"/>
                  <a:pt x="611" y="315"/>
                </a:cubicBezTo>
                <a:cubicBezTo>
                  <a:pt x="611" y="479"/>
                  <a:pt x="479" y="611"/>
                  <a:pt x="315" y="611"/>
                </a:cubicBezTo>
                <a:cubicBezTo>
                  <a:pt x="315" y="630"/>
                  <a:pt x="315" y="630"/>
                  <a:pt x="315" y="630"/>
                </a:cubicBezTo>
                <a:cubicBezTo>
                  <a:pt x="489" y="630"/>
                  <a:pt x="630" y="489"/>
                  <a:pt x="630" y="315"/>
                </a:cubicBezTo>
                <a:cubicBezTo>
                  <a:pt x="630" y="141"/>
                  <a:pt x="489" y="0"/>
                  <a:pt x="315" y="0"/>
                </a:cubicBezTo>
                <a:lnTo>
                  <a:pt x="315" y="19"/>
                </a:lnTo>
                <a:close/>
                <a:moveTo>
                  <a:pt x="315" y="611"/>
                </a:moveTo>
                <a:cubicBezTo>
                  <a:pt x="152" y="611"/>
                  <a:pt x="19" y="479"/>
                  <a:pt x="19" y="315"/>
                </a:cubicBezTo>
                <a:cubicBezTo>
                  <a:pt x="19" y="152"/>
                  <a:pt x="152" y="19"/>
                  <a:pt x="315" y="19"/>
                </a:cubicBezTo>
                <a:cubicBezTo>
                  <a:pt x="315" y="0"/>
                  <a:pt x="315" y="0"/>
                  <a:pt x="315" y="0"/>
                </a:cubicBezTo>
                <a:cubicBezTo>
                  <a:pt x="141" y="0"/>
                  <a:pt x="0" y="141"/>
                  <a:pt x="0" y="315"/>
                </a:cubicBezTo>
                <a:cubicBezTo>
                  <a:pt x="0" y="489"/>
                  <a:pt x="141" y="630"/>
                  <a:pt x="315" y="630"/>
                </a:cubicBezTo>
                <a:lnTo>
                  <a:pt x="315" y="611"/>
                </a:lnTo>
                <a:close/>
              </a:path>
            </a:pathLst>
          </a:custGeom>
          <a:solidFill>
            <a:schemeClr val="bg1">
              <a:lumMod val="95000"/>
              <a:alpha val="61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6" name="ïšľîḋe">
            <a:extLst>
              <a:ext uri="{FF2B5EF4-FFF2-40B4-BE49-F238E27FC236}">
                <a16:creationId xmlns:a16="http://schemas.microsoft.com/office/drawing/2014/main" id="{6A1D1F98-E4C4-44F2-9CE4-14DE1D9987AF}"/>
              </a:ext>
            </a:extLst>
          </p:cNvPr>
          <p:cNvSpPr/>
          <p:nvPr/>
        </p:nvSpPr>
        <p:spPr bwMode="auto">
          <a:xfrm>
            <a:off x="9905048" y="5283385"/>
            <a:ext cx="1615440" cy="1574615"/>
          </a:xfrm>
          <a:custGeom>
            <a:avLst/>
            <a:gdLst>
              <a:gd name="connsiteX0" fmla="*/ 246478 w 1376883"/>
              <a:gd name="connsiteY0" fmla="*/ 0 h 1342086"/>
              <a:gd name="connsiteX1" fmla="*/ 1376883 w 1376883"/>
              <a:gd name="connsiteY1" fmla="*/ 1342086 h 1342086"/>
              <a:gd name="connsiteX2" fmla="*/ 964218 w 1376883"/>
              <a:gd name="connsiteY2" fmla="*/ 1342086 h 1342086"/>
              <a:gd name="connsiteX3" fmla="*/ 0 w 1376883"/>
              <a:gd name="connsiteY3" fmla="*/ 201522 h 1342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883" h="1342086">
                <a:moveTo>
                  <a:pt x="246478" y="0"/>
                </a:moveTo>
                <a:lnTo>
                  <a:pt x="1376883" y="1342086"/>
                </a:lnTo>
                <a:lnTo>
                  <a:pt x="964218" y="1342086"/>
                </a:lnTo>
                <a:lnTo>
                  <a:pt x="0" y="20152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7" name="îṡļíďê">
            <a:extLst>
              <a:ext uri="{FF2B5EF4-FFF2-40B4-BE49-F238E27FC236}">
                <a16:creationId xmlns:a16="http://schemas.microsoft.com/office/drawing/2014/main" id="{751E290B-57E5-4FE1-A2A3-6DDB2E4EA7A7}"/>
              </a:ext>
            </a:extLst>
          </p:cNvPr>
          <p:cNvSpPr/>
          <p:nvPr/>
        </p:nvSpPr>
        <p:spPr bwMode="auto">
          <a:xfrm>
            <a:off x="9805014" y="5166985"/>
            <a:ext cx="547445" cy="505614"/>
          </a:xfrm>
          <a:custGeom>
            <a:avLst/>
            <a:gdLst>
              <a:gd name="T0" fmla="*/ 79 w 104"/>
              <a:gd name="T1" fmla="*/ 0 h 96"/>
              <a:gd name="T2" fmla="*/ 0 w 104"/>
              <a:gd name="T3" fmla="*/ 65 h 96"/>
              <a:gd name="T4" fmla="*/ 25 w 104"/>
              <a:gd name="T5" fmla="*/ 96 h 96"/>
              <a:gd name="T6" fmla="*/ 104 w 104"/>
              <a:gd name="T7" fmla="*/ 31 h 96"/>
              <a:gd name="T8" fmla="*/ 79 w 104"/>
              <a:gd name="T9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" h="96">
                <a:moveTo>
                  <a:pt x="79" y="0"/>
                </a:moveTo>
                <a:cubicBezTo>
                  <a:pt x="0" y="65"/>
                  <a:pt x="0" y="65"/>
                  <a:pt x="0" y="65"/>
                </a:cubicBezTo>
                <a:cubicBezTo>
                  <a:pt x="25" y="96"/>
                  <a:pt x="25" y="96"/>
                  <a:pt x="25" y="96"/>
                </a:cubicBezTo>
                <a:cubicBezTo>
                  <a:pt x="63" y="85"/>
                  <a:pt x="89" y="63"/>
                  <a:pt x="104" y="31"/>
                </a:cubicBezTo>
                <a:lnTo>
                  <a:pt x="7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8" name="iṣľíḓé">
            <a:extLst>
              <a:ext uri="{FF2B5EF4-FFF2-40B4-BE49-F238E27FC236}">
                <a16:creationId xmlns:a16="http://schemas.microsoft.com/office/drawing/2014/main" id="{6D1244E0-B698-434C-A6A1-E8A29B09F20A}"/>
              </a:ext>
            </a:extLst>
          </p:cNvPr>
          <p:cNvSpPr/>
          <p:nvPr/>
        </p:nvSpPr>
        <p:spPr bwMode="auto">
          <a:xfrm>
            <a:off x="7065972" y="2424304"/>
            <a:ext cx="3824839" cy="3348326"/>
          </a:xfrm>
          <a:custGeom>
            <a:avLst/>
            <a:gdLst>
              <a:gd name="T0" fmla="*/ 363 w 726"/>
              <a:gd name="T1" fmla="*/ 636 h 636"/>
              <a:gd name="T2" fmla="*/ 516 w 726"/>
              <a:gd name="T3" fmla="*/ 597 h 636"/>
              <a:gd name="T4" fmla="*/ 642 w 726"/>
              <a:gd name="T5" fmla="*/ 166 h 636"/>
              <a:gd name="T6" fmla="*/ 363 w 726"/>
              <a:gd name="T7" fmla="*/ 0 h 636"/>
              <a:gd name="T8" fmla="*/ 363 w 726"/>
              <a:gd name="T9" fmla="*/ 18 h 636"/>
              <a:gd name="T10" fmla="*/ 627 w 726"/>
              <a:gd name="T11" fmla="*/ 174 h 636"/>
              <a:gd name="T12" fmla="*/ 507 w 726"/>
              <a:gd name="T13" fmla="*/ 582 h 636"/>
              <a:gd name="T14" fmla="*/ 363 w 726"/>
              <a:gd name="T15" fmla="*/ 618 h 636"/>
              <a:gd name="T16" fmla="*/ 363 w 726"/>
              <a:gd name="T17" fmla="*/ 636 h 636"/>
              <a:gd name="T18" fmla="*/ 211 w 726"/>
              <a:gd name="T19" fmla="*/ 39 h 636"/>
              <a:gd name="T20" fmla="*/ 84 w 726"/>
              <a:gd name="T21" fmla="*/ 471 h 636"/>
              <a:gd name="T22" fmla="*/ 363 w 726"/>
              <a:gd name="T23" fmla="*/ 636 h 636"/>
              <a:gd name="T24" fmla="*/ 363 w 726"/>
              <a:gd name="T25" fmla="*/ 618 h 636"/>
              <a:gd name="T26" fmla="*/ 100 w 726"/>
              <a:gd name="T27" fmla="*/ 462 h 636"/>
              <a:gd name="T28" fmla="*/ 219 w 726"/>
              <a:gd name="T29" fmla="*/ 55 h 636"/>
              <a:gd name="T30" fmla="*/ 363 w 726"/>
              <a:gd name="T31" fmla="*/ 18 h 636"/>
              <a:gd name="T32" fmla="*/ 363 w 726"/>
              <a:gd name="T33" fmla="*/ 0 h 636"/>
              <a:gd name="T34" fmla="*/ 211 w 726"/>
              <a:gd name="T35" fmla="*/ 39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6" h="636">
                <a:moveTo>
                  <a:pt x="363" y="636"/>
                </a:moveTo>
                <a:cubicBezTo>
                  <a:pt x="415" y="636"/>
                  <a:pt x="467" y="623"/>
                  <a:pt x="516" y="597"/>
                </a:cubicBezTo>
                <a:cubicBezTo>
                  <a:pt x="670" y="513"/>
                  <a:pt x="726" y="320"/>
                  <a:pt x="642" y="166"/>
                </a:cubicBezTo>
                <a:cubicBezTo>
                  <a:pt x="584" y="60"/>
                  <a:pt x="476" y="0"/>
                  <a:pt x="363" y="0"/>
                </a:cubicBezTo>
                <a:cubicBezTo>
                  <a:pt x="363" y="18"/>
                  <a:pt x="363" y="18"/>
                  <a:pt x="363" y="18"/>
                </a:cubicBezTo>
                <a:cubicBezTo>
                  <a:pt x="469" y="18"/>
                  <a:pt x="572" y="74"/>
                  <a:pt x="627" y="174"/>
                </a:cubicBezTo>
                <a:cubicBezTo>
                  <a:pt x="706" y="320"/>
                  <a:pt x="653" y="502"/>
                  <a:pt x="507" y="582"/>
                </a:cubicBezTo>
                <a:cubicBezTo>
                  <a:pt x="462" y="607"/>
                  <a:pt x="412" y="619"/>
                  <a:pt x="363" y="618"/>
                </a:cubicBezTo>
                <a:lnTo>
                  <a:pt x="363" y="636"/>
                </a:lnTo>
                <a:close/>
                <a:moveTo>
                  <a:pt x="211" y="39"/>
                </a:moveTo>
                <a:cubicBezTo>
                  <a:pt x="57" y="124"/>
                  <a:pt x="0" y="317"/>
                  <a:pt x="84" y="471"/>
                </a:cubicBezTo>
                <a:cubicBezTo>
                  <a:pt x="142" y="576"/>
                  <a:pt x="251" y="636"/>
                  <a:pt x="363" y="636"/>
                </a:cubicBezTo>
                <a:cubicBezTo>
                  <a:pt x="363" y="618"/>
                  <a:pt x="363" y="618"/>
                  <a:pt x="363" y="618"/>
                </a:cubicBezTo>
                <a:cubicBezTo>
                  <a:pt x="257" y="618"/>
                  <a:pt x="154" y="562"/>
                  <a:pt x="100" y="462"/>
                </a:cubicBezTo>
                <a:cubicBezTo>
                  <a:pt x="20" y="317"/>
                  <a:pt x="74" y="134"/>
                  <a:pt x="219" y="55"/>
                </a:cubicBezTo>
                <a:cubicBezTo>
                  <a:pt x="265" y="30"/>
                  <a:pt x="315" y="18"/>
                  <a:pt x="363" y="18"/>
                </a:cubicBezTo>
                <a:cubicBezTo>
                  <a:pt x="363" y="0"/>
                  <a:pt x="363" y="0"/>
                  <a:pt x="363" y="0"/>
                </a:cubicBezTo>
                <a:cubicBezTo>
                  <a:pt x="312" y="0"/>
                  <a:pt x="259" y="13"/>
                  <a:pt x="211" y="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8" name="íšļiḋè">
            <a:extLst>
              <a:ext uri="{FF2B5EF4-FFF2-40B4-BE49-F238E27FC236}">
                <a16:creationId xmlns:a16="http://schemas.microsoft.com/office/drawing/2014/main" id="{F540313B-D885-4240-9406-ED27310EB722}"/>
              </a:ext>
            </a:extLst>
          </p:cNvPr>
          <p:cNvSpPr txBox="1"/>
          <p:nvPr/>
        </p:nvSpPr>
        <p:spPr>
          <a:xfrm>
            <a:off x="9033960" y="4056315"/>
            <a:ext cx="554299" cy="289094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dirty="0">
                <a:solidFill>
                  <a:schemeClr val="accent1"/>
                </a:solidFill>
                <a:latin typeface="Impact" panose="020B0806030902050204" pitchFamily="34" charset="0"/>
              </a:rPr>
              <a:t>2018</a:t>
            </a:r>
            <a:endParaRPr lang="zh-CN" altLang="en-US" sz="12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29" name="îṣlïḍè">
            <a:extLst>
              <a:ext uri="{FF2B5EF4-FFF2-40B4-BE49-F238E27FC236}">
                <a16:creationId xmlns:a16="http://schemas.microsoft.com/office/drawing/2014/main" id="{D19454B7-01E8-4C6A-A526-B8B79E50AECE}"/>
              </a:ext>
            </a:extLst>
          </p:cNvPr>
          <p:cNvSpPr txBox="1"/>
          <p:nvPr/>
        </p:nvSpPr>
        <p:spPr>
          <a:xfrm>
            <a:off x="8317162" y="3803750"/>
            <a:ext cx="1298457" cy="1785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200" b="1" dirty="0">
                <a:solidFill>
                  <a:schemeClr val="accent1"/>
                </a:solidFill>
              </a:rPr>
              <a:t>Graduation thesis </a:t>
            </a:r>
            <a:endParaRPr lang="zh-CN" altLang="en-US" sz="1200" b="1" dirty="0">
              <a:solidFill>
                <a:schemeClr val="accent1"/>
              </a:solidFill>
            </a:endParaRPr>
          </a:p>
        </p:txBody>
      </p:sp>
      <p:sp>
        <p:nvSpPr>
          <p:cNvPr id="30" name="íş1îḍé">
            <a:extLst>
              <a:ext uri="{FF2B5EF4-FFF2-40B4-BE49-F238E27FC236}">
                <a16:creationId xmlns:a16="http://schemas.microsoft.com/office/drawing/2014/main" id="{4B442599-30E6-472F-86BB-EE8BD6A90DE7}"/>
              </a:ext>
            </a:extLst>
          </p:cNvPr>
          <p:cNvSpPr txBox="1"/>
          <p:nvPr/>
        </p:nvSpPr>
        <p:spPr>
          <a:xfrm>
            <a:off x="8318352" y="4024335"/>
            <a:ext cx="643234" cy="345238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FENSE</a:t>
            </a:r>
            <a:endParaRPr lang="zh-CN" alt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" name="îşļiḋe">
            <a:extLst>
              <a:ext uri="{FF2B5EF4-FFF2-40B4-BE49-F238E27FC236}">
                <a16:creationId xmlns:a16="http://schemas.microsoft.com/office/drawing/2014/main" id="{3145E40B-84AD-4F1E-AE9A-66C3D579FE11}"/>
              </a:ext>
            </a:extLst>
          </p:cNvPr>
          <p:cNvSpPr/>
          <p:nvPr/>
        </p:nvSpPr>
        <p:spPr>
          <a:xfrm>
            <a:off x="8997773" y="4024335"/>
            <a:ext cx="626673" cy="353054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schemeClr val="accent1"/>
              </a:solidFill>
            </a:endParaRPr>
          </a:p>
        </p:txBody>
      </p:sp>
      <p:sp>
        <p:nvSpPr>
          <p:cNvPr id="8" name="iśľïḑe">
            <a:extLst>
              <a:ext uri="{FF2B5EF4-FFF2-40B4-BE49-F238E27FC236}">
                <a16:creationId xmlns:a16="http://schemas.microsoft.com/office/drawing/2014/main" id="{D50B4447-E4F2-4F72-957D-2CC92F86287D}"/>
              </a:ext>
            </a:extLst>
          </p:cNvPr>
          <p:cNvSpPr/>
          <p:nvPr/>
        </p:nvSpPr>
        <p:spPr>
          <a:xfrm>
            <a:off x="687278" y="1576652"/>
            <a:ext cx="5764376" cy="1164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400" dirty="0"/>
              <a:t>Unified fonts make reading more fluent.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400" dirty="0"/>
              <a:t>Theme color makes PPT more convenient to change.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400" dirty="0"/>
              <a:t>Adjust the spacing to adapt to Chinese typesetting, use the reference line in PPT.</a:t>
            </a:r>
          </a:p>
        </p:txBody>
      </p:sp>
      <p:sp>
        <p:nvSpPr>
          <p:cNvPr id="9" name="iṣļïďè">
            <a:extLst>
              <a:ext uri="{FF2B5EF4-FFF2-40B4-BE49-F238E27FC236}">
                <a16:creationId xmlns:a16="http://schemas.microsoft.com/office/drawing/2014/main" id="{27D6B294-8CEB-4033-9273-8D3819281482}"/>
              </a:ext>
            </a:extLst>
          </p:cNvPr>
          <p:cNvSpPr txBox="1"/>
          <p:nvPr/>
        </p:nvSpPr>
        <p:spPr bwMode="auto">
          <a:xfrm>
            <a:off x="687278" y="1134847"/>
            <a:ext cx="575024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24" name="íṧļidé">
            <a:extLst>
              <a:ext uri="{FF2B5EF4-FFF2-40B4-BE49-F238E27FC236}">
                <a16:creationId xmlns:a16="http://schemas.microsoft.com/office/drawing/2014/main" id="{105DD5D1-CF05-4EBF-B214-B1491B099014}"/>
              </a:ext>
            </a:extLst>
          </p:cNvPr>
          <p:cNvSpPr/>
          <p:nvPr/>
        </p:nvSpPr>
        <p:spPr bwMode="auto">
          <a:xfrm>
            <a:off x="729976" y="3724480"/>
            <a:ext cx="103088" cy="1030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25" name="ïşḻiďê">
            <a:extLst>
              <a:ext uri="{FF2B5EF4-FFF2-40B4-BE49-F238E27FC236}">
                <a16:creationId xmlns:a16="http://schemas.microsoft.com/office/drawing/2014/main" id="{7C4532DC-6909-4D9C-A093-8630EF7E0281}"/>
              </a:ext>
            </a:extLst>
          </p:cNvPr>
          <p:cNvSpPr/>
          <p:nvPr/>
        </p:nvSpPr>
        <p:spPr bwMode="auto">
          <a:xfrm>
            <a:off x="921000" y="3589391"/>
            <a:ext cx="898658" cy="373267"/>
          </a:xfrm>
          <a:prstGeom prst="roundRect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Text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3" name="îṥlïḓê">
            <a:extLst>
              <a:ext uri="{FF2B5EF4-FFF2-40B4-BE49-F238E27FC236}">
                <a16:creationId xmlns:a16="http://schemas.microsoft.com/office/drawing/2014/main" id="{47227C42-EFB6-42D1-9B97-324507D7C8F5}"/>
              </a:ext>
            </a:extLst>
          </p:cNvPr>
          <p:cNvSpPr/>
          <p:nvPr/>
        </p:nvSpPr>
        <p:spPr bwMode="auto">
          <a:xfrm>
            <a:off x="1904243" y="3410324"/>
            <a:ext cx="3874361" cy="73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</a:p>
        </p:txBody>
      </p:sp>
      <p:sp>
        <p:nvSpPr>
          <p:cNvPr id="20" name="iśļíde">
            <a:extLst>
              <a:ext uri="{FF2B5EF4-FFF2-40B4-BE49-F238E27FC236}">
                <a16:creationId xmlns:a16="http://schemas.microsoft.com/office/drawing/2014/main" id="{1C2F08F5-27B2-47FD-8643-1E05D9194CEB}"/>
              </a:ext>
            </a:extLst>
          </p:cNvPr>
          <p:cNvSpPr/>
          <p:nvPr/>
        </p:nvSpPr>
        <p:spPr bwMode="auto">
          <a:xfrm>
            <a:off x="729976" y="5748999"/>
            <a:ext cx="103088" cy="1030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21" name="ïŝ1iḓé">
            <a:extLst>
              <a:ext uri="{FF2B5EF4-FFF2-40B4-BE49-F238E27FC236}">
                <a16:creationId xmlns:a16="http://schemas.microsoft.com/office/drawing/2014/main" id="{CD803548-DA7F-4FA7-A7D8-65D4CF89DB98}"/>
              </a:ext>
            </a:extLst>
          </p:cNvPr>
          <p:cNvSpPr/>
          <p:nvPr/>
        </p:nvSpPr>
        <p:spPr bwMode="auto">
          <a:xfrm>
            <a:off x="921000" y="5613910"/>
            <a:ext cx="898658" cy="373267"/>
          </a:xfrm>
          <a:prstGeom prst="roundRect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Text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9" name="ïṩ1ïḍé">
            <a:extLst>
              <a:ext uri="{FF2B5EF4-FFF2-40B4-BE49-F238E27FC236}">
                <a16:creationId xmlns:a16="http://schemas.microsoft.com/office/drawing/2014/main" id="{67982AB7-C6CE-403D-8C7F-41F115C7AFAC}"/>
              </a:ext>
            </a:extLst>
          </p:cNvPr>
          <p:cNvSpPr/>
          <p:nvPr/>
        </p:nvSpPr>
        <p:spPr bwMode="auto">
          <a:xfrm>
            <a:off x="1904243" y="5434843"/>
            <a:ext cx="3874361" cy="73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</a:p>
        </p:txBody>
      </p:sp>
      <p:sp>
        <p:nvSpPr>
          <p:cNvPr id="16" name="iṩḻiḍè">
            <a:extLst>
              <a:ext uri="{FF2B5EF4-FFF2-40B4-BE49-F238E27FC236}">
                <a16:creationId xmlns:a16="http://schemas.microsoft.com/office/drawing/2014/main" id="{E0AEE2B2-C22A-473B-B8F1-580982DC7C7B}"/>
              </a:ext>
            </a:extLst>
          </p:cNvPr>
          <p:cNvSpPr/>
          <p:nvPr/>
        </p:nvSpPr>
        <p:spPr bwMode="auto">
          <a:xfrm>
            <a:off x="729976" y="4736740"/>
            <a:ext cx="103088" cy="1030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17" name="işľíde">
            <a:extLst>
              <a:ext uri="{FF2B5EF4-FFF2-40B4-BE49-F238E27FC236}">
                <a16:creationId xmlns:a16="http://schemas.microsoft.com/office/drawing/2014/main" id="{70DDA3AC-4366-4703-8440-9F51902DB537}"/>
              </a:ext>
            </a:extLst>
          </p:cNvPr>
          <p:cNvSpPr/>
          <p:nvPr/>
        </p:nvSpPr>
        <p:spPr bwMode="auto">
          <a:xfrm>
            <a:off x="921000" y="4601651"/>
            <a:ext cx="898658" cy="373267"/>
          </a:xfrm>
          <a:prstGeom prst="roundRect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Text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5" name="isḻïḓé">
            <a:extLst>
              <a:ext uri="{FF2B5EF4-FFF2-40B4-BE49-F238E27FC236}">
                <a16:creationId xmlns:a16="http://schemas.microsoft.com/office/drawing/2014/main" id="{9EB35683-3CF8-4EC7-8BD0-53B44B02A44E}"/>
              </a:ext>
            </a:extLst>
          </p:cNvPr>
          <p:cNvSpPr/>
          <p:nvPr/>
        </p:nvSpPr>
        <p:spPr bwMode="auto">
          <a:xfrm>
            <a:off x="1904243" y="4422584"/>
            <a:ext cx="3874361" cy="73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6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12522C70-F3B6-4A4A-AC0D-2A38CAC84904}"/>
              </a:ext>
            </a:extLst>
          </p:cNvPr>
          <p:cNvCxnSpPr>
            <a:cxnSpLocks/>
          </p:cNvCxnSpPr>
          <p:nvPr/>
        </p:nvCxnSpPr>
        <p:spPr>
          <a:xfrm>
            <a:off x="729976" y="3110039"/>
            <a:ext cx="559102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0504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90E592-AB6E-43CF-88D8-F2CA3BBC9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694770A-4009-47BD-802E-0F75CFE49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E66EA44-4919-4001-8758-C49448FC1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5" name="ïṣḻïḑé">
            <a:extLst>
              <a:ext uri="{FF2B5EF4-FFF2-40B4-BE49-F238E27FC236}">
                <a16:creationId xmlns:a16="http://schemas.microsoft.com/office/drawing/2014/main" id="{9784955A-8F1E-4771-B761-21C918CC2042}"/>
              </a:ext>
            </a:extLst>
          </p:cNvPr>
          <p:cNvSpPr/>
          <p:nvPr/>
        </p:nvSpPr>
        <p:spPr bwMode="auto">
          <a:xfrm>
            <a:off x="1853097" y="1731034"/>
            <a:ext cx="2524219" cy="85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  <a:endParaRPr lang="zh-CN" altLang="en-US" sz="1000" dirty="0"/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When you copy &amp; paste, choose "keep text only" option.</a:t>
            </a:r>
            <a:endParaRPr lang="zh-CN" altLang="en-US" sz="1000" dirty="0"/>
          </a:p>
        </p:txBody>
      </p:sp>
      <p:sp>
        <p:nvSpPr>
          <p:cNvPr id="46" name="iṧļíḋe">
            <a:extLst>
              <a:ext uri="{FF2B5EF4-FFF2-40B4-BE49-F238E27FC236}">
                <a16:creationId xmlns:a16="http://schemas.microsoft.com/office/drawing/2014/main" id="{2CE4D01C-E075-4958-A19C-0A5325737991}"/>
              </a:ext>
            </a:extLst>
          </p:cNvPr>
          <p:cNvSpPr txBox="1"/>
          <p:nvPr/>
        </p:nvSpPr>
        <p:spPr bwMode="auto">
          <a:xfrm>
            <a:off x="1853097" y="1352231"/>
            <a:ext cx="1363378" cy="37880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</a:endParaRPr>
          </a:p>
        </p:txBody>
      </p:sp>
      <p:sp>
        <p:nvSpPr>
          <p:cNvPr id="43" name="îṧľiḍé">
            <a:extLst>
              <a:ext uri="{FF2B5EF4-FFF2-40B4-BE49-F238E27FC236}">
                <a16:creationId xmlns:a16="http://schemas.microsoft.com/office/drawing/2014/main" id="{E5BD3B6A-C5A7-4B1B-B501-BD571A1A1415}"/>
              </a:ext>
            </a:extLst>
          </p:cNvPr>
          <p:cNvSpPr/>
          <p:nvPr/>
        </p:nvSpPr>
        <p:spPr>
          <a:xfrm>
            <a:off x="4447872" y="1731828"/>
            <a:ext cx="1656184" cy="165618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ïṡḻîďé">
            <a:extLst>
              <a:ext uri="{FF2B5EF4-FFF2-40B4-BE49-F238E27FC236}">
                <a16:creationId xmlns:a16="http://schemas.microsoft.com/office/drawing/2014/main" id="{FA9F9F71-20CE-4594-8940-F7EC2D7732F9}"/>
              </a:ext>
            </a:extLst>
          </p:cNvPr>
          <p:cNvSpPr/>
          <p:nvPr/>
        </p:nvSpPr>
        <p:spPr>
          <a:xfrm>
            <a:off x="4508010" y="1791966"/>
            <a:ext cx="1535908" cy="153590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ïṥḷîḓé">
            <a:extLst>
              <a:ext uri="{FF2B5EF4-FFF2-40B4-BE49-F238E27FC236}">
                <a16:creationId xmlns:a16="http://schemas.microsoft.com/office/drawing/2014/main" id="{20C5F1F0-A547-4479-B294-DC26EB7CC3B8}"/>
              </a:ext>
            </a:extLst>
          </p:cNvPr>
          <p:cNvSpPr txBox="1"/>
          <p:nvPr/>
        </p:nvSpPr>
        <p:spPr>
          <a:xfrm>
            <a:off x="4567340" y="2331903"/>
            <a:ext cx="1417249" cy="45603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Key words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39" name="iṡľîdê">
            <a:extLst>
              <a:ext uri="{FF2B5EF4-FFF2-40B4-BE49-F238E27FC236}">
                <a16:creationId xmlns:a16="http://schemas.microsoft.com/office/drawing/2014/main" id="{04A46C45-CAF8-4255-9151-6E94E189B301}"/>
              </a:ext>
            </a:extLst>
          </p:cNvPr>
          <p:cNvSpPr/>
          <p:nvPr/>
        </p:nvSpPr>
        <p:spPr>
          <a:xfrm>
            <a:off x="6003929" y="1731828"/>
            <a:ext cx="1656184" cy="165618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íṩľiḓé">
            <a:extLst>
              <a:ext uri="{FF2B5EF4-FFF2-40B4-BE49-F238E27FC236}">
                <a16:creationId xmlns:a16="http://schemas.microsoft.com/office/drawing/2014/main" id="{BAE90BF0-4E67-41A5-83AA-79F2CDFD3B24}"/>
              </a:ext>
            </a:extLst>
          </p:cNvPr>
          <p:cNvSpPr/>
          <p:nvPr/>
        </p:nvSpPr>
        <p:spPr>
          <a:xfrm>
            <a:off x="6064067" y="1791966"/>
            <a:ext cx="1535908" cy="153590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îṣ1íḓe">
            <a:extLst>
              <a:ext uri="{FF2B5EF4-FFF2-40B4-BE49-F238E27FC236}">
                <a16:creationId xmlns:a16="http://schemas.microsoft.com/office/drawing/2014/main" id="{71B50326-F486-445C-AA30-CE0A32788A50}"/>
              </a:ext>
            </a:extLst>
          </p:cNvPr>
          <p:cNvSpPr txBox="1"/>
          <p:nvPr/>
        </p:nvSpPr>
        <p:spPr>
          <a:xfrm>
            <a:off x="6123397" y="2331903"/>
            <a:ext cx="1417249" cy="45603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Key words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35" name="íşlïḋè">
            <a:extLst>
              <a:ext uri="{FF2B5EF4-FFF2-40B4-BE49-F238E27FC236}">
                <a16:creationId xmlns:a16="http://schemas.microsoft.com/office/drawing/2014/main" id="{04F318CC-C6F0-4C7E-B06D-FCDAF50D229E}"/>
              </a:ext>
            </a:extLst>
          </p:cNvPr>
          <p:cNvSpPr/>
          <p:nvPr/>
        </p:nvSpPr>
        <p:spPr>
          <a:xfrm>
            <a:off x="3731596" y="3139070"/>
            <a:ext cx="1656184" cy="16561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í$ḷíde">
            <a:extLst>
              <a:ext uri="{FF2B5EF4-FFF2-40B4-BE49-F238E27FC236}">
                <a16:creationId xmlns:a16="http://schemas.microsoft.com/office/drawing/2014/main" id="{1C2F6A34-49A7-4C41-AA0C-F91EA9900960}"/>
              </a:ext>
            </a:extLst>
          </p:cNvPr>
          <p:cNvSpPr/>
          <p:nvPr/>
        </p:nvSpPr>
        <p:spPr>
          <a:xfrm>
            <a:off x="3791734" y="3199208"/>
            <a:ext cx="1535908" cy="153590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ïṡ1ïḋê">
            <a:extLst>
              <a:ext uri="{FF2B5EF4-FFF2-40B4-BE49-F238E27FC236}">
                <a16:creationId xmlns:a16="http://schemas.microsoft.com/office/drawing/2014/main" id="{172A6693-1F70-4B7F-9605-F80CFCCC7D65}"/>
              </a:ext>
            </a:extLst>
          </p:cNvPr>
          <p:cNvSpPr txBox="1"/>
          <p:nvPr/>
        </p:nvSpPr>
        <p:spPr>
          <a:xfrm>
            <a:off x="3851064" y="3739145"/>
            <a:ext cx="1417249" cy="45603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Key words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31" name="î$ļîḓê">
            <a:extLst>
              <a:ext uri="{FF2B5EF4-FFF2-40B4-BE49-F238E27FC236}">
                <a16:creationId xmlns:a16="http://schemas.microsoft.com/office/drawing/2014/main" id="{01D3BAA4-CF84-44CC-8598-67B9B0850D44}"/>
              </a:ext>
            </a:extLst>
          </p:cNvPr>
          <p:cNvSpPr/>
          <p:nvPr/>
        </p:nvSpPr>
        <p:spPr>
          <a:xfrm>
            <a:off x="5268313" y="3139070"/>
            <a:ext cx="1656184" cy="165618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íṧḷíďè">
            <a:extLst>
              <a:ext uri="{FF2B5EF4-FFF2-40B4-BE49-F238E27FC236}">
                <a16:creationId xmlns:a16="http://schemas.microsoft.com/office/drawing/2014/main" id="{E63F5670-E176-4CA2-9710-24C0EEE2A2FB}"/>
              </a:ext>
            </a:extLst>
          </p:cNvPr>
          <p:cNvSpPr/>
          <p:nvPr/>
        </p:nvSpPr>
        <p:spPr>
          <a:xfrm>
            <a:off x="5328451" y="3199208"/>
            <a:ext cx="1535908" cy="153590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îṥḷîḋê">
            <a:extLst>
              <a:ext uri="{FF2B5EF4-FFF2-40B4-BE49-F238E27FC236}">
                <a16:creationId xmlns:a16="http://schemas.microsoft.com/office/drawing/2014/main" id="{CC8FAA89-D1DA-4B74-90E1-4B4E7A8B23CF}"/>
              </a:ext>
            </a:extLst>
          </p:cNvPr>
          <p:cNvSpPr txBox="1"/>
          <p:nvPr/>
        </p:nvSpPr>
        <p:spPr>
          <a:xfrm>
            <a:off x="5387781" y="3739145"/>
            <a:ext cx="1417249" cy="45603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Key words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27" name="íś1ïḋê">
            <a:extLst>
              <a:ext uri="{FF2B5EF4-FFF2-40B4-BE49-F238E27FC236}">
                <a16:creationId xmlns:a16="http://schemas.microsoft.com/office/drawing/2014/main" id="{6054AB2F-AF5F-4118-9744-6855EF3E2059}"/>
              </a:ext>
            </a:extLst>
          </p:cNvPr>
          <p:cNvSpPr/>
          <p:nvPr/>
        </p:nvSpPr>
        <p:spPr>
          <a:xfrm>
            <a:off x="6804221" y="3139070"/>
            <a:ext cx="1656184" cy="165618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işľídè">
            <a:extLst>
              <a:ext uri="{FF2B5EF4-FFF2-40B4-BE49-F238E27FC236}">
                <a16:creationId xmlns:a16="http://schemas.microsoft.com/office/drawing/2014/main" id="{FD63B24B-6630-48CF-8028-2E78F3C71F6E}"/>
              </a:ext>
            </a:extLst>
          </p:cNvPr>
          <p:cNvSpPr/>
          <p:nvPr/>
        </p:nvSpPr>
        <p:spPr>
          <a:xfrm>
            <a:off x="6864359" y="3199208"/>
            <a:ext cx="1535908" cy="153590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îŝliḑé">
            <a:extLst>
              <a:ext uri="{FF2B5EF4-FFF2-40B4-BE49-F238E27FC236}">
                <a16:creationId xmlns:a16="http://schemas.microsoft.com/office/drawing/2014/main" id="{E78391C4-B3F9-4125-836F-A6E9DD2FF884}"/>
              </a:ext>
            </a:extLst>
          </p:cNvPr>
          <p:cNvSpPr txBox="1"/>
          <p:nvPr/>
        </p:nvSpPr>
        <p:spPr>
          <a:xfrm>
            <a:off x="6923689" y="3739145"/>
            <a:ext cx="1417249" cy="456034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r>
              <a:rPr lang="en-US" altLang="zh-CN" sz="2000" dirty="0">
                <a:solidFill>
                  <a:schemeClr val="bg1"/>
                </a:solidFill>
              </a:rPr>
              <a:t>Key words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8" name="îš1íḑè">
            <a:extLst>
              <a:ext uri="{FF2B5EF4-FFF2-40B4-BE49-F238E27FC236}">
                <a16:creationId xmlns:a16="http://schemas.microsoft.com/office/drawing/2014/main" id="{BC07F2CD-EB11-4B83-9504-E7CB608C0618}"/>
              </a:ext>
            </a:extLst>
          </p:cNvPr>
          <p:cNvSpPr/>
          <p:nvPr/>
        </p:nvSpPr>
        <p:spPr bwMode="auto">
          <a:xfrm>
            <a:off x="7814686" y="1735203"/>
            <a:ext cx="2524219" cy="85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  <a:endParaRPr lang="zh-CN" altLang="en-US" sz="1000" dirty="0"/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When you copy &amp; paste, choose "keep text only" option.</a:t>
            </a:r>
            <a:endParaRPr lang="zh-CN" altLang="en-US" sz="1000" dirty="0"/>
          </a:p>
        </p:txBody>
      </p:sp>
      <p:sp>
        <p:nvSpPr>
          <p:cNvPr id="19" name="ïşlíḓè">
            <a:extLst>
              <a:ext uri="{FF2B5EF4-FFF2-40B4-BE49-F238E27FC236}">
                <a16:creationId xmlns:a16="http://schemas.microsoft.com/office/drawing/2014/main" id="{FE764CDD-970A-4C9D-B59D-E9B6D2F38403}"/>
              </a:ext>
            </a:extLst>
          </p:cNvPr>
          <p:cNvSpPr txBox="1"/>
          <p:nvPr/>
        </p:nvSpPr>
        <p:spPr bwMode="auto">
          <a:xfrm>
            <a:off x="7814686" y="1356400"/>
            <a:ext cx="1363378" cy="37880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</a:endParaRPr>
          </a:p>
        </p:txBody>
      </p:sp>
      <p:sp>
        <p:nvSpPr>
          <p:cNvPr id="16" name="íṩ1iḓe">
            <a:extLst>
              <a:ext uri="{FF2B5EF4-FFF2-40B4-BE49-F238E27FC236}">
                <a16:creationId xmlns:a16="http://schemas.microsoft.com/office/drawing/2014/main" id="{7C7B4E0A-4EDC-4F2D-A14D-7C308A507A26}"/>
              </a:ext>
            </a:extLst>
          </p:cNvPr>
          <p:cNvSpPr/>
          <p:nvPr/>
        </p:nvSpPr>
        <p:spPr bwMode="auto">
          <a:xfrm>
            <a:off x="1130254" y="3884090"/>
            <a:ext cx="2524219" cy="85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  <a:endParaRPr lang="zh-CN" altLang="en-US" sz="1000" dirty="0"/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When you copy &amp; paste, choose "keep text only" option.</a:t>
            </a:r>
            <a:endParaRPr lang="zh-CN" altLang="en-US" sz="1000" dirty="0"/>
          </a:p>
        </p:txBody>
      </p:sp>
      <p:sp>
        <p:nvSpPr>
          <p:cNvPr id="17" name="ïṧḻîḍê">
            <a:extLst>
              <a:ext uri="{FF2B5EF4-FFF2-40B4-BE49-F238E27FC236}">
                <a16:creationId xmlns:a16="http://schemas.microsoft.com/office/drawing/2014/main" id="{B474347B-D3F6-4007-B135-B1B77ABBE4BB}"/>
              </a:ext>
            </a:extLst>
          </p:cNvPr>
          <p:cNvSpPr txBox="1"/>
          <p:nvPr/>
        </p:nvSpPr>
        <p:spPr bwMode="auto">
          <a:xfrm>
            <a:off x="1130254" y="3505287"/>
            <a:ext cx="1363378" cy="37880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4" name="ísḷíḓè">
            <a:extLst>
              <a:ext uri="{FF2B5EF4-FFF2-40B4-BE49-F238E27FC236}">
                <a16:creationId xmlns:a16="http://schemas.microsoft.com/office/drawing/2014/main" id="{1DC13FFF-9E3F-48E5-BAF1-4BE6F6839659}"/>
              </a:ext>
            </a:extLst>
          </p:cNvPr>
          <p:cNvSpPr/>
          <p:nvPr/>
        </p:nvSpPr>
        <p:spPr bwMode="auto">
          <a:xfrm>
            <a:off x="5268313" y="5297609"/>
            <a:ext cx="2524219" cy="85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  <a:endParaRPr lang="zh-CN" altLang="en-US" sz="1000" dirty="0"/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When you copy &amp; paste, choose "keep text only" option.</a:t>
            </a:r>
            <a:endParaRPr lang="zh-CN" altLang="en-US" sz="1000" dirty="0"/>
          </a:p>
        </p:txBody>
      </p:sp>
      <p:sp>
        <p:nvSpPr>
          <p:cNvPr id="15" name="ïṩ1iďè">
            <a:extLst>
              <a:ext uri="{FF2B5EF4-FFF2-40B4-BE49-F238E27FC236}">
                <a16:creationId xmlns:a16="http://schemas.microsoft.com/office/drawing/2014/main" id="{C0B393FC-1889-4C91-856F-5BC3CBBD287E}"/>
              </a:ext>
            </a:extLst>
          </p:cNvPr>
          <p:cNvSpPr txBox="1"/>
          <p:nvPr/>
        </p:nvSpPr>
        <p:spPr bwMode="auto">
          <a:xfrm>
            <a:off x="5268313" y="4918806"/>
            <a:ext cx="1363378" cy="37880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</p:txBody>
      </p:sp>
      <p:sp>
        <p:nvSpPr>
          <p:cNvPr id="12" name="îşḷîḋè">
            <a:extLst>
              <a:ext uri="{FF2B5EF4-FFF2-40B4-BE49-F238E27FC236}">
                <a16:creationId xmlns:a16="http://schemas.microsoft.com/office/drawing/2014/main" id="{63F37740-B916-46B0-94DA-E9555B56848A}"/>
              </a:ext>
            </a:extLst>
          </p:cNvPr>
          <p:cNvSpPr/>
          <p:nvPr/>
        </p:nvSpPr>
        <p:spPr bwMode="auto">
          <a:xfrm>
            <a:off x="8688288" y="3884090"/>
            <a:ext cx="2524219" cy="85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  <a:endParaRPr lang="zh-CN" altLang="en-US" sz="1000" dirty="0"/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When you copy &amp; paste, choose "keep text only" option.</a:t>
            </a:r>
            <a:endParaRPr lang="zh-CN" altLang="en-US" sz="1000" dirty="0"/>
          </a:p>
        </p:txBody>
      </p:sp>
      <p:sp>
        <p:nvSpPr>
          <p:cNvPr id="13" name="îṣlïďé">
            <a:extLst>
              <a:ext uri="{FF2B5EF4-FFF2-40B4-BE49-F238E27FC236}">
                <a16:creationId xmlns:a16="http://schemas.microsoft.com/office/drawing/2014/main" id="{14BC51E9-C605-4CFE-91D8-A6874493E340}"/>
              </a:ext>
            </a:extLst>
          </p:cNvPr>
          <p:cNvSpPr txBox="1"/>
          <p:nvPr/>
        </p:nvSpPr>
        <p:spPr bwMode="auto">
          <a:xfrm>
            <a:off x="8688288" y="3505287"/>
            <a:ext cx="1363378" cy="37880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05603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8f80dfc-7834-421f-8080-9ec965dc06b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76fecc8-5938-4c2a-98aa-ea8df123951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76fecc8-5938-4c2a-98aa-ea8df123951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76fecc8-5938-4c2a-98aa-ea8df123951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76fecc8-5938-4c2a-98aa-ea8df123951c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BC3649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BC3649"/>
    </a:accent1>
    <a:accent2>
      <a:srgbClr val="6A868F"/>
    </a:accent2>
    <a:accent3>
      <a:srgbClr val="31778D"/>
    </a:accent3>
    <a:accent4>
      <a:srgbClr val="D6C88B"/>
    </a:accent4>
    <a:accent5>
      <a:srgbClr val="D66E49"/>
    </a:accent5>
    <a:accent6>
      <a:srgbClr val="649EB2"/>
    </a:accent6>
    <a:hlink>
      <a:srgbClr val="BC3649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3</TotalTime>
  <Words>2421</Words>
  <Application>Microsoft Office PowerPoint</Application>
  <PresentationFormat>宽屏</PresentationFormat>
  <Paragraphs>393</Paragraphs>
  <Slides>24</Slides>
  <Notes>16</Notes>
  <HiddenSlides>3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0" baseType="lpstr">
      <vt:lpstr>等线</vt:lpstr>
      <vt:lpstr>Arial</vt:lpstr>
      <vt:lpstr>Calibri</vt:lpstr>
      <vt:lpstr>Impact</vt:lpstr>
      <vt:lpstr>主题5</vt:lpstr>
      <vt:lpstr>think-cell Slide</vt:lpstr>
      <vt:lpstr>广东工业大学专属答辩PPT模板</vt:lpstr>
      <vt:lpstr>PowerPoint 演示文稿</vt:lpstr>
      <vt:lpstr>选题背景和研究意义</vt:lpstr>
      <vt:lpstr>Click to edit Master title style</vt:lpstr>
      <vt:lpstr>Click to edit Master title style</vt:lpstr>
      <vt:lpstr>研究思路与研究方法</vt:lpstr>
      <vt:lpstr>Click to edit Master title style</vt:lpstr>
      <vt:lpstr>Click to edit Master title style</vt:lpstr>
      <vt:lpstr>Click to edit Master title style</vt:lpstr>
      <vt:lpstr>关键技术与实践难点</vt:lpstr>
      <vt:lpstr>Click to edit Master title style</vt:lpstr>
      <vt:lpstr>Click to edit Master title style</vt:lpstr>
      <vt:lpstr>Click to edit Master title style</vt:lpstr>
      <vt:lpstr>研究成果与应用前景</vt:lpstr>
      <vt:lpstr>Click to edit Master title style</vt:lpstr>
      <vt:lpstr>Click to edit Master title style</vt:lpstr>
      <vt:lpstr>Click to edit Master title style</vt:lpstr>
      <vt:lpstr>论文总结与展望</vt:lpstr>
      <vt:lpstr>Click to edit Master title style</vt:lpstr>
      <vt:lpstr>Click to edit Master title style</vt:lpstr>
      <vt:lpstr>感谢评委老师批评指正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龙 信合</cp:lastModifiedBy>
  <cp:revision>4</cp:revision>
  <cp:lastPrinted>2018-10-30T16:00:00Z</cp:lastPrinted>
  <dcterms:created xsi:type="dcterms:W3CDTF">2018-10-30T16:00:00Z</dcterms:created>
  <dcterms:modified xsi:type="dcterms:W3CDTF">2019-03-22T08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